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media/image24.jpg" ContentType="image/jpg"/>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33.jpg" ContentType="image/jpg"/>
  <Override PartName="/ppt/media/image34.jpg" ContentType="image/jpg"/>
  <Override PartName="/ppt/notesSlides/notesSlide5.xml" ContentType="application/vnd.openxmlformats-officedocument.presentationml.notesSlide+xml"/>
  <Override PartName="/ppt/media/image37.jpg" ContentType="image/jpg"/>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image39.jpg" ContentType="image/jpg"/>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media/image42.jpg" ContentType="image/jpg"/>
  <Override PartName="/ppt/media/image43.jpg" ContentType="image/jpg"/>
  <Override PartName="/ppt/media/image44.jpg" ContentType="image/jpg"/>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media/image53.jpg" ContentType="image/jpg"/>
  <Override PartName="/ppt/notesSlides/notesSlide17.xml" ContentType="application/vnd.openxmlformats-officedocument.presentationml.notesSlide+xml"/>
  <Override PartName="/ppt/media/image58.jpg" ContentType="image/jpg"/>
  <Override PartName="/ppt/media/image59.jpg" ContentType="image/jpg"/>
  <Override PartName="/ppt/media/image60.jpg" ContentType="image/jpg"/>
  <Override PartName="/ppt/media/image66.jpg" ContentType="image/jpg"/>
  <Override PartName="/ppt/media/image71.jpg" ContentType="image/jpg"/>
  <Override PartName="/ppt/media/image72.jpg" ContentType="image/jpg"/>
  <Override PartName="/ppt/notesSlides/notesSlide18.xml" ContentType="application/vnd.openxmlformats-officedocument.presentationml.notesSlide+xml"/>
  <Override PartName="/ppt/notesSlides/notesSlide19.xml" ContentType="application/vnd.openxmlformats-officedocument.presentationml.notesSlide+xml"/>
  <Override PartName="/ppt/media/image75.jpg" ContentType="image/jpg"/>
  <Override PartName="/ppt/media/image76.jpg" ContentType="image/jpg"/>
  <Override PartName="/ppt/media/image77.jpg" ContentType="image/jpg"/>
  <Override PartName="/ppt/media/image78.jpg" ContentType="image/jpg"/>
  <Override PartName="/ppt/notesSlides/notesSlide20.xml" ContentType="application/vnd.openxmlformats-officedocument.presentationml.notesSlide+xml"/>
  <Override PartName="/ppt/media/image79.jpg" ContentType="image/jpg"/>
  <Override PartName="/ppt/media/image80.jpg" ContentType="image/jpg"/>
  <Override PartName="/ppt/media/image81.jpg" ContentType="image/jpg"/>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omments/modernComment_190_8A11A4BA.xml" ContentType="application/vnd.ms-powerpoint.comment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omments/modernComment_18A_EA040907.xml" ContentType="application/vnd.ms-powerpoint.comments+xml"/>
  <Override PartName="/ppt/notesSlides/notesSlide30.xml" ContentType="application/vnd.openxmlformats-officedocument.presentationml.notesSlide+xml"/>
  <Override PartName="/ppt/media/image88.jpg" ContentType="image/jpg"/>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50"/>
  </p:notesMasterIdLst>
  <p:sldIdLst>
    <p:sldId id="401" r:id="rId5"/>
    <p:sldId id="260" r:id="rId6"/>
    <p:sldId id="389" r:id="rId7"/>
    <p:sldId id="266" r:id="rId8"/>
    <p:sldId id="280" r:id="rId9"/>
    <p:sldId id="279" r:id="rId10"/>
    <p:sldId id="396" r:id="rId11"/>
    <p:sldId id="312" r:id="rId12"/>
    <p:sldId id="261" r:id="rId13"/>
    <p:sldId id="301" r:id="rId14"/>
    <p:sldId id="349" r:id="rId15"/>
    <p:sldId id="296" r:id="rId16"/>
    <p:sldId id="270" r:id="rId17"/>
    <p:sldId id="311" r:id="rId18"/>
    <p:sldId id="304" r:id="rId19"/>
    <p:sldId id="307" r:id="rId20"/>
    <p:sldId id="319" r:id="rId21"/>
    <p:sldId id="374" r:id="rId22"/>
    <p:sldId id="299" r:id="rId23"/>
    <p:sldId id="302" r:id="rId24"/>
    <p:sldId id="375" r:id="rId25"/>
    <p:sldId id="306" r:id="rId26"/>
    <p:sldId id="376" r:id="rId27"/>
    <p:sldId id="391" r:id="rId28"/>
    <p:sldId id="378" r:id="rId29"/>
    <p:sldId id="379" r:id="rId30"/>
    <p:sldId id="314" r:id="rId31"/>
    <p:sldId id="315" r:id="rId32"/>
    <p:sldId id="295" r:id="rId33"/>
    <p:sldId id="325" r:id="rId34"/>
    <p:sldId id="393" r:id="rId35"/>
    <p:sldId id="380" r:id="rId36"/>
    <p:sldId id="381" r:id="rId37"/>
    <p:sldId id="392" r:id="rId38"/>
    <p:sldId id="400" r:id="rId39"/>
    <p:sldId id="382" r:id="rId40"/>
    <p:sldId id="395" r:id="rId41"/>
    <p:sldId id="394" r:id="rId42"/>
    <p:sldId id="384" r:id="rId43"/>
    <p:sldId id="388" r:id="rId44"/>
    <p:sldId id="386" r:id="rId45"/>
    <p:sldId id="397" r:id="rId46"/>
    <p:sldId id="398" r:id="rId47"/>
    <p:sldId id="275" r:id="rId48"/>
    <p:sldId id="333" r:id="rId49"/>
  </p:sldIdLst>
  <p:sldSz cx="12192000" cy="6858000"/>
  <p:notesSz cx="6858000" cy="9144000"/>
  <p:embeddedFontLst>
    <p:embeddedFont>
      <p:font typeface="Century Gothic" panose="020B0502020202020204" pitchFamily="34" charset="0"/>
      <p:regular r:id="rId51"/>
      <p:bold r:id="rId52"/>
      <p:italic r:id="rId53"/>
      <p:boldItalic r:id="rId54"/>
    </p:embeddedFont>
    <p:embeddedFont>
      <p:font typeface="Lato Light" panose="020F0502020204030203" pitchFamily="34" charset="0"/>
      <p:regular r:id="rId55"/>
      <p:italic r:id="rId56"/>
    </p:embeddedFont>
    <p:embeddedFont>
      <p:font typeface="Montserrat" panose="00000500000000000000" pitchFamily="2" charset="0"/>
      <p:regular r:id="rId57"/>
      <p:bold r:id="rId58"/>
      <p:italic r:id="rId59"/>
      <p:boldItalic r:id="rId60"/>
    </p:embeddedFont>
    <p:embeddedFont>
      <p:font typeface="Montserrat Medium" panose="00000600000000000000" pitchFamily="2" charset="0"/>
      <p:regular r:id="rId61"/>
      <p:italic r:id="rId62"/>
    </p:embeddedFont>
    <p:embeddedFont>
      <p:font typeface="Poppins" panose="00000500000000000000" pitchFamily="2" charset="0"/>
      <p:regular r:id="rId63"/>
      <p:bold r:id="rId64"/>
      <p:italic r:id="rId65"/>
      <p:boldItalic r:id="rId66"/>
    </p:embeddedFont>
    <p:embeddedFont>
      <p:font typeface="Proxima Nova" panose="020B0604020202020204" charset="0"/>
      <p:regular r:id="rId67"/>
      <p:bold r:id="rId68"/>
      <p:italic r:id="rId69"/>
      <p:boldItalic r:id="rId7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A1B7E31-0310-A9DE-1A57-A7AB862EAC67}" name="Sarah Depante" initials="SD" userId="S::sdepante@bluestreamfiber.com::c29463aa-94c2-4be7-aa88-64918b738c2c" providerId="AD"/>
  <p188:author id="{D4638D44-9757-FECF-6908-C60E260E1A01}" name="Bruna Barreto" initials="" userId="S::Bbarreto@bluestreamfiber.com::9ad24afd-b585-4967-a8da-93396fd2c0b4" providerId="AD"/>
  <p188:author id="{9873E4D6-D899-B51B-0C39-0543DDAB698A}" name="Amanda Kurzban" initials="AK" userId="S::akurzban@bluestreamfiber.com::9583145d-d0b9-49b4-8cd0-fa28cccf5186" providerId="AD"/>
  <p188:author id="{E13F18F8-ABF8-77AD-45A9-39C519975907}" name="Bruna Barreto" initials="BB" userId="S::bbarreto@bluestreamfiber.com::9ad24afd-b585-4967-a8da-93396fd2c0b4" providerId="AD"/>
  <p188:author id="{571109FC-5059-816A-C1FF-0B1734DFEF30}" name="Lindsay Dunn" initials="LD" userId="S::ldunn@bluestreamfiber.com::82517337-9f8c-44cb-b55c-d34dd23343f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B1C8"/>
    <a:srgbClr val="004161"/>
    <a:srgbClr val="04617B"/>
    <a:srgbClr val="007DB2"/>
    <a:srgbClr val="014D63"/>
    <a:srgbClr val="03617B"/>
    <a:srgbClr val="22B990"/>
    <a:srgbClr val="FFC36F"/>
    <a:srgbClr val="F2D92A"/>
    <a:srgbClr val="DDDB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21B5D2-70A8-48CF-9E4C-5B3732741829}" v="1" dt="2024-04-17T20:50:02.822"/>
    <p1510:client id="{482BD259-1A23-DEE4-F159-5DDAD9931FB5}" v="165" dt="2024-04-17T13:24:17.68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13.fntdata"/><Relationship Id="rId68" Type="http://schemas.openxmlformats.org/officeDocument/2006/relationships/font" Target="fonts/font18.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font" Target="fonts/font16.fntdata"/><Relationship Id="rId74"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font" Target="fonts/font11.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6.fntdata"/><Relationship Id="rId64" Type="http://schemas.openxmlformats.org/officeDocument/2006/relationships/font" Target="fonts/font14.fntdata"/><Relationship Id="rId69" Type="http://schemas.openxmlformats.org/officeDocument/2006/relationships/font" Target="fonts/font19.fntdata"/><Relationship Id="rId8" Type="http://schemas.openxmlformats.org/officeDocument/2006/relationships/slide" Target="slides/slide4.xml"/><Relationship Id="rId51" Type="http://schemas.openxmlformats.org/officeDocument/2006/relationships/font" Target="fonts/font1.fntdata"/><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9.fntdata"/><Relationship Id="rId67" Type="http://schemas.openxmlformats.org/officeDocument/2006/relationships/font" Target="fonts/font17.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4.fntdata"/><Relationship Id="rId62" Type="http://schemas.openxmlformats.org/officeDocument/2006/relationships/font" Target="fonts/font12.fntdata"/><Relationship Id="rId70" Type="http://schemas.openxmlformats.org/officeDocument/2006/relationships/font" Target="fonts/font20.fntdata"/><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7.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font" Target="fonts/font15.fntdata"/><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notesMaster" Target="notesMasters/notesMaster1.xml"/><Relationship Id="rId55" Type="http://schemas.openxmlformats.org/officeDocument/2006/relationships/font" Target="fonts/font5.fntdata"/><Relationship Id="rId76" Type="http://schemas.microsoft.com/office/2018/10/relationships/authors" Target="authors.xml"/><Relationship Id="rId7" Type="http://schemas.openxmlformats.org/officeDocument/2006/relationships/slide" Target="slides/slide3.xml"/><Relationship Id="rId71" Type="http://schemas.openxmlformats.org/officeDocument/2006/relationships/presProps" Target="presProps.xml"/></Relationships>
</file>

<file path=ppt/comments/modernComment_18A_EA040907.xml><?xml version="1.0" encoding="utf-8"?>
<p188:cmLst xmlns:a="http://schemas.openxmlformats.org/drawingml/2006/main" xmlns:r="http://schemas.openxmlformats.org/officeDocument/2006/relationships" xmlns:p188="http://schemas.microsoft.com/office/powerpoint/2018/8/main">
  <p188:cm id="{18D01AFB-A784-4AC7-8EF8-3757ED707239}" authorId="{E13F18F8-ABF8-77AD-45A9-39C519975907}" created="2024-04-10T23:08:32.165" startDate="2024-04-10T23:08:32.165" dueDate="2024-04-10T23:08:32.165" assignedTo="{9873E4D6-D899-B51B-0C39-0543DDAB698A}" title="@Amanda Kurzban I can't make it fit">
    <pc:sldMkLst xmlns:pc="http://schemas.microsoft.com/office/powerpoint/2013/main/command">
      <pc:docMk/>
      <pc:sldMk cId="3926132999" sldId="394"/>
    </pc:sldMkLst>
    <p188:txBody>
      <a:bodyPr/>
      <a:lstStyle/>
      <a:p>
        <a:r>
          <a:rPr lang="en-US"/>
          <a:t>[@Amanda Kurzban] I can't make it fit</a:t>
        </a:r>
      </a:p>
    </p188:txBody>
    <p188:extLst>
      <p:ext xmlns:p="http://schemas.openxmlformats.org/presentationml/2006/main" uri="{5BB2D875-25FF-4072-B9AC-8F64D62656EB}">
        <p228:taskDetails xmlns:p228="http://schemas.microsoft.com/office/powerpoint/2022/08/main">
          <p228:history>
            <p228:event time="2024-04-10T23:08:32.165" id="{998D01AA-45A4-40F1-A0D5-B91036685A24}">
              <p228:atrbtn authorId="{E13F18F8-ABF8-77AD-45A9-39C519975907}"/>
              <p228:anchr>
                <p228:comment id="{18D01AFB-A784-4AC7-8EF8-3757ED707239}"/>
              </p228:anchr>
              <p228:add/>
            </p228:event>
            <p228:event time="2024-04-10T23:08:32.165" id="{778AF9B3-1772-4757-9E85-B1D66E8B981D}">
              <p228:atrbtn authorId="{E13F18F8-ABF8-77AD-45A9-39C519975907}"/>
              <p228:anchr>
                <p228:comment id="{18D01AFB-A784-4AC7-8EF8-3757ED707239}"/>
              </p228:anchr>
              <p228:asgn authorId="{9873E4D6-D899-B51B-0C39-0543DDAB698A}"/>
            </p228:event>
            <p228:event time="2024-04-10T23:08:32.165" id="{C93A99E8-929F-470E-B688-73D905E2FB94}">
              <p228:atrbtn authorId="{E13F18F8-ABF8-77AD-45A9-39C519975907}"/>
              <p228:anchr>
                <p228:comment id="{18D01AFB-A784-4AC7-8EF8-3757ED707239}"/>
              </p228:anchr>
              <p228:title val="@Amanda Kurzban I can't make it fit"/>
            </p228:event>
            <p228:event time="2024-04-10T23:08:32.165" id="{0E4D1B1E-83C1-49D9-BC39-F54AB9BC775C}">
              <p228:atrbtn authorId="{E13F18F8-ABF8-77AD-45A9-39C519975907}"/>
              <p228:anchr>
                <p228:comment id="{18D01AFB-A784-4AC7-8EF8-3757ED707239}"/>
              </p228:anchr>
              <p228:date stDt="2024-04-10T23:08:32.165" endDt="2024-04-10T23:08:32.165"/>
            </p228:event>
          </p228:history>
        </p228:taskDetails>
      </p:ext>
    </p188:extLst>
  </p188:cm>
</p188:cmLst>
</file>

<file path=ppt/comments/modernComment_190_8A11A4BA.xml><?xml version="1.0" encoding="utf-8"?>
<p188:cmLst xmlns:a="http://schemas.openxmlformats.org/drawingml/2006/main" xmlns:r="http://schemas.openxmlformats.org/officeDocument/2006/relationships" xmlns:p188="http://schemas.microsoft.com/office/powerpoint/2018/8/main">
  <p188:cm id="{26D060F1-53E6-43FD-80E0-C815D6ED767C}" authorId="{E13F18F8-ABF8-77AD-45A9-39C519975907}" created="2024-04-10T23:08:54.009" startDate="2024-04-10T23:08:54.009" dueDate="2024-04-10T23:08:54.009" assignedTo="{9873E4D6-D899-B51B-0C39-0543DDAB698A}" title="@Amanda Kurzban not sure what to update here">
    <pc:sldMkLst xmlns:pc="http://schemas.microsoft.com/office/powerpoint/2013/main/command">
      <pc:docMk/>
      <pc:sldMk cId="2316412090" sldId="400"/>
    </pc:sldMkLst>
    <p188:txBody>
      <a:bodyPr/>
      <a:lstStyle/>
      <a:p>
        <a:r>
          <a:rPr lang="en-US"/>
          <a:t>[@Amanda Kurzban] not sure what to update here</a:t>
        </a:r>
      </a:p>
    </p188:txBody>
    <p188:extLst>
      <p:ext xmlns:p="http://schemas.openxmlformats.org/presentationml/2006/main" uri="{5BB2D875-25FF-4072-B9AC-8F64D62656EB}">
        <p228:taskDetails xmlns:p228="http://schemas.microsoft.com/office/powerpoint/2022/08/main">
          <p228:history>
            <p228:event time="2024-04-10T23:08:54.009" id="{509854CF-6E67-4DBC-B742-F2B72A9C0CAF}">
              <p228:atrbtn authorId="{E13F18F8-ABF8-77AD-45A9-39C519975907}"/>
              <p228:anchr>
                <p228:comment id="{26D060F1-53E6-43FD-80E0-C815D6ED767C}"/>
              </p228:anchr>
              <p228:add/>
            </p228:event>
            <p228:event time="2024-04-10T23:08:54.009" id="{DABFD6C5-A4A4-4782-9D04-422F5399915B}">
              <p228:atrbtn authorId="{E13F18F8-ABF8-77AD-45A9-39C519975907}"/>
              <p228:anchr>
                <p228:comment id="{26D060F1-53E6-43FD-80E0-C815D6ED767C}"/>
              </p228:anchr>
              <p228:asgn authorId="{9873E4D6-D899-B51B-0C39-0543DDAB698A}"/>
            </p228:event>
            <p228:event time="2024-04-10T23:08:54.009" id="{A6EA58DE-2301-4314-BBB8-2B7063AFFB48}">
              <p228:atrbtn authorId="{E13F18F8-ABF8-77AD-45A9-39C519975907}"/>
              <p228:anchr>
                <p228:comment id="{26D060F1-53E6-43FD-80E0-C815D6ED767C}"/>
              </p228:anchr>
              <p228:title val="@Amanda Kurzban not sure what to update here"/>
            </p228:event>
            <p228:event time="2024-04-10T23:08:54.009" id="{256AEAC3-C3DC-4460-A68F-DE49F502342D}">
              <p228:atrbtn authorId="{E13F18F8-ABF8-77AD-45A9-39C519975907}"/>
              <p228:anchr>
                <p228:comment id="{26D060F1-53E6-43FD-80E0-C815D6ED767C}"/>
              </p228:anchr>
              <p228:date stDt="2024-04-10T23:08:54.009" endDt="2024-04-10T23:08:54.009"/>
            </p228:event>
          </p228:history>
        </p228:taskDetails>
      </p:ext>
    </p188:extLst>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58B3BB-9DC1-4647-9760-DC7672BD6AA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BDE3ECD-EE10-4699-95FA-3D890754446B}">
      <dgm:prSet custT="1"/>
      <dgm:spPr/>
      <dgm:t>
        <a:bodyPr/>
        <a:lstStyle/>
        <a:p>
          <a:pPr rtl="0"/>
          <a:r>
            <a:rPr lang="en-US" sz="1800" dirty="0">
              <a:latin typeface="Montserrat"/>
            </a:rPr>
            <a:t>Symmetrical Internet speeds of 1 GIG</a:t>
          </a:r>
          <a:r>
            <a:rPr lang="en-US" sz="1800" dirty="0">
              <a:solidFill>
                <a:schemeClr val="bg1"/>
              </a:solidFill>
              <a:latin typeface="Montserrat"/>
            </a:rPr>
            <a:t> that include a modem, </a:t>
          </a:r>
          <a:r>
            <a:rPr lang="en-US" sz="1800" dirty="0">
              <a:latin typeface="Montserrat"/>
            </a:rPr>
            <a:t>perfect for streaming, surfing, gaming, or working from home!</a:t>
          </a:r>
        </a:p>
      </dgm:t>
    </dgm:pt>
    <dgm:pt modelId="{F19FE232-7EC4-4472-9E8C-4940BDE949F6}" type="parTrans" cxnId="{CDF4CA93-8E12-4A63-8031-AF77A263A4A1}">
      <dgm:prSet/>
      <dgm:spPr/>
      <dgm:t>
        <a:bodyPr/>
        <a:lstStyle/>
        <a:p>
          <a:endParaRPr lang="en-US"/>
        </a:p>
      </dgm:t>
    </dgm:pt>
    <dgm:pt modelId="{6D090872-147D-4A75-9773-6D4A4A895955}" type="sibTrans" cxnId="{CDF4CA93-8E12-4A63-8031-AF77A263A4A1}">
      <dgm:prSet/>
      <dgm:spPr/>
      <dgm:t>
        <a:bodyPr/>
        <a:lstStyle/>
        <a:p>
          <a:endParaRPr lang="en-US"/>
        </a:p>
      </dgm:t>
    </dgm:pt>
    <dgm:pt modelId="{839F1BF1-753D-47D7-8656-14CFD79467BC}">
      <dgm:prSet custT="1"/>
      <dgm:spPr/>
      <dgm:t>
        <a:bodyPr/>
        <a:lstStyle/>
        <a:p>
          <a:r>
            <a:rPr lang="en-US" sz="1800" dirty="0">
              <a:latin typeface="Montserrat"/>
            </a:rPr>
            <a:t>Every 2-years internet speeds increase by 100 bps</a:t>
          </a:r>
          <a:r>
            <a:rPr lang="en-US" sz="1700" dirty="0">
              <a:latin typeface="Montserrat"/>
            </a:rPr>
            <a:t>.</a:t>
          </a:r>
        </a:p>
      </dgm:t>
    </dgm:pt>
    <dgm:pt modelId="{979632BA-63E9-4BF2-970D-D975FE40FDFE}" type="parTrans" cxnId="{B54A50E0-7DC3-4046-83A8-3379EBAEB196}">
      <dgm:prSet/>
      <dgm:spPr/>
      <dgm:t>
        <a:bodyPr/>
        <a:lstStyle/>
        <a:p>
          <a:endParaRPr lang="en-US"/>
        </a:p>
      </dgm:t>
    </dgm:pt>
    <dgm:pt modelId="{5D82184F-73CE-405D-8085-0C740DB1BA68}" type="sibTrans" cxnId="{B54A50E0-7DC3-4046-83A8-3379EBAEB196}">
      <dgm:prSet/>
      <dgm:spPr/>
      <dgm:t>
        <a:bodyPr/>
        <a:lstStyle/>
        <a:p>
          <a:endParaRPr lang="en-US"/>
        </a:p>
      </dgm:t>
    </dgm:pt>
    <dgm:pt modelId="{D6D62CDA-9D63-4186-88E2-093DCA79FAEC}">
      <dgm:prSet custT="1"/>
      <dgm:spPr/>
      <dgm:t>
        <a:bodyPr/>
        <a:lstStyle/>
        <a:p>
          <a:r>
            <a:rPr lang="en-US" sz="1800">
              <a:latin typeface="Montserrat"/>
            </a:rPr>
            <a:t>24X7 remote monitoring of the home network, including nightly, automated health checks.</a:t>
          </a:r>
        </a:p>
      </dgm:t>
    </dgm:pt>
    <dgm:pt modelId="{40F9D582-2FCF-4527-8206-D33557CE82D2}" type="parTrans" cxnId="{5DF15243-FDDA-43F3-9DD5-168091C0BBE7}">
      <dgm:prSet/>
      <dgm:spPr/>
      <dgm:t>
        <a:bodyPr/>
        <a:lstStyle/>
        <a:p>
          <a:endParaRPr lang="en-US"/>
        </a:p>
      </dgm:t>
    </dgm:pt>
    <dgm:pt modelId="{0767D0CF-9AD2-4AA8-8D0F-7818314674C2}" type="sibTrans" cxnId="{5DF15243-FDDA-43F3-9DD5-168091C0BBE7}">
      <dgm:prSet/>
      <dgm:spPr/>
      <dgm:t>
        <a:bodyPr/>
        <a:lstStyle/>
        <a:p>
          <a:endParaRPr lang="en-US"/>
        </a:p>
      </dgm:t>
    </dgm:pt>
    <dgm:pt modelId="{4E3624EE-08F0-40C2-A7A1-3439C8B9A286}">
      <dgm:prSet custT="1"/>
      <dgm:spPr/>
      <dgm:t>
        <a:bodyPr/>
        <a:lstStyle/>
        <a:p>
          <a:r>
            <a:rPr lang="en-US" sz="1600">
              <a:latin typeface="Montserrat"/>
            </a:rPr>
            <a:t>Total Home </a:t>
          </a:r>
          <a:r>
            <a:rPr lang="en-US" sz="1600" err="1">
              <a:latin typeface="Montserrat"/>
            </a:rPr>
            <a:t>WiFi</a:t>
          </a:r>
          <a:r>
            <a:rPr lang="en-US" sz="1600">
              <a:latin typeface="Montserrat"/>
            </a:rPr>
            <a:t> through our Latest-Generation </a:t>
          </a:r>
          <a:r>
            <a:rPr lang="en-US" sz="1600" err="1">
              <a:latin typeface="Montserrat"/>
            </a:rPr>
            <a:t>WiFi</a:t>
          </a:r>
          <a:r>
            <a:rPr lang="en-US" sz="1600">
              <a:latin typeface="Montserrat"/>
            </a:rPr>
            <a:t> Pod technology means reliably fast internet speeds throughout your home (requires professional install by Blue Stream Technician).</a:t>
          </a:r>
        </a:p>
      </dgm:t>
    </dgm:pt>
    <dgm:pt modelId="{4D20E6C8-3E82-4CC4-B0A7-DDD7458AFD34}" type="parTrans" cxnId="{71A293DE-D5C8-4AC6-B568-6186E0E70D6F}">
      <dgm:prSet/>
      <dgm:spPr/>
      <dgm:t>
        <a:bodyPr/>
        <a:lstStyle/>
        <a:p>
          <a:endParaRPr lang="en-US"/>
        </a:p>
      </dgm:t>
    </dgm:pt>
    <dgm:pt modelId="{4AC77B36-E03F-40EE-A7DF-6BFD6C5E84B1}" type="sibTrans" cxnId="{71A293DE-D5C8-4AC6-B568-6186E0E70D6F}">
      <dgm:prSet/>
      <dgm:spPr/>
      <dgm:t>
        <a:bodyPr/>
        <a:lstStyle/>
        <a:p>
          <a:endParaRPr lang="en-US"/>
        </a:p>
      </dgm:t>
    </dgm:pt>
    <dgm:pt modelId="{9FD18CD3-4204-41DB-8E23-5BAA72547983}" type="pres">
      <dgm:prSet presAssocID="{9758B3BB-9DC1-4647-9760-DC7672BD6AA8}" presName="linear" presStyleCnt="0">
        <dgm:presLayoutVars>
          <dgm:animLvl val="lvl"/>
          <dgm:resizeHandles val="exact"/>
        </dgm:presLayoutVars>
      </dgm:prSet>
      <dgm:spPr/>
    </dgm:pt>
    <dgm:pt modelId="{3068D678-F155-453E-BF74-D577DE186444}" type="pres">
      <dgm:prSet presAssocID="{4BDE3ECD-EE10-4699-95FA-3D890754446B}" presName="parentText" presStyleLbl="node1" presStyleIdx="0" presStyleCnt="4">
        <dgm:presLayoutVars>
          <dgm:chMax val="0"/>
          <dgm:bulletEnabled val="1"/>
        </dgm:presLayoutVars>
      </dgm:prSet>
      <dgm:spPr/>
    </dgm:pt>
    <dgm:pt modelId="{ED1BC663-A6B0-4270-B192-250C00A848E7}" type="pres">
      <dgm:prSet presAssocID="{6D090872-147D-4A75-9773-6D4A4A895955}" presName="spacer" presStyleCnt="0"/>
      <dgm:spPr/>
    </dgm:pt>
    <dgm:pt modelId="{C88338F5-45DA-4B41-AE65-85519596469F}" type="pres">
      <dgm:prSet presAssocID="{839F1BF1-753D-47D7-8656-14CFD79467BC}" presName="parentText" presStyleLbl="node1" presStyleIdx="1" presStyleCnt="4">
        <dgm:presLayoutVars>
          <dgm:chMax val="0"/>
          <dgm:bulletEnabled val="1"/>
        </dgm:presLayoutVars>
      </dgm:prSet>
      <dgm:spPr/>
    </dgm:pt>
    <dgm:pt modelId="{7A227FB2-67D6-44E9-8361-FEB847770656}" type="pres">
      <dgm:prSet presAssocID="{5D82184F-73CE-405D-8085-0C740DB1BA68}" presName="spacer" presStyleCnt="0"/>
      <dgm:spPr/>
    </dgm:pt>
    <dgm:pt modelId="{4705A9A0-731D-40A4-9A02-B24F240312D3}" type="pres">
      <dgm:prSet presAssocID="{D6D62CDA-9D63-4186-88E2-093DCA79FAEC}" presName="parentText" presStyleLbl="node1" presStyleIdx="2" presStyleCnt="4">
        <dgm:presLayoutVars>
          <dgm:chMax val="0"/>
          <dgm:bulletEnabled val="1"/>
        </dgm:presLayoutVars>
      </dgm:prSet>
      <dgm:spPr/>
    </dgm:pt>
    <dgm:pt modelId="{DC514EC8-D225-470B-BB87-85020BB58CD6}" type="pres">
      <dgm:prSet presAssocID="{0767D0CF-9AD2-4AA8-8D0F-7818314674C2}" presName="spacer" presStyleCnt="0"/>
      <dgm:spPr/>
    </dgm:pt>
    <dgm:pt modelId="{03C399DA-1560-4F64-BBB3-3F2FC10AE176}" type="pres">
      <dgm:prSet presAssocID="{4E3624EE-08F0-40C2-A7A1-3439C8B9A286}" presName="parentText" presStyleLbl="node1" presStyleIdx="3" presStyleCnt="4">
        <dgm:presLayoutVars>
          <dgm:chMax val="0"/>
          <dgm:bulletEnabled val="1"/>
        </dgm:presLayoutVars>
      </dgm:prSet>
      <dgm:spPr/>
    </dgm:pt>
  </dgm:ptLst>
  <dgm:cxnLst>
    <dgm:cxn modelId="{0151EF3D-9585-4AD4-9C42-279029025BEF}" type="presOf" srcId="{4BDE3ECD-EE10-4699-95FA-3D890754446B}" destId="{3068D678-F155-453E-BF74-D577DE186444}" srcOrd="0" destOrd="0" presId="urn:microsoft.com/office/officeart/2005/8/layout/vList2"/>
    <dgm:cxn modelId="{5DF15243-FDDA-43F3-9DD5-168091C0BBE7}" srcId="{9758B3BB-9DC1-4647-9760-DC7672BD6AA8}" destId="{D6D62CDA-9D63-4186-88E2-093DCA79FAEC}" srcOrd="2" destOrd="0" parTransId="{40F9D582-2FCF-4527-8206-D33557CE82D2}" sibTransId="{0767D0CF-9AD2-4AA8-8D0F-7818314674C2}"/>
    <dgm:cxn modelId="{C18D1274-8A60-4477-9DFE-9F4DEC97104B}" type="presOf" srcId="{839F1BF1-753D-47D7-8656-14CFD79467BC}" destId="{C88338F5-45DA-4B41-AE65-85519596469F}" srcOrd="0" destOrd="0" presId="urn:microsoft.com/office/officeart/2005/8/layout/vList2"/>
    <dgm:cxn modelId="{8BD64E8D-F8C1-4895-9330-7E6D01CEA052}" type="presOf" srcId="{4E3624EE-08F0-40C2-A7A1-3439C8B9A286}" destId="{03C399DA-1560-4F64-BBB3-3F2FC10AE176}" srcOrd="0" destOrd="0" presId="urn:microsoft.com/office/officeart/2005/8/layout/vList2"/>
    <dgm:cxn modelId="{CDF4CA93-8E12-4A63-8031-AF77A263A4A1}" srcId="{9758B3BB-9DC1-4647-9760-DC7672BD6AA8}" destId="{4BDE3ECD-EE10-4699-95FA-3D890754446B}" srcOrd="0" destOrd="0" parTransId="{F19FE232-7EC4-4472-9E8C-4940BDE949F6}" sibTransId="{6D090872-147D-4A75-9773-6D4A4A895955}"/>
    <dgm:cxn modelId="{71A293DE-D5C8-4AC6-B568-6186E0E70D6F}" srcId="{9758B3BB-9DC1-4647-9760-DC7672BD6AA8}" destId="{4E3624EE-08F0-40C2-A7A1-3439C8B9A286}" srcOrd="3" destOrd="0" parTransId="{4D20E6C8-3E82-4CC4-B0A7-DDD7458AFD34}" sibTransId="{4AC77B36-E03F-40EE-A7DF-6BFD6C5E84B1}"/>
    <dgm:cxn modelId="{B54A50E0-7DC3-4046-83A8-3379EBAEB196}" srcId="{9758B3BB-9DC1-4647-9760-DC7672BD6AA8}" destId="{839F1BF1-753D-47D7-8656-14CFD79467BC}" srcOrd="1" destOrd="0" parTransId="{979632BA-63E9-4BF2-970D-D975FE40FDFE}" sibTransId="{5D82184F-73CE-405D-8085-0C740DB1BA68}"/>
    <dgm:cxn modelId="{658111E2-C6C0-408C-B71B-276DCB8779CE}" type="presOf" srcId="{D6D62CDA-9D63-4186-88E2-093DCA79FAEC}" destId="{4705A9A0-731D-40A4-9A02-B24F240312D3}" srcOrd="0" destOrd="0" presId="urn:microsoft.com/office/officeart/2005/8/layout/vList2"/>
    <dgm:cxn modelId="{FF26EDE9-795B-47A7-B881-57A2D1F0C217}" type="presOf" srcId="{9758B3BB-9DC1-4647-9760-DC7672BD6AA8}" destId="{9FD18CD3-4204-41DB-8E23-5BAA72547983}" srcOrd="0" destOrd="0" presId="urn:microsoft.com/office/officeart/2005/8/layout/vList2"/>
    <dgm:cxn modelId="{B8AF7582-1227-40E5-91CD-0BC8C89598F5}" type="presParOf" srcId="{9FD18CD3-4204-41DB-8E23-5BAA72547983}" destId="{3068D678-F155-453E-BF74-D577DE186444}" srcOrd="0" destOrd="0" presId="urn:microsoft.com/office/officeart/2005/8/layout/vList2"/>
    <dgm:cxn modelId="{19F5DBF2-0CE0-4958-A2A7-2A9AD575E31D}" type="presParOf" srcId="{9FD18CD3-4204-41DB-8E23-5BAA72547983}" destId="{ED1BC663-A6B0-4270-B192-250C00A848E7}" srcOrd="1" destOrd="0" presId="urn:microsoft.com/office/officeart/2005/8/layout/vList2"/>
    <dgm:cxn modelId="{A1CEAC04-973D-42A5-9318-C809EE334382}" type="presParOf" srcId="{9FD18CD3-4204-41DB-8E23-5BAA72547983}" destId="{C88338F5-45DA-4B41-AE65-85519596469F}" srcOrd="2" destOrd="0" presId="urn:microsoft.com/office/officeart/2005/8/layout/vList2"/>
    <dgm:cxn modelId="{758045E8-AC4A-40F3-99DF-6E4DC05BF9E7}" type="presParOf" srcId="{9FD18CD3-4204-41DB-8E23-5BAA72547983}" destId="{7A227FB2-67D6-44E9-8361-FEB847770656}" srcOrd="3" destOrd="0" presId="urn:microsoft.com/office/officeart/2005/8/layout/vList2"/>
    <dgm:cxn modelId="{8441DE97-F96B-48F1-A7C0-C28206D5AC92}" type="presParOf" srcId="{9FD18CD3-4204-41DB-8E23-5BAA72547983}" destId="{4705A9A0-731D-40A4-9A02-B24F240312D3}" srcOrd="4" destOrd="0" presId="urn:microsoft.com/office/officeart/2005/8/layout/vList2"/>
    <dgm:cxn modelId="{53B686BB-CACB-4E6D-B42A-4A08E5644812}" type="presParOf" srcId="{9FD18CD3-4204-41DB-8E23-5BAA72547983}" destId="{DC514EC8-D225-470B-BB87-85020BB58CD6}" srcOrd="5" destOrd="0" presId="urn:microsoft.com/office/officeart/2005/8/layout/vList2"/>
    <dgm:cxn modelId="{B53710BC-FC62-42EB-B460-F732DCBCC2B2}" type="presParOf" srcId="{9FD18CD3-4204-41DB-8E23-5BAA72547983}" destId="{03C399DA-1560-4F64-BBB3-3F2FC10AE17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68D678-F155-453E-BF74-D577DE186444}">
      <dsp:nvSpPr>
        <dsp:cNvPr id="0" name=""/>
        <dsp:cNvSpPr/>
      </dsp:nvSpPr>
      <dsp:spPr>
        <a:xfrm>
          <a:off x="0" y="21993"/>
          <a:ext cx="11206264" cy="842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rtl="0">
            <a:lnSpc>
              <a:spcPct val="90000"/>
            </a:lnSpc>
            <a:spcBef>
              <a:spcPct val="0"/>
            </a:spcBef>
            <a:spcAft>
              <a:spcPct val="35000"/>
            </a:spcAft>
            <a:buNone/>
          </a:pPr>
          <a:r>
            <a:rPr lang="en-US" sz="1800" kern="1200" dirty="0">
              <a:latin typeface="Montserrat"/>
            </a:rPr>
            <a:t>Symmetrical Internet speeds of 1 GIG</a:t>
          </a:r>
          <a:r>
            <a:rPr lang="en-US" sz="1800" kern="1200" dirty="0">
              <a:solidFill>
                <a:schemeClr val="bg1"/>
              </a:solidFill>
              <a:latin typeface="Montserrat"/>
            </a:rPr>
            <a:t> that include a modem, </a:t>
          </a:r>
          <a:r>
            <a:rPr lang="en-US" sz="1800" kern="1200" dirty="0">
              <a:latin typeface="Montserrat"/>
            </a:rPr>
            <a:t>perfect for streaming, surfing, gaming, or working from home!</a:t>
          </a:r>
        </a:p>
      </dsp:txBody>
      <dsp:txXfrm>
        <a:off x="41123" y="63116"/>
        <a:ext cx="11124018" cy="760154"/>
      </dsp:txXfrm>
    </dsp:sp>
    <dsp:sp modelId="{C88338F5-45DA-4B41-AE65-85519596469F}">
      <dsp:nvSpPr>
        <dsp:cNvPr id="0" name=""/>
        <dsp:cNvSpPr/>
      </dsp:nvSpPr>
      <dsp:spPr>
        <a:xfrm>
          <a:off x="0" y="993994"/>
          <a:ext cx="11206264" cy="842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Montserrat"/>
            </a:rPr>
            <a:t>Every 2-years internet speeds increase by 100 bps</a:t>
          </a:r>
          <a:r>
            <a:rPr lang="en-US" sz="1700" kern="1200" dirty="0">
              <a:latin typeface="Montserrat"/>
            </a:rPr>
            <a:t>.</a:t>
          </a:r>
        </a:p>
      </dsp:txBody>
      <dsp:txXfrm>
        <a:off x="41123" y="1035117"/>
        <a:ext cx="11124018" cy="760154"/>
      </dsp:txXfrm>
    </dsp:sp>
    <dsp:sp modelId="{4705A9A0-731D-40A4-9A02-B24F240312D3}">
      <dsp:nvSpPr>
        <dsp:cNvPr id="0" name=""/>
        <dsp:cNvSpPr/>
      </dsp:nvSpPr>
      <dsp:spPr>
        <a:xfrm>
          <a:off x="0" y="1965994"/>
          <a:ext cx="11206264" cy="842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latin typeface="Montserrat"/>
            </a:rPr>
            <a:t>24X7 remote monitoring of the home network, including nightly, automated health checks.</a:t>
          </a:r>
        </a:p>
      </dsp:txBody>
      <dsp:txXfrm>
        <a:off x="41123" y="2007117"/>
        <a:ext cx="11124018" cy="760154"/>
      </dsp:txXfrm>
    </dsp:sp>
    <dsp:sp modelId="{03C399DA-1560-4F64-BBB3-3F2FC10AE176}">
      <dsp:nvSpPr>
        <dsp:cNvPr id="0" name=""/>
        <dsp:cNvSpPr/>
      </dsp:nvSpPr>
      <dsp:spPr>
        <a:xfrm>
          <a:off x="0" y="2937994"/>
          <a:ext cx="11206264" cy="842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a:latin typeface="Montserrat"/>
            </a:rPr>
            <a:t>Total Home </a:t>
          </a:r>
          <a:r>
            <a:rPr lang="en-US" sz="1600" kern="1200" err="1">
              <a:latin typeface="Montserrat"/>
            </a:rPr>
            <a:t>WiFi</a:t>
          </a:r>
          <a:r>
            <a:rPr lang="en-US" sz="1600" kern="1200">
              <a:latin typeface="Montserrat"/>
            </a:rPr>
            <a:t> through our Latest-Generation </a:t>
          </a:r>
          <a:r>
            <a:rPr lang="en-US" sz="1600" kern="1200" err="1">
              <a:latin typeface="Montserrat"/>
            </a:rPr>
            <a:t>WiFi</a:t>
          </a:r>
          <a:r>
            <a:rPr lang="en-US" sz="1600" kern="1200">
              <a:latin typeface="Montserrat"/>
            </a:rPr>
            <a:t> Pod technology means reliably fast internet speeds throughout your home (requires professional install by Blue Stream Technician).</a:t>
          </a:r>
        </a:p>
      </dsp:txBody>
      <dsp:txXfrm>
        <a:off x="41123" y="2979117"/>
        <a:ext cx="11124018" cy="76015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0075F1-9B07-4C37-8D3D-92803E9A1CFD}" type="datetimeFigureOut">
              <a:rPr lang="en-US" smtClean="0"/>
              <a:t>4/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A59559-8BE5-435A-B15E-FDE9E67A14C2}" type="slidenum">
              <a:rPr lang="en-US" smtClean="0"/>
              <a:t>‹#›</a:t>
            </a:fld>
            <a:endParaRPr lang="en-US"/>
          </a:p>
        </p:txBody>
      </p:sp>
    </p:spTree>
    <p:extLst>
      <p:ext uri="{BB962C8B-B14F-4D97-AF65-F5344CB8AC3E}">
        <p14:creationId xmlns:p14="http://schemas.microsoft.com/office/powerpoint/2010/main" val="246558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hotjar.com/blog/customer-effort-scor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2</a:t>
            </a:fld>
            <a:endParaRPr lang="en-US"/>
          </a:p>
        </p:txBody>
      </p:sp>
    </p:spTree>
    <p:extLst>
      <p:ext uri="{BB962C8B-B14F-4D97-AF65-F5344CB8AC3E}">
        <p14:creationId xmlns:p14="http://schemas.microsoft.com/office/powerpoint/2010/main" val="1422075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FF0000"/>
              </a:solidFill>
            </a:endParaRPr>
          </a:p>
        </p:txBody>
      </p:sp>
      <p:sp>
        <p:nvSpPr>
          <p:cNvPr id="4" name="Slide Number Placeholder 3"/>
          <p:cNvSpPr>
            <a:spLocks noGrp="1"/>
          </p:cNvSpPr>
          <p:nvPr>
            <p:ph type="sldNum" sz="quarter" idx="5"/>
          </p:nvPr>
        </p:nvSpPr>
        <p:spPr/>
        <p:txBody>
          <a:bodyPr/>
          <a:lstStyle/>
          <a:p>
            <a:fld id="{1FA59559-8BE5-435A-B15E-FDE9E67A14C2}" type="slidenum">
              <a:rPr lang="en-US" smtClean="0"/>
              <a:t>14</a:t>
            </a:fld>
            <a:endParaRPr lang="en-US"/>
          </a:p>
        </p:txBody>
      </p:sp>
    </p:spTree>
    <p:extLst>
      <p:ext uri="{BB962C8B-B14F-4D97-AF65-F5344CB8AC3E}">
        <p14:creationId xmlns:p14="http://schemas.microsoft.com/office/powerpoint/2010/main" val="509355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peak to HD available!</a:t>
            </a:r>
          </a:p>
        </p:txBody>
      </p:sp>
      <p:sp>
        <p:nvSpPr>
          <p:cNvPr id="4" name="Slide Number Placeholder 3"/>
          <p:cNvSpPr>
            <a:spLocks noGrp="1"/>
          </p:cNvSpPr>
          <p:nvPr>
            <p:ph type="sldNum" sz="quarter" idx="5"/>
          </p:nvPr>
        </p:nvSpPr>
        <p:spPr/>
        <p:txBody>
          <a:bodyPr/>
          <a:lstStyle/>
          <a:p>
            <a:fld id="{1FA59559-8BE5-435A-B15E-FDE9E67A14C2}" type="slidenum">
              <a:rPr lang="en-US" smtClean="0"/>
              <a:t>15</a:t>
            </a:fld>
            <a:endParaRPr lang="en-US"/>
          </a:p>
        </p:txBody>
      </p:sp>
    </p:spTree>
    <p:extLst>
      <p:ext uri="{BB962C8B-B14F-4D97-AF65-F5344CB8AC3E}">
        <p14:creationId xmlns:p14="http://schemas.microsoft.com/office/powerpoint/2010/main" val="23912336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BD Sign Up Genius Link based on time of registration versus town hall.</a:t>
            </a:r>
          </a:p>
          <a:p>
            <a:endParaRPr lang="en-US"/>
          </a:p>
          <a:p>
            <a:r>
              <a:rPr lang="en-US"/>
              <a:t>TBD Call In Dates based on confirmation of launch.</a:t>
            </a:r>
          </a:p>
        </p:txBody>
      </p:sp>
      <p:sp>
        <p:nvSpPr>
          <p:cNvPr id="4" name="Slide Number Placeholder 3"/>
          <p:cNvSpPr>
            <a:spLocks noGrp="1"/>
          </p:cNvSpPr>
          <p:nvPr>
            <p:ph type="sldNum" sz="quarter" idx="5"/>
          </p:nvPr>
        </p:nvSpPr>
        <p:spPr/>
        <p:txBody>
          <a:bodyPr/>
          <a:lstStyle/>
          <a:p>
            <a:fld id="{1FA59559-8BE5-435A-B15E-FDE9E67A14C2}" type="slidenum">
              <a:rPr lang="en-US" smtClean="0"/>
              <a:t>16</a:t>
            </a:fld>
            <a:endParaRPr lang="en-US"/>
          </a:p>
        </p:txBody>
      </p:sp>
    </p:spTree>
    <p:extLst>
      <p:ext uri="{BB962C8B-B14F-4D97-AF65-F5344CB8AC3E}">
        <p14:creationId xmlns:p14="http://schemas.microsoft.com/office/powerpoint/2010/main" val="11445506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PEAK TO DISTRIBUTION AT TOWN HALL OR ON-SITE REGISTRATION**</a:t>
            </a:r>
          </a:p>
          <a:p>
            <a:endParaRPr lang="en-US"/>
          </a:p>
          <a:p>
            <a:r>
              <a:rPr lang="en-US"/>
              <a:t>**Request PDF version from Marketing to send out as needed.</a:t>
            </a:r>
          </a:p>
        </p:txBody>
      </p:sp>
      <p:sp>
        <p:nvSpPr>
          <p:cNvPr id="4" name="Slide Number Placeholder 3"/>
          <p:cNvSpPr>
            <a:spLocks noGrp="1"/>
          </p:cNvSpPr>
          <p:nvPr>
            <p:ph type="sldNum" sz="quarter" idx="5"/>
          </p:nvPr>
        </p:nvSpPr>
        <p:spPr/>
        <p:txBody>
          <a:bodyPr/>
          <a:lstStyle/>
          <a:p>
            <a:fld id="{1FA59559-8BE5-435A-B15E-FDE9E67A14C2}" type="slidenum">
              <a:rPr lang="en-US" smtClean="0"/>
              <a:t>17</a:t>
            </a:fld>
            <a:endParaRPr lang="en-US"/>
          </a:p>
        </p:txBody>
      </p:sp>
    </p:spTree>
    <p:extLst>
      <p:ext uri="{BB962C8B-B14F-4D97-AF65-F5344CB8AC3E}">
        <p14:creationId xmlns:p14="http://schemas.microsoft.com/office/powerpoint/2010/main" val="17861293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18</a:t>
            </a:fld>
            <a:endParaRPr lang="en-US"/>
          </a:p>
        </p:txBody>
      </p:sp>
    </p:spTree>
    <p:extLst>
      <p:ext uri="{BB962C8B-B14F-4D97-AF65-F5344CB8AC3E}">
        <p14:creationId xmlns:p14="http://schemas.microsoft.com/office/powerpoint/2010/main" val="2669216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19</a:t>
            </a:fld>
            <a:endParaRPr lang="en-US"/>
          </a:p>
        </p:txBody>
      </p:sp>
    </p:spTree>
    <p:extLst>
      <p:ext uri="{BB962C8B-B14F-4D97-AF65-F5344CB8AC3E}">
        <p14:creationId xmlns:p14="http://schemas.microsoft.com/office/powerpoint/2010/main" val="16430349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20</a:t>
            </a:fld>
            <a:endParaRPr lang="en-US"/>
          </a:p>
        </p:txBody>
      </p:sp>
    </p:spTree>
    <p:extLst>
      <p:ext uri="{BB962C8B-B14F-4D97-AF65-F5344CB8AC3E}">
        <p14:creationId xmlns:p14="http://schemas.microsoft.com/office/powerpoint/2010/main" val="7738427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21</a:t>
            </a:fld>
            <a:endParaRPr lang="en-US"/>
          </a:p>
        </p:txBody>
      </p:sp>
    </p:spTree>
    <p:extLst>
      <p:ext uri="{BB962C8B-B14F-4D97-AF65-F5344CB8AC3E}">
        <p14:creationId xmlns:p14="http://schemas.microsoft.com/office/powerpoint/2010/main" val="11635005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27</a:t>
            </a:fld>
            <a:endParaRPr lang="en-US"/>
          </a:p>
        </p:txBody>
      </p:sp>
    </p:spTree>
    <p:extLst>
      <p:ext uri="{BB962C8B-B14F-4D97-AF65-F5344CB8AC3E}">
        <p14:creationId xmlns:p14="http://schemas.microsoft.com/office/powerpoint/2010/main" val="17952054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indent="-171450">
              <a:spcBef>
                <a:spcPts val="0"/>
              </a:spcBef>
              <a:spcAft>
                <a:spcPts val="0"/>
              </a:spcAft>
              <a:buFont typeface="Arial" panose="020B0604020202020204" pitchFamily="34" charset="0"/>
              <a:buChar char="•"/>
            </a:pPr>
            <a:r>
              <a:rPr lang="en-US" sz="1200">
                <a:effectLst/>
                <a:latin typeface="Montserrat" panose="00000500000000000000" pitchFamily="2" charset="0"/>
                <a:ea typeface="Calibri" panose="020F0502020204030204" pitchFamily="34" charset="0"/>
              </a:rPr>
              <a:t>For additional TV’s you can opt for additional set-top boxes, or you can use the Blue Stream Fiber app to stream our services. </a:t>
            </a:r>
          </a:p>
          <a:p>
            <a:pPr marL="628650" marR="0" indent="-171450">
              <a:spcBef>
                <a:spcPts val="0"/>
              </a:spcBef>
              <a:spcAft>
                <a:spcPts val="0"/>
              </a:spcAft>
              <a:buFont typeface="Arial" panose="020B0604020202020204" pitchFamily="34" charset="0"/>
              <a:buChar char="•"/>
            </a:pPr>
            <a:r>
              <a:rPr lang="en-US" sz="1200">
                <a:effectLst/>
                <a:latin typeface="Montserrat" panose="00000500000000000000" pitchFamily="2" charset="0"/>
                <a:ea typeface="Calibri" panose="020F0502020204030204" pitchFamily="34" charset="0"/>
              </a:rPr>
              <a:t>We do recommend that you have a box on all TV sets to take full advantage of the Blue Stream Fiber TiVo platform and have access to the 5000+ apps.</a:t>
            </a:r>
          </a:p>
          <a:p>
            <a:pPr marL="628650" marR="0" indent="-171450">
              <a:spcBef>
                <a:spcPts val="0"/>
              </a:spcBef>
              <a:spcAft>
                <a:spcPts val="0"/>
              </a:spcAft>
              <a:buFont typeface="Arial" panose="020B0604020202020204" pitchFamily="34" charset="0"/>
              <a:buChar char="•"/>
            </a:pPr>
            <a:r>
              <a:rPr lang="en-US" sz="1200">
                <a:effectLst/>
                <a:latin typeface="Montserrat" panose="00000500000000000000" pitchFamily="2" charset="0"/>
                <a:ea typeface="Calibri" panose="020F0502020204030204" pitchFamily="34" charset="0"/>
              </a:rPr>
              <a:t>You can use an Amazon Firestick or Apple TV as a substitute and get most of the abilities, i.e., voice remote and Google Assistant. </a:t>
            </a:r>
          </a:p>
          <a:p>
            <a:pPr marL="628650" marR="0" indent="-171450">
              <a:spcBef>
                <a:spcPts val="0"/>
              </a:spcBef>
              <a:spcAft>
                <a:spcPts val="0"/>
              </a:spcAft>
              <a:buFont typeface="Arial" panose="020B0604020202020204" pitchFamily="34" charset="0"/>
              <a:buChar char="•"/>
            </a:pPr>
            <a:r>
              <a:rPr lang="en-US" sz="1200">
                <a:effectLst/>
                <a:latin typeface="Montserrat" panose="00000500000000000000" pitchFamily="2" charset="0"/>
                <a:ea typeface="Calibri" panose="020F0502020204030204" pitchFamily="34" charset="0"/>
              </a:rPr>
              <a:t>For the best viewing experience utilizing the Amazon Fire Stick, we suggest any current generation 4K streamer.  Older Generation 2 streamers’ fire sticks will work but will not receive 4K streams.</a:t>
            </a:r>
            <a:endParaRPr lang="en-US" sz="1200">
              <a:effectLst/>
              <a:latin typeface="Calibri" panose="020F0502020204030204" pitchFamily="34" charset="0"/>
              <a:ea typeface="Calibri" panose="020F0502020204030204" pitchFamily="34" charset="0"/>
            </a:endParaRPr>
          </a:p>
          <a:p>
            <a:pPr marL="457200" marR="0" indent="0">
              <a:spcBef>
                <a:spcPts val="0"/>
              </a:spcBef>
              <a:spcAft>
                <a:spcPts val="0"/>
              </a:spcAft>
              <a:buFont typeface="Arial" panose="020B0604020202020204" pitchFamily="34" charset="0"/>
              <a:buNone/>
            </a:pPr>
            <a:r>
              <a:rPr lang="en-US" sz="1200">
                <a:solidFill>
                  <a:srgbClr val="FF0000"/>
                </a:solidFill>
                <a:effectLst/>
                <a:highlight>
                  <a:srgbClr val="FFFF00"/>
                </a:highlight>
                <a:latin typeface="Montserrat" panose="00000500000000000000" pitchFamily="2" charset="0"/>
                <a:ea typeface="Calibri" panose="020F0502020204030204" pitchFamily="34" charset="0"/>
              </a:rPr>
              <a:t>***Unfortunately, at this time, Roku does not work with TiVo’s operating system, so the Blue Stream Fiber TV app will not work on Roku BUT can use a firestick on Roku TV.</a:t>
            </a:r>
            <a:endParaRPr lang="en-US" sz="1200">
              <a:solidFill>
                <a:srgbClr val="FF0000"/>
              </a:solidFill>
              <a:effectLst/>
              <a:highlight>
                <a:srgbClr val="FFFF00"/>
              </a:highlight>
              <a:latin typeface="Calibri" panose="020F0502020204030204" pitchFamily="34"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28</a:t>
            </a:fld>
            <a:endParaRPr lang="en-US"/>
          </a:p>
        </p:txBody>
      </p:sp>
    </p:spTree>
    <p:extLst>
      <p:ext uri="{BB962C8B-B14F-4D97-AF65-F5344CB8AC3E}">
        <p14:creationId xmlns:p14="http://schemas.microsoft.com/office/powerpoint/2010/main" val="3056959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eck/Confirm the Contract/Sales Handoff for Redundant or Protected Speed – usually 500+ units  (IF NOT IN HANDOFF, Check with Chris Brown)</a:t>
            </a:r>
          </a:p>
          <a:p>
            <a:endParaRPr lang="en-US"/>
          </a:p>
          <a:p>
            <a:r>
              <a:rPr lang="en-US"/>
              <a:t>**AM TO Call out the US-based customer service.</a:t>
            </a:r>
            <a:endParaRPr lang="en-US">
              <a:cs typeface="Calibri"/>
            </a:endParaRPr>
          </a:p>
        </p:txBody>
      </p:sp>
      <p:sp>
        <p:nvSpPr>
          <p:cNvPr id="4" name="Slide Number Placeholder 3"/>
          <p:cNvSpPr>
            <a:spLocks noGrp="1"/>
          </p:cNvSpPr>
          <p:nvPr>
            <p:ph type="sldNum" sz="quarter" idx="5"/>
          </p:nvPr>
        </p:nvSpPr>
        <p:spPr/>
        <p:txBody>
          <a:bodyPr/>
          <a:lstStyle/>
          <a:p>
            <a:fld id="{1FA59559-8BE5-435A-B15E-FDE9E67A14C2}" type="slidenum">
              <a:rPr lang="en-US" smtClean="0"/>
              <a:t>4</a:t>
            </a:fld>
            <a:endParaRPr lang="en-US"/>
          </a:p>
        </p:txBody>
      </p:sp>
    </p:spTree>
    <p:extLst>
      <p:ext uri="{BB962C8B-B14F-4D97-AF65-F5344CB8AC3E}">
        <p14:creationId xmlns:p14="http://schemas.microsoft.com/office/powerpoint/2010/main" val="20975176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a:r>
          </a:p>
        </p:txBody>
      </p:sp>
      <p:sp>
        <p:nvSpPr>
          <p:cNvPr id="4" name="Slide Number Placeholder 3"/>
          <p:cNvSpPr>
            <a:spLocks noGrp="1"/>
          </p:cNvSpPr>
          <p:nvPr>
            <p:ph type="sldNum" sz="quarter" idx="5"/>
          </p:nvPr>
        </p:nvSpPr>
        <p:spPr/>
        <p:txBody>
          <a:bodyPr/>
          <a:lstStyle/>
          <a:p>
            <a:fld id="{1FA59559-8BE5-435A-B15E-FDE9E67A14C2}" type="slidenum">
              <a:rPr lang="en-US" smtClean="0"/>
              <a:t>29</a:t>
            </a:fld>
            <a:endParaRPr lang="en-US"/>
          </a:p>
        </p:txBody>
      </p:sp>
    </p:spTree>
    <p:extLst>
      <p:ext uri="{BB962C8B-B14F-4D97-AF65-F5344CB8AC3E}">
        <p14:creationId xmlns:p14="http://schemas.microsoft.com/office/powerpoint/2010/main" val="4976910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tter experience in the home if have a setup inside the home. </a:t>
            </a:r>
          </a:p>
          <a:p>
            <a:endParaRPr lang="en-US"/>
          </a:p>
          <a:p>
            <a:endParaRPr lang="en-US">
              <a:cs typeface="Calibri"/>
            </a:endParaRPr>
          </a:p>
        </p:txBody>
      </p:sp>
      <p:sp>
        <p:nvSpPr>
          <p:cNvPr id="4" name="Slide Number Placeholder 3"/>
          <p:cNvSpPr>
            <a:spLocks noGrp="1"/>
          </p:cNvSpPr>
          <p:nvPr>
            <p:ph type="sldNum" sz="quarter" idx="5"/>
          </p:nvPr>
        </p:nvSpPr>
        <p:spPr/>
        <p:txBody>
          <a:bodyPr/>
          <a:lstStyle/>
          <a:p>
            <a:fld id="{1FA59559-8BE5-435A-B15E-FDE9E67A14C2}" type="slidenum">
              <a:rPr lang="en-US" smtClean="0"/>
              <a:t>30</a:t>
            </a:fld>
            <a:endParaRPr lang="en-US"/>
          </a:p>
        </p:txBody>
      </p:sp>
    </p:spTree>
    <p:extLst>
      <p:ext uri="{BB962C8B-B14F-4D97-AF65-F5344CB8AC3E}">
        <p14:creationId xmlns:p14="http://schemas.microsoft.com/office/powerpoint/2010/main" val="33135386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FA59559-8BE5-435A-B15E-FDE9E67A14C2}" type="slidenum">
              <a:rPr lang="en-US" smtClean="0"/>
              <a:t>31</a:t>
            </a:fld>
            <a:endParaRPr lang="en-US"/>
          </a:p>
        </p:txBody>
      </p:sp>
    </p:spTree>
    <p:extLst>
      <p:ext uri="{BB962C8B-B14F-4D97-AF65-F5344CB8AC3E}">
        <p14:creationId xmlns:p14="http://schemas.microsoft.com/office/powerpoint/2010/main" val="41209863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32</a:t>
            </a:fld>
            <a:endParaRPr lang="en-US"/>
          </a:p>
        </p:txBody>
      </p:sp>
    </p:spTree>
    <p:extLst>
      <p:ext uri="{BB962C8B-B14F-4D97-AF65-F5344CB8AC3E}">
        <p14:creationId xmlns:p14="http://schemas.microsoft.com/office/powerpoint/2010/main" val="32578208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MONTESERRAT FONT**</a:t>
            </a:r>
          </a:p>
          <a:p>
            <a:endParaRPr lang="en-US"/>
          </a:p>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33</a:t>
            </a:fld>
            <a:endParaRPr lang="en-US"/>
          </a:p>
        </p:txBody>
      </p:sp>
    </p:spTree>
    <p:extLst>
      <p:ext uri="{BB962C8B-B14F-4D97-AF65-F5344CB8AC3E}">
        <p14:creationId xmlns:p14="http://schemas.microsoft.com/office/powerpoint/2010/main" val="8829311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t>Speak to “ideal” and it does not mean their internet wont work. </a:t>
            </a:r>
            <a:endParaRPr lang="en-US" sz="1200">
              <a:solidFill>
                <a:srgbClr val="FF0000"/>
              </a:solidFill>
              <a:latin typeface="Montserrat"/>
            </a:endParaRPr>
          </a:p>
          <a:p>
            <a:pPr marL="742950" lvl="1" indent="-285750">
              <a:buFont typeface="Courier New" panose="02070309020205020404" pitchFamily="49" charset="0"/>
              <a:buChar char="o"/>
            </a:pPr>
            <a:r>
              <a:rPr lang="en-US" sz="1100">
                <a:latin typeface="Calibri"/>
                <a:ea typeface="Times New Roman" panose="02020603050405020304" pitchFamily="18" charset="0"/>
                <a:cs typeface="Calibri"/>
              </a:rPr>
              <a:t>Listing</a:t>
            </a:r>
            <a:r>
              <a:rPr lang="en-US" sz="1100">
                <a:effectLst/>
                <a:latin typeface="Calibri"/>
                <a:ea typeface="Times New Roman" panose="02020603050405020304" pitchFamily="18" charset="0"/>
                <a:cs typeface="Calibri"/>
              </a:rPr>
              <a:t> </a:t>
            </a:r>
            <a:r>
              <a:rPr lang="en-US" sz="1100">
                <a:latin typeface="Calibri"/>
                <a:ea typeface="Times New Roman" panose="02020603050405020304" pitchFamily="18" charset="0"/>
                <a:cs typeface="Calibri"/>
              </a:rPr>
              <a:t>possible </a:t>
            </a:r>
            <a:r>
              <a:rPr lang="en-US" sz="1100">
                <a:effectLst/>
                <a:latin typeface="Calibri"/>
                <a:ea typeface="Times New Roman" panose="02020603050405020304" pitchFamily="18" charset="0"/>
                <a:cs typeface="Calibri"/>
              </a:rPr>
              <a:t>connected devices </a:t>
            </a:r>
            <a:r>
              <a:rPr lang="en-US" sz="1100">
                <a:latin typeface="Calibri"/>
                <a:ea typeface="Times New Roman" panose="02020603050405020304" pitchFamily="18" charset="0"/>
                <a:cs typeface="Calibri"/>
              </a:rPr>
              <a:t>helps them understand the speed effect (sometimes</a:t>
            </a:r>
            <a:r>
              <a:rPr lang="en-US" sz="1100">
                <a:effectLst/>
                <a:latin typeface="Calibri"/>
                <a:ea typeface="Times New Roman" panose="02020603050405020304" pitchFamily="18" charset="0"/>
                <a:cs typeface="Calibri"/>
              </a:rPr>
              <a:t> people think in terms of laptops, computers only</a:t>
            </a:r>
            <a:r>
              <a:rPr lang="en-US" sz="1100">
                <a:latin typeface="Calibri"/>
                <a:ea typeface="Times New Roman" panose="02020603050405020304" pitchFamily="18" charset="0"/>
                <a:cs typeface="Calibri"/>
              </a:rPr>
              <a:t>).</a:t>
            </a:r>
            <a:r>
              <a:rPr lang="en-US" sz="1100">
                <a:effectLst/>
                <a:latin typeface="Calibri"/>
                <a:ea typeface="Times New Roman" panose="02020603050405020304" pitchFamily="18" charset="0"/>
                <a:cs typeface="Calibri"/>
              </a:rPr>
              <a:t>  We want to give them a sense of what they need to consider</a:t>
            </a:r>
            <a:endParaRPr lang="en-US" sz="1100">
              <a:effectLst/>
              <a:latin typeface="Times New Roman"/>
              <a:ea typeface="Calibri" panose="020F0502020204030204" pitchFamily="34" charset="0"/>
              <a:cs typeface="Calibri"/>
            </a:endParaRPr>
          </a:p>
          <a:p>
            <a:pPr marL="742950" marR="0" lvl="1" indent="-285750">
              <a:spcBef>
                <a:spcPts val="0"/>
              </a:spcBef>
              <a:spcAft>
                <a:spcPts val="0"/>
              </a:spcAft>
              <a:buFont typeface="Courier New" panose="02070309020205020404" pitchFamily="49" charset="0"/>
              <a:buChar char="o"/>
            </a:pPr>
            <a:r>
              <a:rPr lang="en-US" sz="1100">
                <a:effectLst/>
                <a:latin typeface="Calibri"/>
                <a:ea typeface="Times New Roman" panose="02020603050405020304" pitchFamily="18" charset="0"/>
                <a:cs typeface="Calibri"/>
              </a:rPr>
              <a:t>This could be a great lead in to “or we can make it easy for you with these bundle packages!”</a:t>
            </a:r>
            <a:endParaRPr lang="en-US" sz="1100">
              <a:effectLst/>
              <a:latin typeface="Calibri"/>
              <a:ea typeface="Calibri" panose="020F0502020204030204" pitchFamily="34" charset="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FF0000"/>
              </a:solidFill>
            </a:endParaRPr>
          </a:p>
        </p:txBody>
      </p:sp>
      <p:sp>
        <p:nvSpPr>
          <p:cNvPr id="4" name="Slide Number Placeholder 3"/>
          <p:cNvSpPr>
            <a:spLocks noGrp="1"/>
          </p:cNvSpPr>
          <p:nvPr>
            <p:ph type="sldNum" sz="quarter" idx="5"/>
          </p:nvPr>
        </p:nvSpPr>
        <p:spPr/>
        <p:txBody>
          <a:bodyPr/>
          <a:lstStyle/>
          <a:p>
            <a:fld id="{1FA59559-8BE5-435A-B15E-FDE9E67A14C2}" type="slidenum">
              <a:rPr lang="en-US" smtClean="0"/>
              <a:t>34</a:t>
            </a:fld>
            <a:endParaRPr lang="en-US"/>
          </a:p>
        </p:txBody>
      </p:sp>
    </p:spTree>
    <p:extLst>
      <p:ext uri="{BB962C8B-B14F-4D97-AF65-F5344CB8AC3E}">
        <p14:creationId xmlns:p14="http://schemas.microsoft.com/office/powerpoint/2010/main" val="37131673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t>Speak to “ideal” and it does not mean their internet wont work. </a:t>
            </a:r>
            <a:endParaRPr lang="en-US" sz="1200">
              <a:solidFill>
                <a:srgbClr val="FF0000"/>
              </a:solidFill>
              <a:latin typeface="Montserrat"/>
            </a:endParaRPr>
          </a:p>
          <a:p>
            <a:pPr marL="742950" lvl="1" indent="-285750">
              <a:buFont typeface="Courier New" panose="02070309020205020404" pitchFamily="49" charset="0"/>
              <a:buChar char="o"/>
            </a:pPr>
            <a:r>
              <a:rPr lang="en-US" sz="1100">
                <a:latin typeface="Calibri"/>
                <a:ea typeface="Times New Roman" panose="02020603050405020304" pitchFamily="18" charset="0"/>
                <a:cs typeface="Calibri"/>
              </a:rPr>
              <a:t>Listing</a:t>
            </a:r>
            <a:r>
              <a:rPr lang="en-US" sz="1100">
                <a:effectLst/>
                <a:latin typeface="Calibri"/>
                <a:ea typeface="Times New Roman" panose="02020603050405020304" pitchFamily="18" charset="0"/>
                <a:cs typeface="Calibri"/>
              </a:rPr>
              <a:t> </a:t>
            </a:r>
            <a:r>
              <a:rPr lang="en-US" sz="1100">
                <a:latin typeface="Calibri"/>
                <a:ea typeface="Times New Roman" panose="02020603050405020304" pitchFamily="18" charset="0"/>
                <a:cs typeface="Calibri"/>
              </a:rPr>
              <a:t>possible </a:t>
            </a:r>
            <a:r>
              <a:rPr lang="en-US" sz="1100">
                <a:effectLst/>
                <a:latin typeface="Calibri"/>
                <a:ea typeface="Times New Roman" panose="02020603050405020304" pitchFamily="18" charset="0"/>
                <a:cs typeface="Calibri"/>
              </a:rPr>
              <a:t>connected devices </a:t>
            </a:r>
            <a:r>
              <a:rPr lang="en-US" sz="1100">
                <a:latin typeface="Calibri"/>
                <a:ea typeface="Times New Roman" panose="02020603050405020304" pitchFamily="18" charset="0"/>
                <a:cs typeface="Calibri"/>
              </a:rPr>
              <a:t>helps them understand the speed effect (sometimes</a:t>
            </a:r>
            <a:r>
              <a:rPr lang="en-US" sz="1100">
                <a:effectLst/>
                <a:latin typeface="Calibri"/>
                <a:ea typeface="Times New Roman" panose="02020603050405020304" pitchFamily="18" charset="0"/>
                <a:cs typeface="Calibri"/>
              </a:rPr>
              <a:t> people think in terms of laptops, computers only</a:t>
            </a:r>
            <a:r>
              <a:rPr lang="en-US" sz="1100">
                <a:latin typeface="Calibri"/>
                <a:ea typeface="Times New Roman" panose="02020603050405020304" pitchFamily="18" charset="0"/>
                <a:cs typeface="Calibri"/>
              </a:rPr>
              <a:t>).</a:t>
            </a:r>
            <a:r>
              <a:rPr lang="en-US" sz="1100">
                <a:effectLst/>
                <a:latin typeface="Calibri"/>
                <a:ea typeface="Times New Roman" panose="02020603050405020304" pitchFamily="18" charset="0"/>
                <a:cs typeface="Calibri"/>
              </a:rPr>
              <a:t>  We want to give them a sense of what they need to consider</a:t>
            </a:r>
            <a:endParaRPr lang="en-US" sz="1100">
              <a:effectLst/>
              <a:latin typeface="Times New Roman"/>
              <a:ea typeface="Calibri" panose="020F0502020204030204" pitchFamily="34" charset="0"/>
              <a:cs typeface="Calibri"/>
            </a:endParaRPr>
          </a:p>
          <a:p>
            <a:pPr marL="742950" marR="0" lvl="1" indent="-285750">
              <a:spcBef>
                <a:spcPts val="0"/>
              </a:spcBef>
              <a:spcAft>
                <a:spcPts val="0"/>
              </a:spcAft>
              <a:buFont typeface="Courier New" panose="02070309020205020404" pitchFamily="49" charset="0"/>
              <a:buChar char="o"/>
            </a:pPr>
            <a:r>
              <a:rPr lang="en-US" sz="1100">
                <a:effectLst/>
                <a:latin typeface="Calibri"/>
                <a:ea typeface="Times New Roman" panose="02020603050405020304" pitchFamily="18" charset="0"/>
                <a:cs typeface="Calibri"/>
              </a:rPr>
              <a:t>This could be a great lead in to “or we can make it easy for you with these bundle packages!”</a:t>
            </a:r>
            <a:endParaRPr lang="en-US" sz="1100">
              <a:effectLst/>
              <a:latin typeface="Calibri"/>
              <a:ea typeface="Calibri" panose="020F0502020204030204" pitchFamily="34" charset="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FF0000"/>
              </a:solidFill>
            </a:endParaRPr>
          </a:p>
        </p:txBody>
      </p:sp>
      <p:sp>
        <p:nvSpPr>
          <p:cNvPr id="4" name="Slide Number Placeholder 3"/>
          <p:cNvSpPr>
            <a:spLocks noGrp="1"/>
          </p:cNvSpPr>
          <p:nvPr>
            <p:ph type="sldNum" sz="quarter" idx="5"/>
          </p:nvPr>
        </p:nvSpPr>
        <p:spPr/>
        <p:txBody>
          <a:bodyPr/>
          <a:lstStyle/>
          <a:p>
            <a:fld id="{1FA59559-8BE5-435A-B15E-FDE9E67A14C2}" type="slidenum">
              <a:rPr lang="en-US" smtClean="0"/>
              <a:t>35</a:t>
            </a:fld>
            <a:endParaRPr lang="en-US"/>
          </a:p>
        </p:txBody>
      </p:sp>
    </p:spTree>
    <p:extLst>
      <p:ext uri="{BB962C8B-B14F-4D97-AF65-F5344CB8AC3E}">
        <p14:creationId xmlns:p14="http://schemas.microsoft.com/office/powerpoint/2010/main" val="39552937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TBD PICK THIS OR ULTIMATE CONNECT – 1 GIG SHOULD HAVE AN OPTION FOR MULTI GIG – MAKE SURE TO HAVE EQUIPMENT TO SUPPORT IT.</a:t>
            </a:r>
          </a:p>
          <a:p>
            <a:endParaRPr lang="en-US"/>
          </a:p>
          <a:p>
            <a:r>
              <a:rPr lang="en-US"/>
              <a:t>TOTAL STREAM IS LAST OPTION TO UPGRADE SINCE RVEENUE IS LESS.</a:t>
            </a:r>
          </a:p>
        </p:txBody>
      </p:sp>
      <p:sp>
        <p:nvSpPr>
          <p:cNvPr id="4" name="Slide Number Placeholder 3"/>
          <p:cNvSpPr>
            <a:spLocks noGrp="1"/>
          </p:cNvSpPr>
          <p:nvPr>
            <p:ph type="sldNum" sz="quarter" idx="5"/>
          </p:nvPr>
        </p:nvSpPr>
        <p:spPr/>
        <p:txBody>
          <a:bodyPr/>
          <a:lstStyle/>
          <a:p>
            <a:fld id="{1FA59559-8BE5-435A-B15E-FDE9E67A14C2}" type="slidenum">
              <a:rPr lang="en-US" smtClean="0"/>
              <a:t>36</a:t>
            </a:fld>
            <a:endParaRPr lang="en-US"/>
          </a:p>
        </p:txBody>
      </p:sp>
    </p:spTree>
    <p:extLst>
      <p:ext uri="{BB962C8B-B14F-4D97-AF65-F5344CB8AC3E}">
        <p14:creationId xmlns:p14="http://schemas.microsoft.com/office/powerpoint/2010/main" val="40665487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TBD PICK THIS OR ULTIMATE CONNECT – 1 GIG SHOULD HAVE AN OPTION FOR MULTI GIG – MAKE SURE TO HAVE EQUIPMENT TO SUPPORT IT.</a:t>
            </a:r>
          </a:p>
          <a:p>
            <a:endParaRPr lang="en-US"/>
          </a:p>
          <a:p>
            <a:r>
              <a:rPr lang="en-US"/>
              <a:t>TOTAL STREAM IS LAST OPTION TO UPGRADE SINCE RVEENUE IS LESS.</a:t>
            </a:r>
          </a:p>
        </p:txBody>
      </p:sp>
      <p:sp>
        <p:nvSpPr>
          <p:cNvPr id="4" name="Slide Number Placeholder 3"/>
          <p:cNvSpPr>
            <a:spLocks noGrp="1"/>
          </p:cNvSpPr>
          <p:nvPr>
            <p:ph type="sldNum" sz="quarter" idx="5"/>
          </p:nvPr>
        </p:nvSpPr>
        <p:spPr/>
        <p:txBody>
          <a:bodyPr/>
          <a:lstStyle/>
          <a:p>
            <a:fld id="{1FA59559-8BE5-435A-B15E-FDE9E67A14C2}" type="slidenum">
              <a:rPr lang="en-US" smtClean="0"/>
              <a:t>37</a:t>
            </a:fld>
            <a:endParaRPr lang="en-US"/>
          </a:p>
        </p:txBody>
      </p:sp>
    </p:spTree>
    <p:extLst>
      <p:ext uri="{BB962C8B-B14F-4D97-AF65-F5344CB8AC3E}">
        <p14:creationId xmlns:p14="http://schemas.microsoft.com/office/powerpoint/2010/main" val="27178981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TBD PICK THIS OR ULTIMATE CONNECT – 1 GIG SHOULD HAVE AN OPTION FOR MULTI GIG – MAKE SURE TO HAVE EQUIPMENT TO SUPPORT IT.</a:t>
            </a:r>
          </a:p>
          <a:p>
            <a:endParaRPr lang="en-US"/>
          </a:p>
          <a:p>
            <a:r>
              <a:rPr lang="en-US"/>
              <a:t>TOTAL STREAM IS LAST OPTION TO UPGRADE SINCE RVEENUE IS LESS.</a:t>
            </a:r>
          </a:p>
        </p:txBody>
      </p:sp>
      <p:sp>
        <p:nvSpPr>
          <p:cNvPr id="4" name="Slide Number Placeholder 3"/>
          <p:cNvSpPr>
            <a:spLocks noGrp="1"/>
          </p:cNvSpPr>
          <p:nvPr>
            <p:ph type="sldNum" sz="quarter" idx="5"/>
          </p:nvPr>
        </p:nvSpPr>
        <p:spPr/>
        <p:txBody>
          <a:bodyPr/>
          <a:lstStyle/>
          <a:p>
            <a:fld id="{1FA59559-8BE5-435A-B15E-FDE9E67A14C2}" type="slidenum">
              <a:rPr lang="en-US" smtClean="0"/>
              <a:t>38</a:t>
            </a:fld>
            <a:endParaRPr lang="en-US"/>
          </a:p>
        </p:txBody>
      </p:sp>
    </p:spTree>
    <p:extLst>
      <p:ext uri="{BB962C8B-B14F-4D97-AF65-F5344CB8AC3E}">
        <p14:creationId xmlns:p14="http://schemas.microsoft.com/office/powerpoint/2010/main" val="2338162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arterly report available</a:t>
            </a:r>
          </a:p>
          <a:p>
            <a:endParaRPr lang="en-US"/>
          </a:p>
          <a:p>
            <a:r>
              <a:rPr lang="en-US"/>
              <a:t>NOTE: If Strategic - add dedicated staff, etc.</a:t>
            </a:r>
          </a:p>
        </p:txBody>
      </p:sp>
      <p:sp>
        <p:nvSpPr>
          <p:cNvPr id="4" name="Slide Number Placeholder 3"/>
          <p:cNvSpPr>
            <a:spLocks noGrp="1"/>
          </p:cNvSpPr>
          <p:nvPr>
            <p:ph type="sldNum" sz="quarter" idx="5"/>
          </p:nvPr>
        </p:nvSpPr>
        <p:spPr/>
        <p:txBody>
          <a:bodyPr/>
          <a:lstStyle/>
          <a:p>
            <a:fld id="{1FA59559-8BE5-435A-B15E-FDE9E67A14C2}" type="slidenum">
              <a:rPr lang="en-US" smtClean="0"/>
              <a:t>6</a:t>
            </a:fld>
            <a:endParaRPr lang="en-US"/>
          </a:p>
        </p:txBody>
      </p:sp>
    </p:spTree>
    <p:extLst>
      <p:ext uri="{BB962C8B-B14F-4D97-AF65-F5344CB8AC3E}">
        <p14:creationId xmlns:p14="http://schemas.microsoft.com/office/powerpoint/2010/main" val="8438639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ere are 11 services/features from the website: www.bluestreamfiber.com/home-products/pho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Calibri" panose="020F0502020204030204" pitchFamily="34" charset="0"/>
                <a:ea typeface="Calibri" panose="020F0502020204030204" pitchFamily="34" charset="0"/>
                <a:cs typeface="Times New Roman" panose="02020603050405020304" pitchFamily="18" charset="0"/>
              </a:rPr>
              <a:t>Caller ID, Voice Mail, Anonymous Call Rejection, Automatic Call Back, Call Forwarding Always, Call History, Call Return, Call Waiting, Enhanced 911- direct, verifiable connection to 911, Three-Way Calling &amp; more!</a:t>
            </a:r>
          </a:p>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39</a:t>
            </a:fld>
            <a:endParaRPr lang="en-US"/>
          </a:p>
        </p:txBody>
      </p:sp>
    </p:spTree>
    <p:extLst>
      <p:ext uri="{BB962C8B-B14F-4D97-AF65-F5344CB8AC3E}">
        <p14:creationId xmlns:p14="http://schemas.microsoft.com/office/powerpoint/2010/main" val="349919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RAMETERS FROM PRODUCT</a:t>
            </a:r>
          </a:p>
        </p:txBody>
      </p:sp>
      <p:sp>
        <p:nvSpPr>
          <p:cNvPr id="4" name="Slide Number Placeholder 3"/>
          <p:cNvSpPr>
            <a:spLocks noGrp="1"/>
          </p:cNvSpPr>
          <p:nvPr>
            <p:ph type="sldNum" sz="quarter" idx="5"/>
          </p:nvPr>
        </p:nvSpPr>
        <p:spPr/>
        <p:txBody>
          <a:bodyPr/>
          <a:lstStyle/>
          <a:p>
            <a:fld id="{1FA59559-8BE5-435A-B15E-FDE9E67A14C2}" type="slidenum">
              <a:rPr lang="en-US" smtClean="0"/>
              <a:t>40</a:t>
            </a:fld>
            <a:endParaRPr lang="en-US"/>
          </a:p>
        </p:txBody>
      </p:sp>
    </p:spTree>
    <p:extLst>
      <p:ext uri="{BB962C8B-B14F-4D97-AF65-F5344CB8AC3E}">
        <p14:creationId xmlns:p14="http://schemas.microsoft.com/office/powerpoint/2010/main" val="31975411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44</a:t>
            </a:fld>
            <a:endParaRPr lang="en-US"/>
          </a:p>
        </p:txBody>
      </p:sp>
    </p:spTree>
    <p:extLst>
      <p:ext uri="{BB962C8B-B14F-4D97-AF65-F5344CB8AC3E}">
        <p14:creationId xmlns:p14="http://schemas.microsoft.com/office/powerpoint/2010/main" val="7875406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sym typeface="Wingdings" panose="05000000000000000000" pitchFamily="2" charset="2"/>
              </a:rPr>
              <a:t>GOOGLE </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Wingdings" panose="05000000000000000000" pitchFamily="2" charset="2"/>
              </a:rPr>
              <a:t> Blue Stream Fiber Coral Springs – will show current stars and cou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Slide Number Placeholder 3"/>
          <p:cNvSpPr>
            <a:spLocks noGrp="1"/>
          </p:cNvSpPr>
          <p:nvPr>
            <p:ph type="sldNum" sz="quarter" idx="5"/>
          </p:nvPr>
        </p:nvSpPr>
        <p:spPr/>
        <p:txBody>
          <a:bodyPr/>
          <a:lstStyle/>
          <a:p>
            <a:fld id="{1FA59559-8BE5-435A-B15E-FDE9E67A14C2}" type="slidenum">
              <a:rPr lang="en-US" smtClean="0"/>
              <a:t>7</a:t>
            </a:fld>
            <a:endParaRPr lang="en-US"/>
          </a:p>
        </p:txBody>
      </p:sp>
    </p:spTree>
    <p:extLst>
      <p:ext uri="{BB962C8B-B14F-4D97-AF65-F5344CB8AC3E}">
        <p14:creationId xmlns:p14="http://schemas.microsoft.com/office/powerpoint/2010/main" val="10299112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a:effectLst/>
                <a:latin typeface="Ambit"/>
                <a:hlinkClick r:id="rId3"/>
              </a:rPr>
              <a:t>Net Promoter Score (NPS)</a:t>
            </a:r>
            <a:r>
              <a:rPr lang="en-US" b="0" i="0">
                <a:effectLst/>
                <a:latin typeface="Ambit"/>
              </a:rPr>
              <a:t> is a measure used to gauge customer loyalty, satisfaction, and enthusiasm with a company that’s calculated by asking customers one question: </a:t>
            </a:r>
          </a:p>
          <a:p>
            <a:pPr marL="171450" indent="-171450">
              <a:buFont typeface="Arial" panose="020B0604020202020204" pitchFamily="34" charset="0"/>
              <a:buChar char="•"/>
            </a:pPr>
            <a:r>
              <a:rPr lang="en-US" b="0" i="0">
                <a:effectLst/>
                <a:latin typeface="Ambit"/>
              </a:rPr>
              <a:t>“On a scale from 0 to 10, how likely are you to recommend this product/company to a friend or colleague?” </a:t>
            </a:r>
          </a:p>
          <a:p>
            <a:pPr marL="171450" indent="-171450">
              <a:buFont typeface="Arial" panose="020B0604020202020204" pitchFamily="34" charset="0"/>
              <a:buChar char="•"/>
            </a:pPr>
            <a:r>
              <a:rPr lang="en-US" b="0" i="0">
                <a:effectLst/>
                <a:latin typeface="Ambit"/>
              </a:rPr>
              <a:t>Aggregate NPS scores help businesses improve upon service, customer support, delivery, etc. for increased customer loyalty.</a:t>
            </a:r>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8</a:t>
            </a:fld>
            <a:endParaRPr lang="en-US"/>
          </a:p>
        </p:txBody>
      </p:sp>
    </p:spTree>
    <p:extLst>
      <p:ext uri="{BB962C8B-B14F-4D97-AF65-F5344CB8AC3E}">
        <p14:creationId xmlns:p14="http://schemas.microsoft.com/office/powerpoint/2010/main" val="5978568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10</a:t>
            </a:fld>
            <a:endParaRPr lang="en-US"/>
          </a:p>
        </p:txBody>
      </p:sp>
    </p:spTree>
    <p:extLst>
      <p:ext uri="{BB962C8B-B14F-4D97-AF65-F5344CB8AC3E}">
        <p14:creationId xmlns:p14="http://schemas.microsoft.com/office/powerpoint/2010/main" val="30063282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a:spcBef>
                <a:spcPts val="0"/>
              </a:spcBef>
              <a:spcAft>
                <a:spcPts val="0"/>
              </a:spcAft>
            </a:pPr>
            <a:r>
              <a:rPr lang="en-US" sz="1800" u="sng">
                <a:solidFill>
                  <a:srgbClr val="000000"/>
                </a:solidFill>
                <a:effectLst/>
                <a:latin typeface="Montserrat" panose="00000500000000000000" pitchFamily="2" charset="0"/>
                <a:ea typeface="Calibri" panose="020F0502020204030204" pitchFamily="34" charset="0"/>
                <a:cs typeface="Segoe UI" panose="020B0502040204020203" pitchFamily="34" charset="0"/>
              </a:rPr>
              <a:t>STATEWIDE RING AND LOCAL RING ARE REDUNDANT!  </a:t>
            </a:r>
            <a:r>
              <a:rPr lang="en-US" sz="1800">
                <a:solidFill>
                  <a:srgbClr val="000000"/>
                </a:solidFill>
                <a:effectLst/>
                <a:latin typeface="Montserrat" panose="00000500000000000000" pitchFamily="2" charset="0"/>
                <a:ea typeface="Calibri" panose="020F0502020204030204" pitchFamily="34" charset="0"/>
                <a:cs typeface="Segoe UI" panose="020B0502040204020203" pitchFamily="34" charset="0"/>
              </a:rPr>
              <a:t>(TBD on actual community)</a:t>
            </a:r>
          </a:p>
          <a:p>
            <a:pPr marL="457200" marR="0">
              <a:spcBef>
                <a:spcPts val="0"/>
              </a:spcBef>
              <a:spcAft>
                <a:spcPts val="0"/>
              </a:spcAft>
            </a:pPr>
            <a:endParaRPr lang="en-US" sz="1800">
              <a:solidFill>
                <a:srgbClr val="000000"/>
              </a:solidFill>
              <a:effectLst/>
              <a:latin typeface="Montserrat" panose="00000500000000000000" pitchFamily="2" charset="0"/>
              <a:ea typeface="Calibri" panose="020F0502020204030204" pitchFamily="34" charset="0"/>
              <a:cs typeface="Segoe UI" panose="020B0502040204020203" pitchFamily="34" charset="0"/>
            </a:endParaRPr>
          </a:p>
          <a:p>
            <a:pPr marL="457200" marR="0">
              <a:spcBef>
                <a:spcPts val="0"/>
              </a:spcBef>
              <a:spcAft>
                <a:spcPts val="0"/>
              </a:spcAft>
            </a:pPr>
            <a:r>
              <a:rPr lang="en-US" sz="1800">
                <a:solidFill>
                  <a:srgbClr val="000000"/>
                </a:solidFill>
                <a:effectLst/>
                <a:latin typeface="Montserrat" panose="00000500000000000000" pitchFamily="2" charset="0"/>
                <a:ea typeface="Calibri" panose="020F0502020204030204" pitchFamily="34" charset="0"/>
                <a:cs typeface="Segoe UI" panose="020B0502040204020203" pitchFamily="34" charset="0"/>
              </a:rPr>
              <a:t>Network R</a:t>
            </a:r>
            <a:r>
              <a:rPr lang="en-US" sz="1800">
                <a:effectLst/>
                <a:latin typeface="Montserrat" panose="00000500000000000000" pitchFamily="2" charset="0"/>
                <a:ea typeface="Calibri" panose="020F0502020204030204" pitchFamily="34" charset="0"/>
                <a:cs typeface="Times New Roman" panose="02020603050405020304" pitchFamily="18" charset="0"/>
              </a:rPr>
              <a:t>edundancy is a system of backup pathways in a fiber optic network that ensure uninterrupted and reliable internet connectivity, even in the event of an outage.</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a:effectLst/>
                <a:latin typeface="Montserrat" panose="00000500000000000000" pitchFamily="2" charset="0"/>
                <a:ea typeface="Calibri" panose="020F0502020204030204" pitchFamily="34" charset="0"/>
                <a:cs typeface="Times New Roman" panose="02020603050405020304" pitchFamily="18"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457200" marR="0">
              <a:spcBef>
                <a:spcPts val="0"/>
              </a:spcBef>
              <a:spcAft>
                <a:spcPts val="0"/>
              </a:spcAft>
            </a:pPr>
            <a:r>
              <a:rPr lang="en-US" sz="1800">
                <a:effectLst/>
                <a:latin typeface="Montserrat" panose="00000500000000000000" pitchFamily="2" charset="0"/>
                <a:ea typeface="Calibri" panose="020F0502020204030204" pitchFamily="34" charset="0"/>
                <a:cs typeface="Times New Roman" panose="02020603050405020304" pitchFamily="18" charset="0"/>
              </a:rPr>
              <a:t>Think of it like having multiple roads to get to your destination. If one road is blocked due to an accident, you can take another route and still get to your destination. Similarly, in a fiber network, redundancy means that there are multiple pathways for data to travel through, so if one pathway is disrupted for any reason, data can still reach its destination using an alternative pathway.</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a:effectLst/>
                <a:latin typeface="Montserrat" panose="00000500000000000000" pitchFamily="2" charset="0"/>
                <a:ea typeface="Calibri" panose="020F0502020204030204" pitchFamily="34" charset="0"/>
                <a:cs typeface="Times New Roman" panose="02020603050405020304" pitchFamily="18"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457200" marR="0">
              <a:spcBef>
                <a:spcPts val="0"/>
              </a:spcBef>
              <a:spcAft>
                <a:spcPts val="0"/>
              </a:spcAft>
            </a:pPr>
            <a:r>
              <a:rPr lang="en-US" sz="1800">
                <a:effectLst/>
                <a:latin typeface="Montserrat" panose="00000500000000000000" pitchFamily="2" charset="0"/>
                <a:ea typeface="Calibri" panose="020F0502020204030204" pitchFamily="34" charset="0"/>
                <a:cs typeface="Times New Roman" panose="02020603050405020304" pitchFamily="18" charset="0"/>
              </a:rPr>
              <a:t>This redundancy is important because it ensures that if there is any disruption to your internet connection, you will still be able to access the internet using a backup pathway. This means that you can continue to stream videos or browse the internet without any interruptio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11</a:t>
            </a:fld>
            <a:endParaRPr lang="en-US"/>
          </a:p>
        </p:txBody>
      </p:sp>
    </p:spTree>
    <p:extLst>
      <p:ext uri="{BB962C8B-B14F-4D97-AF65-F5344CB8AC3E}">
        <p14:creationId xmlns:p14="http://schemas.microsoft.com/office/powerpoint/2010/main" val="6144296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lect/Modify Call-In Process based on property type and rollout – Update dates based on breakdown.</a:t>
            </a:r>
          </a:p>
        </p:txBody>
      </p:sp>
      <p:sp>
        <p:nvSpPr>
          <p:cNvPr id="4" name="Slide Number Placeholder 3"/>
          <p:cNvSpPr>
            <a:spLocks noGrp="1"/>
          </p:cNvSpPr>
          <p:nvPr>
            <p:ph type="sldNum" sz="quarter" idx="5"/>
          </p:nvPr>
        </p:nvSpPr>
        <p:spPr/>
        <p:txBody>
          <a:bodyPr/>
          <a:lstStyle/>
          <a:p>
            <a:fld id="{1FA59559-8BE5-435A-B15E-FDE9E67A14C2}" type="slidenum">
              <a:rPr lang="en-US" smtClean="0"/>
              <a:t>12</a:t>
            </a:fld>
            <a:endParaRPr lang="en-US"/>
          </a:p>
        </p:txBody>
      </p:sp>
    </p:spTree>
    <p:extLst>
      <p:ext uri="{BB962C8B-B14F-4D97-AF65-F5344CB8AC3E}">
        <p14:creationId xmlns:p14="http://schemas.microsoft.com/office/powerpoint/2010/main" val="3570290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59559-8BE5-435A-B15E-FDE9E67A14C2}" type="slidenum">
              <a:rPr lang="en-US" smtClean="0"/>
              <a:t>13</a:t>
            </a:fld>
            <a:endParaRPr lang="en-US"/>
          </a:p>
        </p:txBody>
      </p:sp>
    </p:spTree>
    <p:extLst>
      <p:ext uri="{BB962C8B-B14F-4D97-AF65-F5344CB8AC3E}">
        <p14:creationId xmlns:p14="http://schemas.microsoft.com/office/powerpoint/2010/main" val="28000905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_PropertyImage">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403B6BA-D744-40B3-6A58-CDFFBA7697DD}"/>
              </a:ext>
            </a:extLst>
          </p:cNvPr>
          <p:cNvSpPr>
            <a:spLocks noGrp="1"/>
          </p:cNvSpPr>
          <p:nvPr>
            <p:ph type="ctrTitle" hasCustomPrompt="1"/>
          </p:nvPr>
        </p:nvSpPr>
        <p:spPr>
          <a:xfrm>
            <a:off x="4005470" y="4249872"/>
            <a:ext cx="7494104" cy="1502258"/>
          </a:xfrm>
        </p:spPr>
        <p:txBody>
          <a:bodyPr anchor="b">
            <a:normAutofit/>
          </a:bodyPr>
          <a:lstStyle>
            <a:lvl1pPr algn="r">
              <a:defRPr sz="3600" b="1">
                <a:solidFill>
                  <a:schemeClr val="bg1"/>
                </a:solidFill>
              </a:defRPr>
            </a:lvl1pPr>
          </a:lstStyle>
          <a:p>
            <a:r>
              <a:rPr lang="en-US"/>
              <a:t>The Title of a Section Goes Here and it Can Be Two Lines</a:t>
            </a:r>
          </a:p>
        </p:txBody>
      </p:sp>
      <p:sp>
        <p:nvSpPr>
          <p:cNvPr id="10" name="Subtitle 2">
            <a:extLst>
              <a:ext uri="{FF2B5EF4-FFF2-40B4-BE49-F238E27FC236}">
                <a16:creationId xmlns:a16="http://schemas.microsoft.com/office/drawing/2014/main" id="{64BD3AB9-7B48-81D0-EF5A-725AA1540DC5}"/>
              </a:ext>
            </a:extLst>
          </p:cNvPr>
          <p:cNvSpPr>
            <a:spLocks noGrp="1"/>
          </p:cNvSpPr>
          <p:nvPr>
            <p:ph type="subTitle" idx="1" hasCustomPrompt="1"/>
          </p:nvPr>
        </p:nvSpPr>
        <p:spPr>
          <a:xfrm>
            <a:off x="2355574" y="5881333"/>
            <a:ext cx="9144000" cy="403432"/>
          </a:xfrm>
        </p:spPr>
        <p:txBody>
          <a:bodyPr/>
          <a:lstStyle>
            <a:lvl1pPr marL="0" indent="0" algn="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is a space for a subtitle</a:t>
            </a:r>
          </a:p>
        </p:txBody>
      </p:sp>
      <p:pic>
        <p:nvPicPr>
          <p:cNvPr id="4" name="Picture 3">
            <a:extLst>
              <a:ext uri="{FF2B5EF4-FFF2-40B4-BE49-F238E27FC236}">
                <a16:creationId xmlns:a16="http://schemas.microsoft.com/office/drawing/2014/main" id="{4EE699E1-F4E9-B124-F504-C9A2B5DF0B46}"/>
              </a:ext>
            </a:extLst>
          </p:cNvPr>
          <p:cNvPicPr>
            <a:picLocks noChangeAspect="1"/>
          </p:cNvPicPr>
          <p:nvPr userDrawn="1"/>
        </p:nvPicPr>
        <p:blipFill>
          <a:blip r:embed="rId2"/>
          <a:stretch>
            <a:fillRect/>
          </a:stretch>
        </p:blipFill>
        <p:spPr>
          <a:xfrm>
            <a:off x="705678" y="1226421"/>
            <a:ext cx="4025348" cy="1395722"/>
          </a:xfrm>
          <a:prstGeom prst="rect">
            <a:avLst/>
          </a:prstGeom>
        </p:spPr>
      </p:pic>
      <p:sp>
        <p:nvSpPr>
          <p:cNvPr id="2" name="Picture Placeholder 5">
            <a:extLst>
              <a:ext uri="{FF2B5EF4-FFF2-40B4-BE49-F238E27FC236}">
                <a16:creationId xmlns:a16="http://schemas.microsoft.com/office/drawing/2014/main" id="{664A8E94-BF0B-7788-08CE-0A5342C77E01}"/>
              </a:ext>
            </a:extLst>
          </p:cNvPr>
          <p:cNvSpPr>
            <a:spLocks noGrp="1"/>
          </p:cNvSpPr>
          <p:nvPr>
            <p:ph type="pic" sz="quarter" idx="16"/>
          </p:nvPr>
        </p:nvSpPr>
        <p:spPr>
          <a:xfrm>
            <a:off x="5585791" y="0"/>
            <a:ext cx="6606209" cy="3737113"/>
          </a:xfrm>
        </p:spPr>
        <p:txBody>
          <a:bodyPr anchor="ctr"/>
          <a:lstStyle>
            <a:lvl1pPr marL="0" indent="0" algn="ctr">
              <a:buNone/>
              <a:defRPr/>
            </a:lvl1pPr>
          </a:lstStyle>
          <a:p>
            <a:endParaRPr lang="en-US"/>
          </a:p>
        </p:txBody>
      </p:sp>
    </p:spTree>
    <p:extLst>
      <p:ext uri="{BB962C8B-B14F-4D97-AF65-F5344CB8AC3E}">
        <p14:creationId xmlns:p14="http://schemas.microsoft.com/office/powerpoint/2010/main" val="26494329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_Wifi_Dark">
    <p:bg>
      <p:bgPr>
        <a:solidFill>
          <a:srgbClr val="00416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435A804-D9C2-2784-7FCB-B1F9DD0F1A69}"/>
              </a:ext>
            </a:extLst>
          </p:cNvPr>
          <p:cNvPicPr>
            <a:picLocks noChangeAspect="1"/>
          </p:cNvPicPr>
          <p:nvPr userDrawn="1"/>
        </p:nvPicPr>
        <p:blipFill>
          <a:blip r:embed="rId2">
            <a:alphaModFix amt="10000"/>
          </a:blip>
          <a:srcRect/>
          <a:stretch/>
        </p:blipFill>
        <p:spPr>
          <a:xfrm>
            <a:off x="0" y="0"/>
            <a:ext cx="12192000" cy="6858000"/>
          </a:xfrm>
          <a:prstGeom prst="rect">
            <a:avLst/>
          </a:prstGeom>
          <a:noFill/>
        </p:spPr>
      </p:pic>
      <p:sp>
        <p:nvSpPr>
          <p:cNvPr id="5" name="Title 1">
            <a:extLst>
              <a:ext uri="{FF2B5EF4-FFF2-40B4-BE49-F238E27FC236}">
                <a16:creationId xmlns:a16="http://schemas.microsoft.com/office/drawing/2014/main" id="{F529F8F1-1C0F-3C22-559A-1803706A726C}"/>
              </a:ext>
            </a:extLst>
          </p:cNvPr>
          <p:cNvSpPr>
            <a:spLocks noGrp="1"/>
          </p:cNvSpPr>
          <p:nvPr>
            <p:ph type="title" hasCustomPrompt="1"/>
          </p:nvPr>
        </p:nvSpPr>
        <p:spPr>
          <a:xfrm>
            <a:off x="5004284" y="4455157"/>
            <a:ext cx="6475414" cy="801577"/>
          </a:xfrm>
        </p:spPr>
        <p:txBody>
          <a:bodyPr anchor="b" anchorCtr="0">
            <a:noAutofit/>
          </a:bodyPr>
          <a:lstStyle>
            <a:lvl1pPr>
              <a:defRPr sz="4400">
                <a:solidFill>
                  <a:schemeClr val="bg1"/>
                </a:solidFill>
              </a:defRPr>
            </a:lvl1pPr>
          </a:lstStyle>
          <a:p>
            <a:r>
              <a:rPr lang="en-US"/>
              <a:t>Title Goes Here</a:t>
            </a:r>
          </a:p>
        </p:txBody>
      </p:sp>
      <p:sp>
        <p:nvSpPr>
          <p:cNvPr id="6" name="Text Placeholder 3">
            <a:extLst>
              <a:ext uri="{FF2B5EF4-FFF2-40B4-BE49-F238E27FC236}">
                <a16:creationId xmlns:a16="http://schemas.microsoft.com/office/drawing/2014/main" id="{448E9B5A-1E10-98D6-8BEB-C0DBA57B1F3B}"/>
              </a:ext>
            </a:extLst>
          </p:cNvPr>
          <p:cNvSpPr>
            <a:spLocks noGrp="1"/>
          </p:cNvSpPr>
          <p:nvPr>
            <p:ph type="body" sz="quarter" idx="15" hasCustomPrompt="1"/>
          </p:nvPr>
        </p:nvSpPr>
        <p:spPr>
          <a:xfrm>
            <a:off x="5004282" y="5347254"/>
            <a:ext cx="6475413" cy="696639"/>
          </a:xfrm>
        </p:spPr>
        <p:txBody>
          <a:bodyPr>
            <a:normAutofit/>
          </a:bodyPr>
          <a:lstStyle>
            <a:lvl1pPr marL="0" indent="0">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Tree>
    <p:extLst>
      <p:ext uri="{BB962C8B-B14F-4D97-AF65-F5344CB8AC3E}">
        <p14:creationId xmlns:p14="http://schemas.microsoft.com/office/powerpoint/2010/main" val="340561446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64107F6F-AD3E-3D94-B143-B60FF8D455D5}"/>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itle 1">
            <a:extLst>
              <a:ext uri="{FF2B5EF4-FFF2-40B4-BE49-F238E27FC236}">
                <a16:creationId xmlns:a16="http://schemas.microsoft.com/office/drawing/2014/main" id="{AF17FE54-D092-8D57-52C3-CF81578B35CF}"/>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
        <p:nvSpPr>
          <p:cNvPr id="2" name="Freeform 1">
            <a:extLst>
              <a:ext uri="{FF2B5EF4-FFF2-40B4-BE49-F238E27FC236}">
                <a16:creationId xmlns:a16="http://schemas.microsoft.com/office/drawing/2014/main" id="{6AE580BF-A590-056A-479D-F9DEBC77B6A3}"/>
              </a:ext>
            </a:extLst>
          </p:cNvPr>
          <p:cNvSpPr>
            <a:spLocks noChangeArrowheads="1"/>
          </p:cNvSpPr>
          <p:nvPr userDrawn="1"/>
        </p:nvSpPr>
        <p:spPr bwMode="auto">
          <a:xfrm>
            <a:off x="2531138" y="2907450"/>
            <a:ext cx="2087358" cy="1045253"/>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chemeClr val="accent1"/>
          </a:solidFill>
          <a:ln>
            <a:noFill/>
          </a:ln>
          <a:effectLst/>
        </p:spPr>
        <p:txBody>
          <a:bodyPr wrap="none" anchor="ctr"/>
          <a:lstStyle/>
          <a:p>
            <a:endParaRPr lang="en-US" sz="900">
              <a:latin typeface="+mj-lt"/>
            </a:endParaRPr>
          </a:p>
        </p:txBody>
      </p:sp>
      <p:sp>
        <p:nvSpPr>
          <p:cNvPr id="21" name="Freeform 20">
            <a:extLst>
              <a:ext uri="{FF2B5EF4-FFF2-40B4-BE49-F238E27FC236}">
                <a16:creationId xmlns:a16="http://schemas.microsoft.com/office/drawing/2014/main" id="{AD6F642A-D685-EBB1-D6F0-1463DF7FA6F5}"/>
              </a:ext>
            </a:extLst>
          </p:cNvPr>
          <p:cNvSpPr>
            <a:spLocks noChangeArrowheads="1"/>
          </p:cNvSpPr>
          <p:nvPr userDrawn="1"/>
        </p:nvSpPr>
        <p:spPr bwMode="auto">
          <a:xfrm>
            <a:off x="7425226" y="2907450"/>
            <a:ext cx="2087357" cy="1045253"/>
          </a:xfrm>
          <a:custGeom>
            <a:avLst/>
            <a:gdLst>
              <a:gd name="T0" fmla="*/ 2908 w 2924"/>
              <a:gd name="T1" fmla="*/ 1465 h 1466"/>
              <a:gd name="T2" fmla="*/ 0 w 2924"/>
              <a:gd name="T3" fmla="*/ 28 h 1466"/>
              <a:gd name="T4" fmla="*/ 14 w 2924"/>
              <a:gd name="T5" fmla="*/ 0 h 1466"/>
              <a:gd name="T6" fmla="*/ 2923 w 2924"/>
              <a:gd name="T7" fmla="*/ 1438 h 1466"/>
              <a:gd name="T8" fmla="*/ 2908 w 2924"/>
              <a:gd name="T9" fmla="*/ 1465 h 1466"/>
            </a:gdLst>
            <a:ahLst/>
            <a:cxnLst>
              <a:cxn ang="0">
                <a:pos x="T0" y="T1"/>
              </a:cxn>
              <a:cxn ang="0">
                <a:pos x="T2" y="T3"/>
              </a:cxn>
              <a:cxn ang="0">
                <a:pos x="T4" y="T5"/>
              </a:cxn>
              <a:cxn ang="0">
                <a:pos x="T6" y="T7"/>
              </a:cxn>
              <a:cxn ang="0">
                <a:pos x="T8" y="T9"/>
              </a:cxn>
            </a:cxnLst>
            <a:rect l="0" t="0" r="r" b="b"/>
            <a:pathLst>
              <a:path w="2924" h="1466">
                <a:moveTo>
                  <a:pt x="2908" y="1465"/>
                </a:moveTo>
                <a:lnTo>
                  <a:pt x="0" y="28"/>
                </a:lnTo>
                <a:lnTo>
                  <a:pt x="14" y="0"/>
                </a:lnTo>
                <a:lnTo>
                  <a:pt x="2923" y="1438"/>
                </a:lnTo>
                <a:lnTo>
                  <a:pt x="2908" y="1465"/>
                </a:lnTo>
              </a:path>
            </a:pathLst>
          </a:custGeom>
          <a:solidFill>
            <a:schemeClr val="accent3"/>
          </a:solidFill>
          <a:ln>
            <a:noFill/>
          </a:ln>
          <a:effectLst/>
        </p:spPr>
        <p:txBody>
          <a:bodyPr wrap="none" anchor="ctr"/>
          <a:lstStyle/>
          <a:p>
            <a:endParaRPr lang="en-US" sz="900">
              <a:latin typeface="+mj-lt"/>
            </a:endParaRPr>
          </a:p>
        </p:txBody>
      </p:sp>
      <p:sp>
        <p:nvSpPr>
          <p:cNvPr id="22" name="Freeform 21">
            <a:extLst>
              <a:ext uri="{FF2B5EF4-FFF2-40B4-BE49-F238E27FC236}">
                <a16:creationId xmlns:a16="http://schemas.microsoft.com/office/drawing/2014/main" id="{3F67AFAF-A464-B88B-D938-10BA37432630}"/>
              </a:ext>
            </a:extLst>
          </p:cNvPr>
          <p:cNvSpPr>
            <a:spLocks noChangeArrowheads="1"/>
          </p:cNvSpPr>
          <p:nvPr userDrawn="1"/>
        </p:nvSpPr>
        <p:spPr bwMode="auto">
          <a:xfrm>
            <a:off x="5053896" y="2907450"/>
            <a:ext cx="2087358" cy="1045253"/>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chemeClr val="accent2"/>
          </a:solidFill>
          <a:ln>
            <a:noFill/>
          </a:ln>
          <a:effectLst/>
        </p:spPr>
        <p:txBody>
          <a:bodyPr wrap="none" anchor="ctr"/>
          <a:lstStyle/>
          <a:p>
            <a:endParaRPr lang="en-US" sz="900">
              <a:latin typeface="+mj-lt"/>
            </a:endParaRPr>
          </a:p>
        </p:txBody>
      </p:sp>
      <p:sp>
        <p:nvSpPr>
          <p:cNvPr id="23" name="Freeform 22">
            <a:extLst>
              <a:ext uri="{FF2B5EF4-FFF2-40B4-BE49-F238E27FC236}">
                <a16:creationId xmlns:a16="http://schemas.microsoft.com/office/drawing/2014/main" id="{5F1C2486-1ED0-ECE6-3E00-D29D01138135}"/>
              </a:ext>
            </a:extLst>
          </p:cNvPr>
          <p:cNvSpPr>
            <a:spLocks noChangeArrowheads="1"/>
          </p:cNvSpPr>
          <p:nvPr userDrawn="1"/>
        </p:nvSpPr>
        <p:spPr bwMode="auto">
          <a:xfrm>
            <a:off x="3388831" y="2916897"/>
            <a:ext cx="50374" cy="198345"/>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endParaRPr lang="en-US" sz="900">
              <a:latin typeface="+mj-lt"/>
            </a:endParaRPr>
          </a:p>
        </p:txBody>
      </p:sp>
      <p:sp>
        <p:nvSpPr>
          <p:cNvPr id="24" name="Freeform 23">
            <a:extLst>
              <a:ext uri="{FF2B5EF4-FFF2-40B4-BE49-F238E27FC236}">
                <a16:creationId xmlns:a16="http://schemas.microsoft.com/office/drawing/2014/main" id="{F5AC237A-0E11-7C0F-E833-2DF9D5949600}"/>
              </a:ext>
            </a:extLst>
          </p:cNvPr>
          <p:cNvSpPr>
            <a:spLocks noChangeArrowheads="1"/>
          </p:cNvSpPr>
          <p:nvPr userDrawn="1"/>
        </p:nvSpPr>
        <p:spPr bwMode="auto">
          <a:xfrm>
            <a:off x="1166094" y="2916897"/>
            <a:ext cx="50374" cy="198345"/>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endParaRPr lang="en-US" sz="900">
              <a:latin typeface="+mj-lt"/>
            </a:endParaRPr>
          </a:p>
        </p:txBody>
      </p:sp>
      <p:sp>
        <p:nvSpPr>
          <p:cNvPr id="25" name="Freeform 24">
            <a:extLst>
              <a:ext uri="{FF2B5EF4-FFF2-40B4-BE49-F238E27FC236}">
                <a16:creationId xmlns:a16="http://schemas.microsoft.com/office/drawing/2014/main" id="{6B4256F9-ACF1-E5B0-077F-74AAE53E78E7}"/>
              </a:ext>
            </a:extLst>
          </p:cNvPr>
          <p:cNvSpPr>
            <a:spLocks noChangeArrowheads="1"/>
          </p:cNvSpPr>
          <p:nvPr userDrawn="1"/>
        </p:nvSpPr>
        <p:spPr bwMode="auto">
          <a:xfrm>
            <a:off x="2419139" y="2973567"/>
            <a:ext cx="969692" cy="623374"/>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endParaRPr lang="en-US" sz="900">
              <a:latin typeface="+mj-lt"/>
            </a:endParaRPr>
          </a:p>
        </p:txBody>
      </p:sp>
      <p:sp>
        <p:nvSpPr>
          <p:cNvPr id="26" name="Freeform 25">
            <a:extLst>
              <a:ext uri="{FF2B5EF4-FFF2-40B4-BE49-F238E27FC236}">
                <a16:creationId xmlns:a16="http://schemas.microsoft.com/office/drawing/2014/main" id="{5D916BD8-BB46-0313-DCB7-0BFEF99A618C}"/>
              </a:ext>
            </a:extLst>
          </p:cNvPr>
          <p:cNvSpPr>
            <a:spLocks noChangeArrowheads="1"/>
          </p:cNvSpPr>
          <p:nvPr userDrawn="1"/>
        </p:nvSpPr>
        <p:spPr bwMode="auto">
          <a:xfrm>
            <a:off x="1216468" y="2973567"/>
            <a:ext cx="969692" cy="623374"/>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US" sz="900">
              <a:latin typeface="+mj-lt"/>
            </a:endParaRPr>
          </a:p>
        </p:txBody>
      </p:sp>
      <p:sp>
        <p:nvSpPr>
          <p:cNvPr id="27" name="Freeform 26">
            <a:extLst>
              <a:ext uri="{FF2B5EF4-FFF2-40B4-BE49-F238E27FC236}">
                <a16:creationId xmlns:a16="http://schemas.microsoft.com/office/drawing/2014/main" id="{FB532D77-1586-D170-60F9-0D1CE36D7252}"/>
              </a:ext>
            </a:extLst>
          </p:cNvPr>
          <p:cNvSpPr>
            <a:spLocks noChangeArrowheads="1"/>
          </p:cNvSpPr>
          <p:nvPr userDrawn="1"/>
        </p:nvSpPr>
        <p:spPr bwMode="auto">
          <a:xfrm>
            <a:off x="1150352" y="2350193"/>
            <a:ext cx="2304594" cy="1136554"/>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endParaRPr lang="en-US" sz="900">
              <a:latin typeface="+mj-lt"/>
            </a:endParaRPr>
          </a:p>
        </p:txBody>
      </p:sp>
      <p:sp>
        <p:nvSpPr>
          <p:cNvPr id="28" name="Freeform 27">
            <a:extLst>
              <a:ext uri="{FF2B5EF4-FFF2-40B4-BE49-F238E27FC236}">
                <a16:creationId xmlns:a16="http://schemas.microsoft.com/office/drawing/2014/main" id="{D94E11B9-A61A-4709-9342-87CCB82118E9}"/>
              </a:ext>
            </a:extLst>
          </p:cNvPr>
          <p:cNvSpPr>
            <a:spLocks noChangeArrowheads="1"/>
          </p:cNvSpPr>
          <p:nvPr userDrawn="1"/>
        </p:nvSpPr>
        <p:spPr bwMode="auto">
          <a:xfrm>
            <a:off x="2186161" y="3458413"/>
            <a:ext cx="236125" cy="163715"/>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endParaRPr lang="en-US" sz="900">
              <a:latin typeface="+mj-lt"/>
            </a:endParaRPr>
          </a:p>
        </p:txBody>
      </p:sp>
      <p:sp>
        <p:nvSpPr>
          <p:cNvPr id="29" name="Freeform 28">
            <a:extLst>
              <a:ext uri="{FF2B5EF4-FFF2-40B4-BE49-F238E27FC236}">
                <a16:creationId xmlns:a16="http://schemas.microsoft.com/office/drawing/2014/main" id="{12971C95-BC52-9939-E450-DFC5F285B309}"/>
              </a:ext>
            </a:extLst>
          </p:cNvPr>
          <p:cNvSpPr>
            <a:spLocks noChangeArrowheads="1"/>
          </p:cNvSpPr>
          <p:nvPr userDrawn="1"/>
        </p:nvSpPr>
        <p:spPr bwMode="auto">
          <a:xfrm>
            <a:off x="2003556" y="2844483"/>
            <a:ext cx="598187" cy="141677"/>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endParaRPr lang="en-US" sz="900">
              <a:latin typeface="+mj-lt"/>
            </a:endParaRPr>
          </a:p>
        </p:txBody>
      </p:sp>
      <p:sp>
        <p:nvSpPr>
          <p:cNvPr id="30" name="Freeform 29">
            <a:extLst>
              <a:ext uri="{FF2B5EF4-FFF2-40B4-BE49-F238E27FC236}">
                <a16:creationId xmlns:a16="http://schemas.microsoft.com/office/drawing/2014/main" id="{5A196E33-7AA2-6572-89D7-5F20B6F6A7F0}"/>
              </a:ext>
            </a:extLst>
          </p:cNvPr>
          <p:cNvSpPr>
            <a:spLocks noChangeArrowheads="1"/>
          </p:cNvSpPr>
          <p:nvPr userDrawn="1"/>
        </p:nvSpPr>
        <p:spPr bwMode="auto">
          <a:xfrm>
            <a:off x="1666681" y="1449765"/>
            <a:ext cx="1271934" cy="1467132"/>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chemeClr val="accent1"/>
          </a:solidFill>
          <a:ln>
            <a:noFill/>
          </a:ln>
          <a:effectLst/>
        </p:spPr>
        <p:txBody>
          <a:bodyPr wrap="none" anchor="ctr"/>
          <a:lstStyle/>
          <a:p>
            <a:endParaRPr lang="en-US" sz="900">
              <a:latin typeface="+mj-lt"/>
            </a:endParaRPr>
          </a:p>
        </p:txBody>
      </p:sp>
      <p:sp>
        <p:nvSpPr>
          <p:cNvPr id="34" name="Freeform 33">
            <a:extLst>
              <a:ext uri="{FF2B5EF4-FFF2-40B4-BE49-F238E27FC236}">
                <a16:creationId xmlns:a16="http://schemas.microsoft.com/office/drawing/2014/main" id="{CF063F23-8B0D-5CD6-B6CE-DD3080A5DBA0}"/>
              </a:ext>
            </a:extLst>
          </p:cNvPr>
          <p:cNvSpPr>
            <a:spLocks noChangeArrowheads="1"/>
          </p:cNvSpPr>
          <p:nvPr userDrawn="1"/>
        </p:nvSpPr>
        <p:spPr bwMode="auto">
          <a:xfrm>
            <a:off x="5912622" y="3943259"/>
            <a:ext cx="50374" cy="198345"/>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US" sz="900">
              <a:latin typeface="+mj-lt"/>
            </a:endParaRPr>
          </a:p>
        </p:txBody>
      </p:sp>
      <p:sp>
        <p:nvSpPr>
          <p:cNvPr id="35" name="Freeform 34">
            <a:extLst>
              <a:ext uri="{FF2B5EF4-FFF2-40B4-BE49-F238E27FC236}">
                <a16:creationId xmlns:a16="http://schemas.microsoft.com/office/drawing/2014/main" id="{64E65BEF-CF40-459B-D0E7-C4B9782475B7}"/>
              </a:ext>
            </a:extLst>
          </p:cNvPr>
          <p:cNvSpPr>
            <a:spLocks noChangeArrowheads="1"/>
          </p:cNvSpPr>
          <p:nvPr userDrawn="1"/>
        </p:nvSpPr>
        <p:spPr bwMode="auto">
          <a:xfrm>
            <a:off x="3689885" y="3943259"/>
            <a:ext cx="50374" cy="198345"/>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US" sz="900">
              <a:latin typeface="+mj-lt"/>
            </a:endParaRPr>
          </a:p>
        </p:txBody>
      </p:sp>
      <p:sp>
        <p:nvSpPr>
          <p:cNvPr id="36" name="Freeform 35">
            <a:extLst>
              <a:ext uri="{FF2B5EF4-FFF2-40B4-BE49-F238E27FC236}">
                <a16:creationId xmlns:a16="http://schemas.microsoft.com/office/drawing/2014/main" id="{105D89E4-1F97-A1D1-EE6A-1EF2905A690F}"/>
              </a:ext>
            </a:extLst>
          </p:cNvPr>
          <p:cNvSpPr>
            <a:spLocks noChangeArrowheads="1"/>
          </p:cNvSpPr>
          <p:nvPr userDrawn="1"/>
        </p:nvSpPr>
        <p:spPr bwMode="auto">
          <a:xfrm>
            <a:off x="4942930" y="3999929"/>
            <a:ext cx="969692" cy="623374"/>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US" sz="900">
              <a:latin typeface="+mj-lt"/>
            </a:endParaRPr>
          </a:p>
        </p:txBody>
      </p:sp>
      <p:sp>
        <p:nvSpPr>
          <p:cNvPr id="37" name="Freeform 36">
            <a:extLst>
              <a:ext uri="{FF2B5EF4-FFF2-40B4-BE49-F238E27FC236}">
                <a16:creationId xmlns:a16="http://schemas.microsoft.com/office/drawing/2014/main" id="{3F04864D-0A3E-A215-29ED-310A334557A3}"/>
              </a:ext>
            </a:extLst>
          </p:cNvPr>
          <p:cNvSpPr>
            <a:spLocks noChangeArrowheads="1"/>
          </p:cNvSpPr>
          <p:nvPr userDrawn="1"/>
        </p:nvSpPr>
        <p:spPr bwMode="auto">
          <a:xfrm>
            <a:off x="3737109" y="3999929"/>
            <a:ext cx="969692" cy="623374"/>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endParaRPr lang="en-US" sz="900">
              <a:latin typeface="+mj-lt"/>
            </a:endParaRPr>
          </a:p>
        </p:txBody>
      </p:sp>
      <p:sp>
        <p:nvSpPr>
          <p:cNvPr id="47" name="Freeform 46">
            <a:extLst>
              <a:ext uri="{FF2B5EF4-FFF2-40B4-BE49-F238E27FC236}">
                <a16:creationId xmlns:a16="http://schemas.microsoft.com/office/drawing/2014/main" id="{50463282-637A-8223-B207-F9F14C6D8338}"/>
              </a:ext>
            </a:extLst>
          </p:cNvPr>
          <p:cNvSpPr>
            <a:spLocks noChangeArrowheads="1"/>
          </p:cNvSpPr>
          <p:nvPr userDrawn="1"/>
        </p:nvSpPr>
        <p:spPr bwMode="auto">
          <a:xfrm>
            <a:off x="3674143" y="3376556"/>
            <a:ext cx="2304594" cy="1136554"/>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endParaRPr lang="en-US" sz="900">
              <a:latin typeface="+mj-lt"/>
            </a:endParaRPr>
          </a:p>
        </p:txBody>
      </p:sp>
      <p:sp>
        <p:nvSpPr>
          <p:cNvPr id="57" name="Freeform 56">
            <a:extLst>
              <a:ext uri="{FF2B5EF4-FFF2-40B4-BE49-F238E27FC236}">
                <a16:creationId xmlns:a16="http://schemas.microsoft.com/office/drawing/2014/main" id="{EEF8E506-D306-476C-82E7-E13EC9D00A00}"/>
              </a:ext>
            </a:extLst>
          </p:cNvPr>
          <p:cNvSpPr>
            <a:spLocks noChangeArrowheads="1"/>
          </p:cNvSpPr>
          <p:nvPr userDrawn="1"/>
        </p:nvSpPr>
        <p:spPr bwMode="auto">
          <a:xfrm>
            <a:off x="4706802" y="4484775"/>
            <a:ext cx="236128" cy="163715"/>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endParaRPr lang="en-US" sz="900">
              <a:latin typeface="+mj-lt"/>
            </a:endParaRPr>
          </a:p>
        </p:txBody>
      </p:sp>
      <p:sp>
        <p:nvSpPr>
          <p:cNvPr id="59" name="Freeform 58">
            <a:extLst>
              <a:ext uri="{FF2B5EF4-FFF2-40B4-BE49-F238E27FC236}">
                <a16:creationId xmlns:a16="http://schemas.microsoft.com/office/drawing/2014/main" id="{27F3D9FC-3895-A30A-316C-F77FE968FA0B}"/>
              </a:ext>
            </a:extLst>
          </p:cNvPr>
          <p:cNvSpPr>
            <a:spLocks noChangeArrowheads="1"/>
          </p:cNvSpPr>
          <p:nvPr userDrawn="1"/>
        </p:nvSpPr>
        <p:spPr bwMode="auto">
          <a:xfrm>
            <a:off x="4524197" y="3870846"/>
            <a:ext cx="598187" cy="141677"/>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US" sz="900">
              <a:latin typeface="+mj-lt"/>
            </a:endParaRPr>
          </a:p>
        </p:txBody>
      </p:sp>
      <p:sp>
        <p:nvSpPr>
          <p:cNvPr id="60" name="Freeform 59">
            <a:extLst>
              <a:ext uri="{FF2B5EF4-FFF2-40B4-BE49-F238E27FC236}">
                <a16:creationId xmlns:a16="http://schemas.microsoft.com/office/drawing/2014/main" id="{2625471A-8C2C-93D2-2F59-4257939C2E50}"/>
              </a:ext>
            </a:extLst>
          </p:cNvPr>
          <p:cNvSpPr>
            <a:spLocks noChangeArrowheads="1"/>
          </p:cNvSpPr>
          <p:nvPr userDrawn="1"/>
        </p:nvSpPr>
        <p:spPr bwMode="auto">
          <a:xfrm>
            <a:off x="4190472" y="2476127"/>
            <a:ext cx="1271934" cy="1467132"/>
          </a:xfrm>
          <a:custGeom>
            <a:avLst/>
            <a:gdLst>
              <a:gd name="T0" fmla="*/ 1779 w 1780"/>
              <a:gd name="T1" fmla="*/ 889 h 2054"/>
              <a:gd name="T2" fmla="*/ 889 w 1780"/>
              <a:gd name="T3" fmla="*/ 0 h 2054"/>
              <a:gd name="T4" fmla="*/ 0 w 1780"/>
              <a:gd name="T5" fmla="*/ 889 h 2054"/>
              <a:gd name="T6" fmla="*/ 722 w 1780"/>
              <a:gd name="T7" fmla="*/ 1763 h 2054"/>
              <a:gd name="T8" fmla="*/ 889 w 1780"/>
              <a:gd name="T9" fmla="*/ 2053 h 2054"/>
              <a:gd name="T10" fmla="*/ 1057 w 1780"/>
              <a:gd name="T11" fmla="*/ 1763 h 2054"/>
              <a:gd name="T12" fmla="*/ 1779 w 1780"/>
              <a:gd name="T13" fmla="*/ 889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89"/>
                </a:moveTo>
                <a:cubicBezTo>
                  <a:pt x="1779" y="398"/>
                  <a:pt x="1381" y="0"/>
                  <a:pt x="889" y="0"/>
                </a:cubicBezTo>
                <a:cubicBezTo>
                  <a:pt x="399" y="0"/>
                  <a:pt x="0" y="398"/>
                  <a:pt x="0" y="889"/>
                </a:cubicBezTo>
                <a:cubicBezTo>
                  <a:pt x="0" y="1323"/>
                  <a:pt x="311" y="1685"/>
                  <a:pt x="722" y="1763"/>
                </a:cubicBezTo>
                <a:lnTo>
                  <a:pt x="889" y="2053"/>
                </a:lnTo>
                <a:lnTo>
                  <a:pt x="1057" y="1763"/>
                </a:lnTo>
                <a:cubicBezTo>
                  <a:pt x="1468" y="1685"/>
                  <a:pt x="1779" y="1323"/>
                  <a:pt x="1779" y="889"/>
                </a:cubicBezTo>
              </a:path>
            </a:pathLst>
          </a:custGeom>
          <a:solidFill>
            <a:schemeClr val="accent2"/>
          </a:solidFill>
          <a:ln>
            <a:noFill/>
          </a:ln>
          <a:effectLst/>
        </p:spPr>
        <p:txBody>
          <a:bodyPr wrap="none" anchor="ctr"/>
          <a:lstStyle/>
          <a:p>
            <a:endParaRPr lang="en-US" sz="900">
              <a:latin typeface="+mj-lt"/>
            </a:endParaRPr>
          </a:p>
        </p:txBody>
      </p:sp>
      <p:sp>
        <p:nvSpPr>
          <p:cNvPr id="64" name="Freeform 63">
            <a:extLst>
              <a:ext uri="{FF2B5EF4-FFF2-40B4-BE49-F238E27FC236}">
                <a16:creationId xmlns:a16="http://schemas.microsoft.com/office/drawing/2014/main" id="{D0D68194-14DE-038E-0DCF-33E0DA0AF140}"/>
              </a:ext>
            </a:extLst>
          </p:cNvPr>
          <p:cNvSpPr>
            <a:spLocks noChangeArrowheads="1"/>
          </p:cNvSpPr>
          <p:nvPr userDrawn="1"/>
        </p:nvSpPr>
        <p:spPr bwMode="auto">
          <a:xfrm>
            <a:off x="8436411" y="2916897"/>
            <a:ext cx="50374" cy="198345"/>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endParaRPr lang="en-US" sz="900">
              <a:latin typeface="+mj-lt"/>
            </a:endParaRPr>
          </a:p>
        </p:txBody>
      </p:sp>
      <p:sp>
        <p:nvSpPr>
          <p:cNvPr id="65" name="Freeform 64">
            <a:extLst>
              <a:ext uri="{FF2B5EF4-FFF2-40B4-BE49-F238E27FC236}">
                <a16:creationId xmlns:a16="http://schemas.microsoft.com/office/drawing/2014/main" id="{8432F591-13A9-0FA4-4874-B36EA64FF3AB}"/>
              </a:ext>
            </a:extLst>
          </p:cNvPr>
          <p:cNvSpPr>
            <a:spLocks noChangeArrowheads="1"/>
          </p:cNvSpPr>
          <p:nvPr userDrawn="1"/>
        </p:nvSpPr>
        <p:spPr bwMode="auto">
          <a:xfrm>
            <a:off x="6213675" y="2916897"/>
            <a:ext cx="50374" cy="198345"/>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endParaRPr lang="en-US" sz="900">
              <a:latin typeface="+mj-lt"/>
            </a:endParaRPr>
          </a:p>
        </p:txBody>
      </p:sp>
      <p:sp>
        <p:nvSpPr>
          <p:cNvPr id="66" name="Freeform 65">
            <a:extLst>
              <a:ext uri="{FF2B5EF4-FFF2-40B4-BE49-F238E27FC236}">
                <a16:creationId xmlns:a16="http://schemas.microsoft.com/office/drawing/2014/main" id="{B5EFEBBD-9927-196B-D8EB-67341FC93FF9}"/>
              </a:ext>
            </a:extLst>
          </p:cNvPr>
          <p:cNvSpPr>
            <a:spLocks noChangeArrowheads="1"/>
          </p:cNvSpPr>
          <p:nvPr userDrawn="1"/>
        </p:nvSpPr>
        <p:spPr bwMode="auto">
          <a:xfrm>
            <a:off x="7466719" y="2973567"/>
            <a:ext cx="969692" cy="623374"/>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endParaRPr lang="en-US" sz="900">
              <a:latin typeface="+mj-lt"/>
            </a:endParaRPr>
          </a:p>
        </p:txBody>
      </p:sp>
      <p:sp>
        <p:nvSpPr>
          <p:cNvPr id="67" name="Freeform 66">
            <a:extLst>
              <a:ext uri="{FF2B5EF4-FFF2-40B4-BE49-F238E27FC236}">
                <a16:creationId xmlns:a16="http://schemas.microsoft.com/office/drawing/2014/main" id="{04A893C9-4C52-4A06-19A9-BBC41919A97F}"/>
              </a:ext>
            </a:extLst>
          </p:cNvPr>
          <p:cNvSpPr>
            <a:spLocks noChangeArrowheads="1"/>
          </p:cNvSpPr>
          <p:nvPr userDrawn="1"/>
        </p:nvSpPr>
        <p:spPr bwMode="auto">
          <a:xfrm>
            <a:off x="6264048" y="2973567"/>
            <a:ext cx="969692" cy="623374"/>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US" sz="900">
              <a:latin typeface="+mj-lt"/>
            </a:endParaRPr>
          </a:p>
        </p:txBody>
      </p:sp>
      <p:sp>
        <p:nvSpPr>
          <p:cNvPr id="68" name="Freeform 67">
            <a:extLst>
              <a:ext uri="{FF2B5EF4-FFF2-40B4-BE49-F238E27FC236}">
                <a16:creationId xmlns:a16="http://schemas.microsoft.com/office/drawing/2014/main" id="{95A67E20-24DA-B97D-B67D-0E4D4E04D4D4}"/>
              </a:ext>
            </a:extLst>
          </p:cNvPr>
          <p:cNvSpPr>
            <a:spLocks noChangeArrowheads="1"/>
          </p:cNvSpPr>
          <p:nvPr userDrawn="1"/>
        </p:nvSpPr>
        <p:spPr bwMode="auto">
          <a:xfrm>
            <a:off x="6197934" y="2350193"/>
            <a:ext cx="2304594" cy="1136554"/>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endParaRPr lang="en-US" sz="900">
              <a:latin typeface="+mj-lt"/>
            </a:endParaRPr>
          </a:p>
        </p:txBody>
      </p:sp>
      <p:sp>
        <p:nvSpPr>
          <p:cNvPr id="69" name="Freeform 68">
            <a:extLst>
              <a:ext uri="{FF2B5EF4-FFF2-40B4-BE49-F238E27FC236}">
                <a16:creationId xmlns:a16="http://schemas.microsoft.com/office/drawing/2014/main" id="{472D6C7F-542E-C36D-0896-497CDA330185}"/>
              </a:ext>
            </a:extLst>
          </p:cNvPr>
          <p:cNvSpPr>
            <a:spLocks noChangeArrowheads="1"/>
          </p:cNvSpPr>
          <p:nvPr userDrawn="1"/>
        </p:nvSpPr>
        <p:spPr bwMode="auto">
          <a:xfrm>
            <a:off x="7233740" y="3458413"/>
            <a:ext cx="236128" cy="163715"/>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endParaRPr lang="en-US" sz="900">
              <a:latin typeface="+mj-lt"/>
            </a:endParaRPr>
          </a:p>
        </p:txBody>
      </p:sp>
      <p:sp>
        <p:nvSpPr>
          <p:cNvPr id="70" name="Freeform 69">
            <a:extLst>
              <a:ext uri="{FF2B5EF4-FFF2-40B4-BE49-F238E27FC236}">
                <a16:creationId xmlns:a16="http://schemas.microsoft.com/office/drawing/2014/main" id="{A052374F-F074-D8FF-4F19-AD6482BC500D}"/>
              </a:ext>
            </a:extLst>
          </p:cNvPr>
          <p:cNvSpPr>
            <a:spLocks noChangeArrowheads="1"/>
          </p:cNvSpPr>
          <p:nvPr userDrawn="1"/>
        </p:nvSpPr>
        <p:spPr bwMode="auto">
          <a:xfrm>
            <a:off x="7051136" y="2844483"/>
            <a:ext cx="598187" cy="141677"/>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endParaRPr lang="en-US" sz="900">
              <a:latin typeface="+mj-lt"/>
            </a:endParaRPr>
          </a:p>
        </p:txBody>
      </p:sp>
      <p:sp>
        <p:nvSpPr>
          <p:cNvPr id="71" name="Freeform 70">
            <a:extLst>
              <a:ext uri="{FF2B5EF4-FFF2-40B4-BE49-F238E27FC236}">
                <a16:creationId xmlns:a16="http://schemas.microsoft.com/office/drawing/2014/main" id="{78EF14B1-310B-B6C2-E9C8-38256ABAC2CE}"/>
              </a:ext>
            </a:extLst>
          </p:cNvPr>
          <p:cNvSpPr>
            <a:spLocks noChangeArrowheads="1"/>
          </p:cNvSpPr>
          <p:nvPr userDrawn="1"/>
        </p:nvSpPr>
        <p:spPr bwMode="auto">
          <a:xfrm>
            <a:off x="6714264" y="1449765"/>
            <a:ext cx="1271934" cy="1467132"/>
          </a:xfrm>
          <a:custGeom>
            <a:avLst/>
            <a:gdLst>
              <a:gd name="T0" fmla="*/ 1779 w 1780"/>
              <a:gd name="T1" fmla="*/ 890 h 2054"/>
              <a:gd name="T2" fmla="*/ 890 w 1780"/>
              <a:gd name="T3" fmla="*/ 0 h 2054"/>
              <a:gd name="T4" fmla="*/ 0 w 1780"/>
              <a:gd name="T5" fmla="*/ 890 h 2054"/>
              <a:gd name="T6" fmla="*/ 723 w 1780"/>
              <a:gd name="T7" fmla="*/ 1763 h 2054"/>
              <a:gd name="T8" fmla="*/ 890 w 1780"/>
              <a:gd name="T9" fmla="*/ 2053 h 2054"/>
              <a:gd name="T10" fmla="*/ 1058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1" y="0"/>
                  <a:pt x="890" y="0"/>
                </a:cubicBezTo>
                <a:cubicBezTo>
                  <a:pt x="399" y="0"/>
                  <a:pt x="0" y="398"/>
                  <a:pt x="0" y="890"/>
                </a:cubicBezTo>
                <a:cubicBezTo>
                  <a:pt x="0" y="1324"/>
                  <a:pt x="311" y="1685"/>
                  <a:pt x="723" y="1763"/>
                </a:cubicBezTo>
                <a:lnTo>
                  <a:pt x="890" y="2053"/>
                </a:lnTo>
                <a:lnTo>
                  <a:pt x="1058" y="1763"/>
                </a:lnTo>
                <a:cubicBezTo>
                  <a:pt x="1469" y="1685"/>
                  <a:pt x="1779" y="1324"/>
                  <a:pt x="1779" y="890"/>
                </a:cubicBezTo>
              </a:path>
            </a:pathLst>
          </a:custGeom>
          <a:solidFill>
            <a:schemeClr val="accent3"/>
          </a:solidFill>
          <a:ln>
            <a:noFill/>
          </a:ln>
          <a:effectLst/>
        </p:spPr>
        <p:txBody>
          <a:bodyPr wrap="none" anchor="ctr"/>
          <a:lstStyle/>
          <a:p>
            <a:endParaRPr lang="en-US" sz="900">
              <a:latin typeface="+mj-lt"/>
            </a:endParaRPr>
          </a:p>
        </p:txBody>
      </p:sp>
      <p:sp>
        <p:nvSpPr>
          <p:cNvPr id="75" name="Freeform 74">
            <a:extLst>
              <a:ext uri="{FF2B5EF4-FFF2-40B4-BE49-F238E27FC236}">
                <a16:creationId xmlns:a16="http://schemas.microsoft.com/office/drawing/2014/main" id="{0641B6FE-72B8-CCA3-56B3-110A5490A423}"/>
              </a:ext>
            </a:extLst>
          </p:cNvPr>
          <p:cNvSpPr>
            <a:spLocks noChangeArrowheads="1"/>
          </p:cNvSpPr>
          <p:nvPr userDrawn="1"/>
        </p:nvSpPr>
        <p:spPr bwMode="auto">
          <a:xfrm>
            <a:off x="10960204" y="3943259"/>
            <a:ext cx="50374" cy="198345"/>
          </a:xfrm>
          <a:custGeom>
            <a:avLst/>
            <a:gdLst>
              <a:gd name="T0" fmla="*/ 67 w 69"/>
              <a:gd name="T1" fmla="*/ 10 h 277"/>
              <a:gd name="T2" fmla="*/ 66 w 69"/>
              <a:gd name="T3" fmla="*/ 11 h 277"/>
              <a:gd name="T4" fmla="*/ 64 w 69"/>
              <a:gd name="T5" fmla="*/ 21 h 277"/>
              <a:gd name="T6" fmla="*/ 62 w 69"/>
              <a:gd name="T7" fmla="*/ 24 h 277"/>
              <a:gd name="T8" fmla="*/ 59 w 69"/>
              <a:gd name="T9" fmla="*/ 32 h 277"/>
              <a:gd name="T10" fmla="*/ 56 w 69"/>
              <a:gd name="T11" fmla="*/ 35 h 277"/>
              <a:gd name="T12" fmla="*/ 53 w 69"/>
              <a:gd name="T13" fmla="*/ 41 h 277"/>
              <a:gd name="T14" fmla="*/ 49 w 69"/>
              <a:gd name="T15" fmla="*/ 46 h 277"/>
              <a:gd name="T16" fmla="*/ 43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19 w 69"/>
              <a:gd name="T37" fmla="*/ 265 h 277"/>
              <a:gd name="T38" fmla="*/ 29 w 69"/>
              <a:gd name="T39" fmla="*/ 259 h 277"/>
              <a:gd name="T40" fmla="*/ 31 w 69"/>
              <a:gd name="T41" fmla="*/ 257 h 277"/>
              <a:gd name="T42" fmla="*/ 35 w 69"/>
              <a:gd name="T43" fmla="*/ 254 h 277"/>
              <a:gd name="T44" fmla="*/ 38 w 69"/>
              <a:gd name="T45" fmla="*/ 251 h 277"/>
              <a:gd name="T46" fmla="*/ 43 w 69"/>
              <a:gd name="T47" fmla="*/ 246 h 277"/>
              <a:gd name="T48" fmla="*/ 46 w 69"/>
              <a:gd name="T49" fmla="*/ 243 h 277"/>
              <a:gd name="T50" fmla="*/ 49 w 69"/>
              <a:gd name="T51" fmla="*/ 240 h 277"/>
              <a:gd name="T52" fmla="*/ 53 w 69"/>
              <a:gd name="T53" fmla="*/ 236 h 277"/>
              <a:gd name="T54" fmla="*/ 54 w 69"/>
              <a:gd name="T55" fmla="*/ 234 h 277"/>
              <a:gd name="T56" fmla="*/ 56 w 69"/>
              <a:gd name="T57" fmla="*/ 230 h 277"/>
              <a:gd name="T58" fmla="*/ 59 w 69"/>
              <a:gd name="T59" fmla="*/ 225 h 277"/>
              <a:gd name="T60" fmla="*/ 60 w 69"/>
              <a:gd name="T61" fmla="*/ 224 h 277"/>
              <a:gd name="T62" fmla="*/ 62 w 69"/>
              <a:gd name="T63" fmla="*/ 219 h 277"/>
              <a:gd name="T64" fmla="*/ 64 w 69"/>
              <a:gd name="T65" fmla="*/ 216 h 277"/>
              <a:gd name="T66" fmla="*/ 64 w 69"/>
              <a:gd name="T67" fmla="*/ 215 h 277"/>
              <a:gd name="T68" fmla="*/ 66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cubicBezTo>
                  <a:pt x="66" y="10"/>
                  <a:pt x="66" y="11"/>
                  <a:pt x="66" y="11"/>
                </a:cubicBezTo>
                <a:cubicBezTo>
                  <a:pt x="66" y="14"/>
                  <a:pt x="65" y="18"/>
                  <a:pt x="64" y="21"/>
                </a:cubicBezTo>
                <a:cubicBezTo>
                  <a:pt x="64" y="23"/>
                  <a:pt x="63" y="24"/>
                  <a:pt x="62" y="24"/>
                </a:cubicBezTo>
                <a:cubicBezTo>
                  <a:pt x="61" y="27"/>
                  <a:pt x="60" y="29"/>
                  <a:pt x="59" y="32"/>
                </a:cubicBezTo>
                <a:cubicBezTo>
                  <a:pt x="58" y="33"/>
                  <a:pt x="58" y="34"/>
                  <a:pt x="56" y="35"/>
                </a:cubicBezTo>
                <a:cubicBezTo>
                  <a:pt x="55" y="38"/>
                  <a:pt x="54" y="40"/>
                  <a:pt x="53" y="41"/>
                </a:cubicBezTo>
                <a:cubicBezTo>
                  <a:pt x="51" y="43"/>
                  <a:pt x="50" y="45"/>
                  <a:pt x="49" y="46"/>
                </a:cubicBezTo>
                <a:cubicBezTo>
                  <a:pt x="47" y="47"/>
                  <a:pt x="45" y="49"/>
                  <a:pt x="43" y="51"/>
                </a:cubicBezTo>
                <a:cubicBezTo>
                  <a:pt x="42" y="53"/>
                  <a:pt x="40" y="55"/>
                  <a:pt x="38" y="57"/>
                </a:cubicBezTo>
                <a:cubicBezTo>
                  <a:pt x="36" y="59"/>
                  <a:pt x="34" y="60"/>
                  <a:pt x="31" y="63"/>
                </a:cubicBezTo>
                <a:cubicBezTo>
                  <a:pt x="30" y="63"/>
                  <a:pt x="29" y="63"/>
                  <a:pt x="29" y="64"/>
                </a:cubicBezTo>
                <a:cubicBezTo>
                  <a:pt x="25" y="67"/>
                  <a:pt x="21"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8" y="266"/>
                  <a:pt x="19" y="265"/>
                </a:cubicBezTo>
                <a:cubicBezTo>
                  <a:pt x="23" y="263"/>
                  <a:pt x="25" y="260"/>
                  <a:pt x="29" y="259"/>
                </a:cubicBezTo>
                <a:cubicBezTo>
                  <a:pt x="29" y="258"/>
                  <a:pt x="30" y="257"/>
                  <a:pt x="31" y="257"/>
                </a:cubicBezTo>
                <a:cubicBezTo>
                  <a:pt x="32" y="255"/>
                  <a:pt x="34" y="254"/>
                  <a:pt x="35" y="254"/>
                </a:cubicBezTo>
                <a:cubicBezTo>
                  <a:pt x="37" y="253"/>
                  <a:pt x="37" y="252"/>
                  <a:pt x="38" y="251"/>
                </a:cubicBezTo>
                <a:cubicBezTo>
                  <a:pt x="40" y="249"/>
                  <a:pt x="42" y="248"/>
                  <a:pt x="43" y="246"/>
                </a:cubicBezTo>
                <a:cubicBezTo>
                  <a:pt x="45" y="244"/>
                  <a:pt x="45" y="244"/>
                  <a:pt x="46" y="243"/>
                </a:cubicBezTo>
                <a:cubicBezTo>
                  <a:pt x="47" y="242"/>
                  <a:pt x="48" y="241"/>
                  <a:pt x="49" y="240"/>
                </a:cubicBezTo>
                <a:cubicBezTo>
                  <a:pt x="50" y="239"/>
                  <a:pt x="51" y="237"/>
                  <a:pt x="53" y="236"/>
                </a:cubicBezTo>
                <a:cubicBezTo>
                  <a:pt x="53" y="235"/>
                  <a:pt x="54" y="234"/>
                  <a:pt x="54" y="234"/>
                </a:cubicBezTo>
                <a:cubicBezTo>
                  <a:pt x="55" y="232"/>
                  <a:pt x="56" y="231"/>
                  <a:pt x="56" y="230"/>
                </a:cubicBezTo>
                <a:cubicBezTo>
                  <a:pt x="58" y="229"/>
                  <a:pt x="58" y="227"/>
                  <a:pt x="59" y="225"/>
                </a:cubicBezTo>
                <a:cubicBezTo>
                  <a:pt x="59" y="225"/>
                  <a:pt x="60" y="225"/>
                  <a:pt x="60" y="224"/>
                </a:cubicBezTo>
                <a:cubicBezTo>
                  <a:pt x="61" y="223"/>
                  <a:pt x="62" y="220"/>
                  <a:pt x="62" y="219"/>
                </a:cubicBezTo>
                <a:cubicBezTo>
                  <a:pt x="63" y="218"/>
                  <a:pt x="64" y="216"/>
                  <a:pt x="64" y="216"/>
                </a:cubicBezTo>
                <a:cubicBezTo>
                  <a:pt x="64" y="215"/>
                  <a:pt x="64" y="215"/>
                  <a:pt x="64" y="215"/>
                </a:cubicBezTo>
                <a:cubicBezTo>
                  <a:pt x="65" y="212"/>
                  <a:pt x="66" y="208"/>
                  <a:pt x="66"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US" sz="900">
              <a:latin typeface="+mj-lt"/>
            </a:endParaRPr>
          </a:p>
        </p:txBody>
      </p:sp>
      <p:sp>
        <p:nvSpPr>
          <p:cNvPr id="76" name="Freeform 75">
            <a:extLst>
              <a:ext uri="{FF2B5EF4-FFF2-40B4-BE49-F238E27FC236}">
                <a16:creationId xmlns:a16="http://schemas.microsoft.com/office/drawing/2014/main" id="{41404906-A491-4E54-51D8-110B4F4FFC95}"/>
              </a:ext>
            </a:extLst>
          </p:cNvPr>
          <p:cNvSpPr>
            <a:spLocks noChangeArrowheads="1"/>
          </p:cNvSpPr>
          <p:nvPr userDrawn="1"/>
        </p:nvSpPr>
        <p:spPr bwMode="auto">
          <a:xfrm>
            <a:off x="8740616" y="3943259"/>
            <a:ext cx="50374" cy="198345"/>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US" sz="900">
              <a:latin typeface="+mj-lt"/>
            </a:endParaRPr>
          </a:p>
        </p:txBody>
      </p:sp>
      <p:sp>
        <p:nvSpPr>
          <p:cNvPr id="77" name="Freeform 76">
            <a:extLst>
              <a:ext uri="{FF2B5EF4-FFF2-40B4-BE49-F238E27FC236}">
                <a16:creationId xmlns:a16="http://schemas.microsoft.com/office/drawing/2014/main" id="{9A83E333-BE9F-7BA6-3594-C666D5730FEB}"/>
              </a:ext>
            </a:extLst>
          </p:cNvPr>
          <p:cNvSpPr>
            <a:spLocks noChangeArrowheads="1"/>
          </p:cNvSpPr>
          <p:nvPr userDrawn="1"/>
        </p:nvSpPr>
        <p:spPr bwMode="auto">
          <a:xfrm>
            <a:off x="9993659" y="3999929"/>
            <a:ext cx="969692" cy="623374"/>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US" sz="900">
              <a:latin typeface="+mj-lt"/>
            </a:endParaRPr>
          </a:p>
        </p:txBody>
      </p:sp>
      <p:sp>
        <p:nvSpPr>
          <p:cNvPr id="78" name="Freeform 77">
            <a:extLst>
              <a:ext uri="{FF2B5EF4-FFF2-40B4-BE49-F238E27FC236}">
                <a16:creationId xmlns:a16="http://schemas.microsoft.com/office/drawing/2014/main" id="{4C178801-1724-EDA9-BF0D-43FD7C8735A3}"/>
              </a:ext>
            </a:extLst>
          </p:cNvPr>
          <p:cNvSpPr>
            <a:spLocks noChangeArrowheads="1"/>
          </p:cNvSpPr>
          <p:nvPr userDrawn="1"/>
        </p:nvSpPr>
        <p:spPr bwMode="auto">
          <a:xfrm>
            <a:off x="8787842" y="3999929"/>
            <a:ext cx="969692" cy="623374"/>
          </a:xfrm>
          <a:custGeom>
            <a:avLst/>
            <a:gdLst>
              <a:gd name="T0" fmla="*/ 1358 w 1359"/>
              <a:gd name="T1" fmla="*/ 679 h 874"/>
              <a:gd name="T2" fmla="*/ 1358 w 1359"/>
              <a:gd name="T3" fmla="*/ 873 h 874"/>
              <a:gd name="T4" fmla="*/ 0 w 1359"/>
              <a:gd name="T5" fmla="*/ 194 h 874"/>
              <a:gd name="T6" fmla="*/ 0 w 1359"/>
              <a:gd name="T7" fmla="*/ 0 h 874"/>
              <a:gd name="T8" fmla="*/ 1358 w 1359"/>
              <a:gd name="T9" fmla="*/ 679 h 874"/>
            </a:gdLst>
            <a:ahLst/>
            <a:cxnLst>
              <a:cxn ang="0">
                <a:pos x="T0" y="T1"/>
              </a:cxn>
              <a:cxn ang="0">
                <a:pos x="T2" y="T3"/>
              </a:cxn>
              <a:cxn ang="0">
                <a:pos x="T4" y="T5"/>
              </a:cxn>
              <a:cxn ang="0">
                <a:pos x="T6" y="T7"/>
              </a:cxn>
              <a:cxn ang="0">
                <a:pos x="T8" y="T9"/>
              </a:cxn>
            </a:cxnLst>
            <a:rect l="0" t="0" r="r" b="b"/>
            <a:pathLst>
              <a:path w="1359" h="874">
                <a:moveTo>
                  <a:pt x="1358" y="679"/>
                </a:moveTo>
                <a:lnTo>
                  <a:pt x="1358" y="873"/>
                </a:lnTo>
                <a:lnTo>
                  <a:pt x="0" y="194"/>
                </a:lnTo>
                <a:lnTo>
                  <a:pt x="0" y="0"/>
                </a:lnTo>
                <a:lnTo>
                  <a:pt x="1358" y="679"/>
                </a:lnTo>
              </a:path>
            </a:pathLst>
          </a:custGeom>
          <a:solidFill>
            <a:schemeClr val="bg1">
              <a:lumMod val="75000"/>
            </a:schemeClr>
          </a:solidFill>
          <a:ln>
            <a:noFill/>
          </a:ln>
          <a:effectLst/>
        </p:spPr>
        <p:txBody>
          <a:bodyPr wrap="none" anchor="ctr"/>
          <a:lstStyle/>
          <a:p>
            <a:endParaRPr lang="en-US" sz="900">
              <a:latin typeface="+mj-lt"/>
            </a:endParaRPr>
          </a:p>
        </p:txBody>
      </p:sp>
      <p:sp>
        <p:nvSpPr>
          <p:cNvPr id="79" name="Freeform 78">
            <a:extLst>
              <a:ext uri="{FF2B5EF4-FFF2-40B4-BE49-F238E27FC236}">
                <a16:creationId xmlns:a16="http://schemas.microsoft.com/office/drawing/2014/main" id="{8C838BB7-1728-7EB0-8537-6C74CE391BC5}"/>
              </a:ext>
            </a:extLst>
          </p:cNvPr>
          <p:cNvSpPr>
            <a:spLocks noChangeArrowheads="1"/>
          </p:cNvSpPr>
          <p:nvPr userDrawn="1"/>
        </p:nvSpPr>
        <p:spPr bwMode="auto">
          <a:xfrm>
            <a:off x="8721725" y="3376556"/>
            <a:ext cx="2304594" cy="1136554"/>
          </a:xfrm>
          <a:custGeom>
            <a:avLst/>
            <a:gdLst>
              <a:gd name="T0" fmla="*/ 1614 w 3227"/>
              <a:gd name="T1" fmla="*/ 0 h 1591"/>
              <a:gd name="T2" fmla="*/ 1778 w 3227"/>
              <a:gd name="T3" fmla="*/ 33 h 1591"/>
              <a:gd name="T4" fmla="*/ 3136 w 3227"/>
              <a:gd name="T5" fmla="*/ 713 h 1591"/>
              <a:gd name="T6" fmla="*/ 3136 w 3227"/>
              <a:gd name="T7" fmla="*/ 877 h 1591"/>
              <a:gd name="T8" fmla="*/ 1778 w 3227"/>
              <a:gd name="T9" fmla="*/ 1556 h 1591"/>
              <a:gd name="T10" fmla="*/ 1614 w 3227"/>
              <a:gd name="T11" fmla="*/ 1590 h 1591"/>
              <a:gd name="T12" fmla="*/ 1449 w 3227"/>
              <a:gd name="T13" fmla="*/ 1556 h 1591"/>
              <a:gd name="T14" fmla="*/ 91 w 3227"/>
              <a:gd name="T15" fmla="*/ 877 h 1591"/>
              <a:gd name="T16" fmla="*/ 91 w 3227"/>
              <a:gd name="T17" fmla="*/ 713 h 1591"/>
              <a:gd name="T18" fmla="*/ 1449 w 3227"/>
              <a:gd name="T19" fmla="*/ 33 h 1591"/>
              <a:gd name="T20" fmla="*/ 1614 w 3227"/>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1">
                <a:moveTo>
                  <a:pt x="1614" y="0"/>
                </a:moveTo>
                <a:cubicBezTo>
                  <a:pt x="1673" y="0"/>
                  <a:pt x="1732" y="11"/>
                  <a:pt x="1778" y="33"/>
                </a:cubicBezTo>
                <a:lnTo>
                  <a:pt x="3136" y="713"/>
                </a:lnTo>
                <a:cubicBezTo>
                  <a:pt x="3226" y="758"/>
                  <a:pt x="3226" y="831"/>
                  <a:pt x="3136" y="877"/>
                </a:cubicBezTo>
                <a:lnTo>
                  <a:pt x="1778" y="1556"/>
                </a:lnTo>
                <a:cubicBezTo>
                  <a:pt x="1732" y="1579"/>
                  <a:pt x="1673" y="1590"/>
                  <a:pt x="1614" y="1590"/>
                </a:cubicBezTo>
                <a:cubicBezTo>
                  <a:pt x="1554" y="1590"/>
                  <a:pt x="1495" y="1579"/>
                  <a:pt x="1449" y="1556"/>
                </a:cubicBezTo>
                <a:lnTo>
                  <a:pt x="91" y="877"/>
                </a:lnTo>
                <a:cubicBezTo>
                  <a:pt x="0" y="831"/>
                  <a:pt x="0" y="758"/>
                  <a:pt x="91" y="713"/>
                </a:cubicBezTo>
                <a:lnTo>
                  <a:pt x="1449" y="33"/>
                </a:lnTo>
                <a:cubicBezTo>
                  <a:pt x="1495" y="11"/>
                  <a:pt x="1554" y="0"/>
                  <a:pt x="1614" y="0"/>
                </a:cubicBezTo>
              </a:path>
            </a:pathLst>
          </a:custGeom>
          <a:solidFill>
            <a:schemeClr val="bg1">
              <a:lumMod val="95000"/>
            </a:schemeClr>
          </a:solidFill>
          <a:ln>
            <a:noFill/>
          </a:ln>
          <a:effectLst/>
        </p:spPr>
        <p:txBody>
          <a:bodyPr wrap="none" anchor="ctr"/>
          <a:lstStyle/>
          <a:p>
            <a:endParaRPr lang="en-US" sz="900">
              <a:latin typeface="+mj-lt"/>
            </a:endParaRPr>
          </a:p>
        </p:txBody>
      </p:sp>
      <p:sp>
        <p:nvSpPr>
          <p:cNvPr id="80" name="Freeform 79">
            <a:extLst>
              <a:ext uri="{FF2B5EF4-FFF2-40B4-BE49-F238E27FC236}">
                <a16:creationId xmlns:a16="http://schemas.microsoft.com/office/drawing/2014/main" id="{FA17D5A7-8E15-4F56-BD7B-698C19AC0A52}"/>
              </a:ext>
            </a:extLst>
          </p:cNvPr>
          <p:cNvSpPr>
            <a:spLocks noChangeArrowheads="1"/>
          </p:cNvSpPr>
          <p:nvPr userDrawn="1"/>
        </p:nvSpPr>
        <p:spPr bwMode="auto">
          <a:xfrm>
            <a:off x="9757534" y="4484775"/>
            <a:ext cx="236125" cy="163715"/>
          </a:xfrm>
          <a:custGeom>
            <a:avLst/>
            <a:gdLst>
              <a:gd name="T0" fmla="*/ 300 w 330"/>
              <a:gd name="T1" fmla="*/ 12 h 229"/>
              <a:gd name="T2" fmla="*/ 275 w 330"/>
              <a:gd name="T3" fmla="*/ 20 h 229"/>
              <a:gd name="T4" fmla="*/ 254 w 330"/>
              <a:gd name="T5" fmla="*/ 25 h 229"/>
              <a:gd name="T6" fmla="*/ 230 w 330"/>
              <a:gd name="T7" fmla="*/ 29 h 229"/>
              <a:gd name="T8" fmla="*/ 205 w 330"/>
              <a:gd name="T9" fmla="*/ 32 h 229"/>
              <a:gd name="T10" fmla="*/ 183 w 330"/>
              <a:gd name="T11" fmla="*/ 34 h 229"/>
              <a:gd name="T12" fmla="*/ 148 w 330"/>
              <a:gd name="T13" fmla="*/ 34 h 229"/>
              <a:gd name="T14" fmla="*/ 122 w 330"/>
              <a:gd name="T15" fmla="*/ 32 h 229"/>
              <a:gd name="T16" fmla="*/ 100 w 330"/>
              <a:gd name="T17" fmla="*/ 30 h 229"/>
              <a:gd name="T18" fmla="*/ 80 w 330"/>
              <a:gd name="T19" fmla="*/ 26 h 229"/>
              <a:gd name="T20" fmla="*/ 60 w 330"/>
              <a:gd name="T21" fmla="*/ 22 h 229"/>
              <a:gd name="T22" fmla="*/ 40 w 330"/>
              <a:gd name="T23" fmla="*/ 16 h 229"/>
              <a:gd name="T24" fmla="*/ 18 w 330"/>
              <a:gd name="T25" fmla="*/ 8 h 229"/>
              <a:gd name="T26" fmla="*/ 0 w 330"/>
              <a:gd name="T27" fmla="*/ 194 h 229"/>
              <a:gd name="T28" fmla="*/ 18 w 330"/>
              <a:gd name="T29" fmla="*/ 203 h 229"/>
              <a:gd name="T30" fmla="*/ 40 w 330"/>
              <a:gd name="T31" fmla="*/ 210 h 229"/>
              <a:gd name="T32" fmla="*/ 49 w 330"/>
              <a:gd name="T33" fmla="*/ 213 h 229"/>
              <a:gd name="T34" fmla="*/ 63 w 330"/>
              <a:gd name="T35" fmla="*/ 217 h 229"/>
              <a:gd name="T36" fmla="*/ 80 w 330"/>
              <a:gd name="T37" fmla="*/ 221 h 229"/>
              <a:gd name="T38" fmla="*/ 93 w 330"/>
              <a:gd name="T39" fmla="*/ 222 h 229"/>
              <a:gd name="T40" fmla="*/ 101 w 330"/>
              <a:gd name="T41" fmla="*/ 224 h 229"/>
              <a:gd name="T42" fmla="*/ 122 w 330"/>
              <a:gd name="T43" fmla="*/ 227 h 229"/>
              <a:gd name="T44" fmla="*/ 141 w 330"/>
              <a:gd name="T45" fmla="*/ 228 h 229"/>
              <a:gd name="T46" fmla="*/ 159 w 330"/>
              <a:gd name="T47" fmla="*/ 228 h 229"/>
              <a:gd name="T48" fmla="*/ 179 w 330"/>
              <a:gd name="T49" fmla="*/ 228 h 229"/>
              <a:gd name="T50" fmla="*/ 195 w 330"/>
              <a:gd name="T51" fmla="*/ 227 h 229"/>
              <a:gd name="T52" fmla="*/ 205 w 330"/>
              <a:gd name="T53" fmla="*/ 227 h 229"/>
              <a:gd name="T54" fmla="*/ 230 w 330"/>
              <a:gd name="T55" fmla="*/ 223 h 229"/>
              <a:gd name="T56" fmla="*/ 254 w 330"/>
              <a:gd name="T57" fmla="*/ 219 h 229"/>
              <a:gd name="T58" fmla="*/ 273 w 330"/>
              <a:gd name="T59" fmla="*/ 215 h 229"/>
              <a:gd name="T60" fmla="*/ 294 w 330"/>
              <a:gd name="T61" fmla="*/ 209 h 229"/>
              <a:gd name="T62" fmla="*/ 313 w 330"/>
              <a:gd name="T63" fmla="*/ 201 h 229"/>
              <a:gd name="T64" fmla="*/ 329 w 330"/>
              <a:gd name="T65" fmla="*/ 194 h 229"/>
              <a:gd name="T66" fmla="*/ 313 w 330"/>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229">
                <a:moveTo>
                  <a:pt x="313" y="7"/>
                </a:moveTo>
                <a:cubicBezTo>
                  <a:pt x="309" y="9"/>
                  <a:pt x="305" y="10"/>
                  <a:pt x="300" y="12"/>
                </a:cubicBezTo>
                <a:cubicBezTo>
                  <a:pt x="298" y="13"/>
                  <a:pt x="296" y="14"/>
                  <a:pt x="294" y="14"/>
                </a:cubicBezTo>
                <a:cubicBezTo>
                  <a:pt x="288" y="16"/>
                  <a:pt x="282" y="18"/>
                  <a:pt x="275" y="20"/>
                </a:cubicBezTo>
                <a:cubicBezTo>
                  <a:pt x="275" y="20"/>
                  <a:pt x="274" y="20"/>
                  <a:pt x="272" y="20"/>
                </a:cubicBezTo>
                <a:cubicBezTo>
                  <a:pt x="267" y="22"/>
                  <a:pt x="260" y="23"/>
                  <a:pt x="254" y="25"/>
                </a:cubicBezTo>
                <a:cubicBezTo>
                  <a:pt x="253" y="25"/>
                  <a:pt x="253" y="25"/>
                  <a:pt x="252" y="25"/>
                </a:cubicBezTo>
                <a:cubicBezTo>
                  <a:pt x="245" y="27"/>
                  <a:pt x="237" y="28"/>
                  <a:pt x="230" y="29"/>
                </a:cubicBezTo>
                <a:cubicBezTo>
                  <a:pt x="230" y="30"/>
                  <a:pt x="229" y="30"/>
                  <a:pt x="229" y="30"/>
                </a:cubicBezTo>
                <a:cubicBezTo>
                  <a:pt x="221" y="31"/>
                  <a:pt x="213" y="32"/>
                  <a:pt x="205" y="32"/>
                </a:cubicBezTo>
                <a:cubicBezTo>
                  <a:pt x="202" y="33"/>
                  <a:pt x="198" y="33"/>
                  <a:pt x="195" y="33"/>
                </a:cubicBezTo>
                <a:cubicBezTo>
                  <a:pt x="191" y="33"/>
                  <a:pt x="187" y="33"/>
                  <a:pt x="183" y="34"/>
                </a:cubicBezTo>
                <a:cubicBezTo>
                  <a:pt x="177" y="34"/>
                  <a:pt x="171" y="34"/>
                  <a:pt x="165" y="34"/>
                </a:cubicBezTo>
                <a:cubicBezTo>
                  <a:pt x="159" y="34"/>
                  <a:pt x="154" y="34"/>
                  <a:pt x="148" y="34"/>
                </a:cubicBezTo>
                <a:cubicBezTo>
                  <a:pt x="146" y="33"/>
                  <a:pt x="143" y="33"/>
                  <a:pt x="141" y="33"/>
                </a:cubicBezTo>
                <a:cubicBezTo>
                  <a:pt x="134" y="33"/>
                  <a:pt x="128" y="33"/>
                  <a:pt x="122" y="32"/>
                </a:cubicBezTo>
                <a:cubicBezTo>
                  <a:pt x="121" y="32"/>
                  <a:pt x="121" y="32"/>
                  <a:pt x="120" y="32"/>
                </a:cubicBezTo>
                <a:cubicBezTo>
                  <a:pt x="113" y="32"/>
                  <a:pt x="107" y="30"/>
                  <a:pt x="100" y="30"/>
                </a:cubicBezTo>
                <a:cubicBezTo>
                  <a:pt x="98" y="29"/>
                  <a:pt x="95" y="28"/>
                  <a:pt x="93" y="28"/>
                </a:cubicBezTo>
                <a:cubicBezTo>
                  <a:pt x="88" y="28"/>
                  <a:pt x="84" y="27"/>
                  <a:pt x="80" y="26"/>
                </a:cubicBezTo>
                <a:cubicBezTo>
                  <a:pt x="77" y="25"/>
                  <a:pt x="74" y="25"/>
                  <a:pt x="71" y="24"/>
                </a:cubicBezTo>
                <a:cubicBezTo>
                  <a:pt x="68" y="23"/>
                  <a:pt x="64" y="22"/>
                  <a:pt x="60" y="22"/>
                </a:cubicBezTo>
                <a:cubicBezTo>
                  <a:pt x="57" y="20"/>
                  <a:pt x="53" y="20"/>
                  <a:pt x="49" y="19"/>
                </a:cubicBezTo>
                <a:cubicBezTo>
                  <a:pt x="46" y="18"/>
                  <a:pt x="43" y="17"/>
                  <a:pt x="40" y="16"/>
                </a:cubicBezTo>
                <a:cubicBezTo>
                  <a:pt x="33" y="14"/>
                  <a:pt x="27" y="11"/>
                  <a:pt x="20" y="9"/>
                </a:cubicBezTo>
                <a:lnTo>
                  <a:pt x="18" y="8"/>
                </a:lnTo>
                <a:cubicBezTo>
                  <a:pt x="12" y="6"/>
                  <a:pt x="6" y="3"/>
                  <a:pt x="0" y="0"/>
                </a:cubicBezTo>
                <a:lnTo>
                  <a:pt x="0" y="194"/>
                </a:lnTo>
                <a:cubicBezTo>
                  <a:pt x="6" y="197"/>
                  <a:pt x="12" y="200"/>
                  <a:pt x="18" y="202"/>
                </a:cubicBezTo>
                <a:lnTo>
                  <a:pt x="18" y="203"/>
                </a:lnTo>
                <a:cubicBezTo>
                  <a:pt x="19" y="203"/>
                  <a:pt x="20" y="203"/>
                  <a:pt x="20" y="203"/>
                </a:cubicBezTo>
                <a:cubicBezTo>
                  <a:pt x="27" y="206"/>
                  <a:pt x="33" y="208"/>
                  <a:pt x="40" y="210"/>
                </a:cubicBezTo>
                <a:cubicBezTo>
                  <a:pt x="41" y="211"/>
                  <a:pt x="42" y="211"/>
                  <a:pt x="42" y="211"/>
                </a:cubicBezTo>
                <a:cubicBezTo>
                  <a:pt x="45" y="212"/>
                  <a:pt x="47" y="212"/>
                  <a:pt x="49" y="213"/>
                </a:cubicBezTo>
                <a:cubicBezTo>
                  <a:pt x="53" y="214"/>
                  <a:pt x="57" y="215"/>
                  <a:pt x="60" y="216"/>
                </a:cubicBezTo>
                <a:cubicBezTo>
                  <a:pt x="61" y="216"/>
                  <a:pt x="62" y="216"/>
                  <a:pt x="63" y="217"/>
                </a:cubicBezTo>
                <a:cubicBezTo>
                  <a:pt x="66" y="217"/>
                  <a:pt x="69" y="218"/>
                  <a:pt x="71" y="219"/>
                </a:cubicBezTo>
                <a:cubicBezTo>
                  <a:pt x="74" y="219"/>
                  <a:pt x="77" y="220"/>
                  <a:pt x="80" y="221"/>
                </a:cubicBezTo>
                <a:cubicBezTo>
                  <a:pt x="80" y="221"/>
                  <a:pt x="81" y="221"/>
                  <a:pt x="82" y="221"/>
                </a:cubicBezTo>
                <a:cubicBezTo>
                  <a:pt x="86" y="222"/>
                  <a:pt x="90" y="222"/>
                  <a:pt x="93" y="222"/>
                </a:cubicBezTo>
                <a:cubicBezTo>
                  <a:pt x="95" y="223"/>
                  <a:pt x="98" y="223"/>
                  <a:pt x="100" y="223"/>
                </a:cubicBezTo>
                <a:cubicBezTo>
                  <a:pt x="100" y="223"/>
                  <a:pt x="100" y="224"/>
                  <a:pt x="101" y="224"/>
                </a:cubicBezTo>
                <a:cubicBezTo>
                  <a:pt x="107" y="225"/>
                  <a:pt x="113" y="225"/>
                  <a:pt x="120" y="226"/>
                </a:cubicBezTo>
                <a:cubicBezTo>
                  <a:pt x="121" y="226"/>
                  <a:pt x="121" y="226"/>
                  <a:pt x="122" y="227"/>
                </a:cubicBezTo>
                <a:cubicBezTo>
                  <a:pt x="127" y="227"/>
                  <a:pt x="133" y="227"/>
                  <a:pt x="139" y="228"/>
                </a:cubicBezTo>
                <a:cubicBezTo>
                  <a:pt x="140" y="228"/>
                  <a:pt x="140" y="228"/>
                  <a:pt x="141" y="228"/>
                </a:cubicBezTo>
                <a:cubicBezTo>
                  <a:pt x="143" y="228"/>
                  <a:pt x="146" y="228"/>
                  <a:pt x="148" y="228"/>
                </a:cubicBezTo>
                <a:cubicBezTo>
                  <a:pt x="152" y="228"/>
                  <a:pt x="155" y="228"/>
                  <a:pt x="159" y="228"/>
                </a:cubicBezTo>
                <a:cubicBezTo>
                  <a:pt x="161" y="228"/>
                  <a:pt x="162" y="228"/>
                  <a:pt x="165" y="228"/>
                </a:cubicBezTo>
                <a:cubicBezTo>
                  <a:pt x="170" y="228"/>
                  <a:pt x="174" y="228"/>
                  <a:pt x="179" y="228"/>
                </a:cubicBezTo>
                <a:cubicBezTo>
                  <a:pt x="181" y="228"/>
                  <a:pt x="182" y="228"/>
                  <a:pt x="183" y="228"/>
                </a:cubicBezTo>
                <a:cubicBezTo>
                  <a:pt x="187" y="228"/>
                  <a:pt x="191" y="227"/>
                  <a:pt x="195" y="227"/>
                </a:cubicBezTo>
                <a:cubicBezTo>
                  <a:pt x="198" y="227"/>
                  <a:pt x="200" y="227"/>
                  <a:pt x="203" y="227"/>
                </a:cubicBezTo>
                <a:lnTo>
                  <a:pt x="205" y="227"/>
                </a:lnTo>
                <a:cubicBezTo>
                  <a:pt x="213" y="226"/>
                  <a:pt x="221" y="225"/>
                  <a:pt x="229" y="223"/>
                </a:cubicBezTo>
                <a:lnTo>
                  <a:pt x="230" y="223"/>
                </a:lnTo>
                <a:cubicBezTo>
                  <a:pt x="237" y="222"/>
                  <a:pt x="245" y="221"/>
                  <a:pt x="252" y="220"/>
                </a:cubicBezTo>
                <a:cubicBezTo>
                  <a:pt x="253" y="220"/>
                  <a:pt x="253" y="219"/>
                  <a:pt x="254" y="219"/>
                </a:cubicBezTo>
                <a:cubicBezTo>
                  <a:pt x="260" y="218"/>
                  <a:pt x="267" y="217"/>
                  <a:pt x="272" y="215"/>
                </a:cubicBezTo>
                <a:cubicBezTo>
                  <a:pt x="273" y="215"/>
                  <a:pt x="273" y="215"/>
                  <a:pt x="273" y="215"/>
                </a:cubicBezTo>
                <a:cubicBezTo>
                  <a:pt x="274" y="214"/>
                  <a:pt x="275" y="214"/>
                  <a:pt x="275" y="214"/>
                </a:cubicBezTo>
                <a:cubicBezTo>
                  <a:pt x="282" y="212"/>
                  <a:pt x="288" y="211"/>
                  <a:pt x="294" y="209"/>
                </a:cubicBezTo>
                <a:cubicBezTo>
                  <a:pt x="296" y="208"/>
                  <a:pt x="298" y="207"/>
                  <a:pt x="300" y="206"/>
                </a:cubicBezTo>
                <a:cubicBezTo>
                  <a:pt x="305" y="205"/>
                  <a:pt x="309" y="203"/>
                  <a:pt x="313" y="201"/>
                </a:cubicBezTo>
                <a:cubicBezTo>
                  <a:pt x="314" y="201"/>
                  <a:pt x="315" y="200"/>
                  <a:pt x="316" y="200"/>
                </a:cubicBezTo>
                <a:cubicBezTo>
                  <a:pt x="320" y="198"/>
                  <a:pt x="324" y="197"/>
                  <a:pt x="329" y="194"/>
                </a:cubicBezTo>
                <a:lnTo>
                  <a:pt x="329" y="0"/>
                </a:lnTo>
                <a:cubicBezTo>
                  <a:pt x="324" y="3"/>
                  <a:pt x="319" y="4"/>
                  <a:pt x="313" y="7"/>
                </a:cubicBezTo>
              </a:path>
            </a:pathLst>
          </a:custGeom>
          <a:solidFill>
            <a:schemeClr val="bg1">
              <a:lumMod val="65000"/>
            </a:schemeClr>
          </a:solidFill>
          <a:ln>
            <a:noFill/>
          </a:ln>
          <a:effectLst/>
        </p:spPr>
        <p:txBody>
          <a:bodyPr wrap="none" anchor="ctr"/>
          <a:lstStyle/>
          <a:p>
            <a:endParaRPr lang="en-US" sz="900">
              <a:latin typeface="+mj-lt"/>
            </a:endParaRPr>
          </a:p>
        </p:txBody>
      </p:sp>
      <p:sp>
        <p:nvSpPr>
          <p:cNvPr id="81" name="Freeform 80">
            <a:extLst>
              <a:ext uri="{FF2B5EF4-FFF2-40B4-BE49-F238E27FC236}">
                <a16:creationId xmlns:a16="http://schemas.microsoft.com/office/drawing/2014/main" id="{15FB962D-DB8F-67D2-CA85-CA8CA6C83354}"/>
              </a:ext>
            </a:extLst>
          </p:cNvPr>
          <p:cNvSpPr>
            <a:spLocks noChangeArrowheads="1"/>
          </p:cNvSpPr>
          <p:nvPr userDrawn="1"/>
        </p:nvSpPr>
        <p:spPr bwMode="auto">
          <a:xfrm>
            <a:off x="9574930" y="3870846"/>
            <a:ext cx="598187" cy="141677"/>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7" y="198"/>
                  <a:pt x="0" y="154"/>
                  <a:pt x="0" y="99"/>
                </a:cubicBezTo>
                <a:cubicBezTo>
                  <a:pt x="0" y="44"/>
                  <a:pt x="187"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US" sz="900">
              <a:latin typeface="+mj-lt"/>
            </a:endParaRPr>
          </a:p>
        </p:txBody>
      </p:sp>
      <p:sp>
        <p:nvSpPr>
          <p:cNvPr id="82" name="Freeform 81">
            <a:extLst>
              <a:ext uri="{FF2B5EF4-FFF2-40B4-BE49-F238E27FC236}">
                <a16:creationId xmlns:a16="http://schemas.microsoft.com/office/drawing/2014/main" id="{E0982C36-A5E2-1912-0281-DB7DF6523FF7}"/>
              </a:ext>
            </a:extLst>
          </p:cNvPr>
          <p:cNvSpPr>
            <a:spLocks noChangeArrowheads="1"/>
          </p:cNvSpPr>
          <p:nvPr userDrawn="1"/>
        </p:nvSpPr>
        <p:spPr bwMode="auto">
          <a:xfrm>
            <a:off x="9238055" y="2476127"/>
            <a:ext cx="1271934" cy="1467132"/>
          </a:xfrm>
          <a:custGeom>
            <a:avLst/>
            <a:gdLst>
              <a:gd name="T0" fmla="*/ 1779 w 1780"/>
              <a:gd name="T1" fmla="*/ 889 h 2054"/>
              <a:gd name="T2" fmla="*/ 889 w 1780"/>
              <a:gd name="T3" fmla="*/ 0 h 2054"/>
              <a:gd name="T4" fmla="*/ 0 w 1780"/>
              <a:gd name="T5" fmla="*/ 889 h 2054"/>
              <a:gd name="T6" fmla="*/ 722 w 1780"/>
              <a:gd name="T7" fmla="*/ 1763 h 2054"/>
              <a:gd name="T8" fmla="*/ 889 w 1780"/>
              <a:gd name="T9" fmla="*/ 2053 h 2054"/>
              <a:gd name="T10" fmla="*/ 1057 w 1780"/>
              <a:gd name="T11" fmla="*/ 1763 h 2054"/>
              <a:gd name="T12" fmla="*/ 1779 w 1780"/>
              <a:gd name="T13" fmla="*/ 889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89"/>
                </a:moveTo>
                <a:cubicBezTo>
                  <a:pt x="1779" y="398"/>
                  <a:pt x="1381" y="0"/>
                  <a:pt x="889" y="0"/>
                </a:cubicBezTo>
                <a:cubicBezTo>
                  <a:pt x="398" y="0"/>
                  <a:pt x="0" y="398"/>
                  <a:pt x="0" y="889"/>
                </a:cubicBezTo>
                <a:cubicBezTo>
                  <a:pt x="0" y="1323"/>
                  <a:pt x="311" y="1685"/>
                  <a:pt x="722" y="1763"/>
                </a:cubicBezTo>
                <a:lnTo>
                  <a:pt x="889" y="2053"/>
                </a:lnTo>
                <a:lnTo>
                  <a:pt x="1057" y="1763"/>
                </a:lnTo>
                <a:cubicBezTo>
                  <a:pt x="1468" y="1685"/>
                  <a:pt x="1779" y="1323"/>
                  <a:pt x="1779" y="889"/>
                </a:cubicBezTo>
              </a:path>
            </a:pathLst>
          </a:custGeom>
          <a:solidFill>
            <a:srgbClr val="04617B"/>
          </a:solidFill>
          <a:ln>
            <a:noFill/>
          </a:ln>
          <a:effectLst/>
        </p:spPr>
        <p:txBody>
          <a:bodyPr wrap="none" anchor="ctr"/>
          <a:lstStyle/>
          <a:p>
            <a:endParaRPr lang="en-US" sz="900">
              <a:latin typeface="+mj-lt"/>
            </a:endParaRPr>
          </a:p>
        </p:txBody>
      </p:sp>
      <p:sp>
        <p:nvSpPr>
          <p:cNvPr id="86" name="Text Placeholder 41">
            <a:extLst>
              <a:ext uri="{FF2B5EF4-FFF2-40B4-BE49-F238E27FC236}">
                <a16:creationId xmlns:a16="http://schemas.microsoft.com/office/drawing/2014/main" id="{D327D7A6-0C1C-1273-A620-33F6C6ADDD16}"/>
              </a:ext>
            </a:extLst>
          </p:cNvPr>
          <p:cNvSpPr>
            <a:spLocks noGrp="1"/>
          </p:cNvSpPr>
          <p:nvPr>
            <p:ph type="body" sz="quarter" idx="14" hasCustomPrompt="1"/>
          </p:nvPr>
        </p:nvSpPr>
        <p:spPr>
          <a:xfrm>
            <a:off x="1936275" y="1790099"/>
            <a:ext cx="732745" cy="720878"/>
          </a:xfrm>
        </p:spPr>
        <p:txBody>
          <a:bodyPr anchor="ctr">
            <a:noAutofit/>
          </a:bodyPr>
          <a:lstStyle>
            <a:lvl1pPr marL="0" indent="0" algn="ctr">
              <a:buNone/>
              <a:defRPr sz="44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1</a:t>
            </a:r>
          </a:p>
        </p:txBody>
      </p:sp>
      <p:sp>
        <p:nvSpPr>
          <p:cNvPr id="87" name="Text Placeholder 41">
            <a:extLst>
              <a:ext uri="{FF2B5EF4-FFF2-40B4-BE49-F238E27FC236}">
                <a16:creationId xmlns:a16="http://schemas.microsoft.com/office/drawing/2014/main" id="{57BC38E3-DCF2-BE54-3DD2-58EF3C504FDF}"/>
              </a:ext>
            </a:extLst>
          </p:cNvPr>
          <p:cNvSpPr>
            <a:spLocks noGrp="1"/>
          </p:cNvSpPr>
          <p:nvPr>
            <p:ph type="body" sz="quarter" idx="60" hasCustomPrompt="1"/>
          </p:nvPr>
        </p:nvSpPr>
        <p:spPr>
          <a:xfrm>
            <a:off x="4459032" y="2781564"/>
            <a:ext cx="732745" cy="720878"/>
          </a:xfrm>
        </p:spPr>
        <p:txBody>
          <a:bodyPr anchor="ctr">
            <a:noAutofit/>
          </a:bodyPr>
          <a:lstStyle>
            <a:lvl1pPr marL="0" indent="0" algn="ctr">
              <a:buNone/>
              <a:defRPr sz="44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2</a:t>
            </a:r>
          </a:p>
        </p:txBody>
      </p:sp>
      <p:sp>
        <p:nvSpPr>
          <p:cNvPr id="88" name="Text Placeholder 41">
            <a:extLst>
              <a:ext uri="{FF2B5EF4-FFF2-40B4-BE49-F238E27FC236}">
                <a16:creationId xmlns:a16="http://schemas.microsoft.com/office/drawing/2014/main" id="{44CF117D-1F57-4020-66C6-E830D562CC11}"/>
              </a:ext>
            </a:extLst>
          </p:cNvPr>
          <p:cNvSpPr>
            <a:spLocks noGrp="1"/>
          </p:cNvSpPr>
          <p:nvPr>
            <p:ph type="body" sz="quarter" idx="61" hasCustomPrompt="1"/>
          </p:nvPr>
        </p:nvSpPr>
        <p:spPr>
          <a:xfrm>
            <a:off x="6982768" y="1797777"/>
            <a:ext cx="732745" cy="720878"/>
          </a:xfrm>
        </p:spPr>
        <p:txBody>
          <a:bodyPr anchor="ctr">
            <a:noAutofit/>
          </a:bodyPr>
          <a:lstStyle>
            <a:lvl1pPr marL="0" indent="0" algn="ctr">
              <a:buNone/>
              <a:defRPr sz="44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3</a:t>
            </a:r>
          </a:p>
        </p:txBody>
      </p:sp>
      <p:sp>
        <p:nvSpPr>
          <p:cNvPr id="89" name="Text Placeholder 41">
            <a:extLst>
              <a:ext uri="{FF2B5EF4-FFF2-40B4-BE49-F238E27FC236}">
                <a16:creationId xmlns:a16="http://schemas.microsoft.com/office/drawing/2014/main" id="{5820FB4B-3877-8ABA-0A5C-6D0CE5AB17F5}"/>
              </a:ext>
            </a:extLst>
          </p:cNvPr>
          <p:cNvSpPr>
            <a:spLocks noGrp="1"/>
          </p:cNvSpPr>
          <p:nvPr>
            <p:ph type="body" sz="quarter" idx="62" hasCustomPrompt="1"/>
          </p:nvPr>
        </p:nvSpPr>
        <p:spPr>
          <a:xfrm>
            <a:off x="9507649" y="2739950"/>
            <a:ext cx="732745" cy="720878"/>
          </a:xfrm>
        </p:spPr>
        <p:txBody>
          <a:bodyPr anchor="ctr">
            <a:noAutofit/>
          </a:bodyPr>
          <a:lstStyle>
            <a:lvl1pPr marL="0" indent="0" algn="ctr">
              <a:buNone/>
              <a:defRPr sz="44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4</a:t>
            </a:r>
          </a:p>
        </p:txBody>
      </p:sp>
      <p:sp>
        <p:nvSpPr>
          <p:cNvPr id="90" name="Text Placeholder 35">
            <a:extLst>
              <a:ext uri="{FF2B5EF4-FFF2-40B4-BE49-F238E27FC236}">
                <a16:creationId xmlns:a16="http://schemas.microsoft.com/office/drawing/2014/main" id="{83658221-15CC-E4AC-3E27-555677EC6342}"/>
              </a:ext>
            </a:extLst>
          </p:cNvPr>
          <p:cNvSpPr>
            <a:spLocks noGrp="1"/>
          </p:cNvSpPr>
          <p:nvPr>
            <p:ph type="body" sz="quarter" idx="56" hasCustomPrompt="1"/>
          </p:nvPr>
        </p:nvSpPr>
        <p:spPr>
          <a:xfrm>
            <a:off x="1286044" y="3903347"/>
            <a:ext cx="1937880" cy="331694"/>
          </a:xfrm>
        </p:spPr>
        <p:txBody>
          <a:bodyPr anchor="b">
            <a:noAutofit/>
          </a:bodyPr>
          <a:lstStyle>
            <a:lvl1pPr marL="0" indent="0" algn="ctr">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91" name="Text Placeholder 2">
            <a:extLst>
              <a:ext uri="{FF2B5EF4-FFF2-40B4-BE49-F238E27FC236}">
                <a16:creationId xmlns:a16="http://schemas.microsoft.com/office/drawing/2014/main" id="{BE061DD0-93F3-9AC4-49DB-21CD31AEEC91}"/>
              </a:ext>
            </a:extLst>
          </p:cNvPr>
          <p:cNvSpPr>
            <a:spLocks noGrp="1"/>
          </p:cNvSpPr>
          <p:nvPr>
            <p:ph type="body" idx="57" hasCustomPrompt="1"/>
          </p:nvPr>
        </p:nvSpPr>
        <p:spPr>
          <a:xfrm>
            <a:off x="1286044" y="4368715"/>
            <a:ext cx="1937881" cy="825809"/>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2" name="Text Placeholder 35">
            <a:extLst>
              <a:ext uri="{FF2B5EF4-FFF2-40B4-BE49-F238E27FC236}">
                <a16:creationId xmlns:a16="http://schemas.microsoft.com/office/drawing/2014/main" id="{AE78538C-EBC1-DD5C-DBF8-8BA9EF300642}"/>
              </a:ext>
            </a:extLst>
          </p:cNvPr>
          <p:cNvSpPr>
            <a:spLocks noGrp="1"/>
          </p:cNvSpPr>
          <p:nvPr>
            <p:ph type="body" sz="quarter" idx="63" hasCustomPrompt="1"/>
          </p:nvPr>
        </p:nvSpPr>
        <p:spPr>
          <a:xfrm>
            <a:off x="3870218" y="4892854"/>
            <a:ext cx="1937880" cy="331694"/>
          </a:xfrm>
        </p:spPr>
        <p:txBody>
          <a:bodyPr anchor="b">
            <a:noAutofit/>
          </a:bodyPr>
          <a:lstStyle>
            <a:lvl1pPr marL="0" indent="0" algn="ctr">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93" name="Text Placeholder 2">
            <a:extLst>
              <a:ext uri="{FF2B5EF4-FFF2-40B4-BE49-F238E27FC236}">
                <a16:creationId xmlns:a16="http://schemas.microsoft.com/office/drawing/2014/main" id="{BFB87F15-2487-8915-9D4E-9C48C3FAFB90}"/>
              </a:ext>
            </a:extLst>
          </p:cNvPr>
          <p:cNvSpPr>
            <a:spLocks noGrp="1"/>
          </p:cNvSpPr>
          <p:nvPr>
            <p:ph type="body" idx="64" hasCustomPrompt="1"/>
          </p:nvPr>
        </p:nvSpPr>
        <p:spPr>
          <a:xfrm>
            <a:off x="3870218" y="5358222"/>
            <a:ext cx="1937881" cy="825809"/>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4" name="Text Placeholder 35">
            <a:extLst>
              <a:ext uri="{FF2B5EF4-FFF2-40B4-BE49-F238E27FC236}">
                <a16:creationId xmlns:a16="http://schemas.microsoft.com/office/drawing/2014/main" id="{14E9056B-3C31-343C-7E79-01EA88C4FC55}"/>
              </a:ext>
            </a:extLst>
          </p:cNvPr>
          <p:cNvSpPr>
            <a:spLocks noGrp="1"/>
          </p:cNvSpPr>
          <p:nvPr>
            <p:ph type="body" sz="quarter" idx="65" hasCustomPrompt="1"/>
          </p:nvPr>
        </p:nvSpPr>
        <p:spPr>
          <a:xfrm>
            <a:off x="6434513" y="3928759"/>
            <a:ext cx="1937880" cy="331694"/>
          </a:xfrm>
        </p:spPr>
        <p:txBody>
          <a:bodyPr anchor="b">
            <a:noAutofit/>
          </a:bodyPr>
          <a:lstStyle>
            <a:lvl1pPr marL="0" indent="0" algn="ctr">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95" name="Text Placeholder 2">
            <a:extLst>
              <a:ext uri="{FF2B5EF4-FFF2-40B4-BE49-F238E27FC236}">
                <a16:creationId xmlns:a16="http://schemas.microsoft.com/office/drawing/2014/main" id="{990BD4AF-B4E8-5A8F-8779-16BE5B132E45}"/>
              </a:ext>
            </a:extLst>
          </p:cNvPr>
          <p:cNvSpPr>
            <a:spLocks noGrp="1"/>
          </p:cNvSpPr>
          <p:nvPr>
            <p:ph type="body" idx="66" hasCustomPrompt="1"/>
          </p:nvPr>
        </p:nvSpPr>
        <p:spPr>
          <a:xfrm>
            <a:off x="6434513" y="4394127"/>
            <a:ext cx="1937881" cy="825809"/>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6" name="Text Placeholder 35">
            <a:extLst>
              <a:ext uri="{FF2B5EF4-FFF2-40B4-BE49-F238E27FC236}">
                <a16:creationId xmlns:a16="http://schemas.microsoft.com/office/drawing/2014/main" id="{9C14FF53-E911-E5C7-E561-ECE89C649E03}"/>
              </a:ext>
            </a:extLst>
          </p:cNvPr>
          <p:cNvSpPr>
            <a:spLocks noGrp="1"/>
          </p:cNvSpPr>
          <p:nvPr>
            <p:ph type="body" sz="quarter" idx="67" hasCustomPrompt="1"/>
          </p:nvPr>
        </p:nvSpPr>
        <p:spPr>
          <a:xfrm>
            <a:off x="8939174" y="4853098"/>
            <a:ext cx="1937880" cy="331694"/>
          </a:xfrm>
        </p:spPr>
        <p:txBody>
          <a:bodyPr anchor="b">
            <a:noAutofit/>
          </a:bodyPr>
          <a:lstStyle>
            <a:lvl1pPr marL="0" indent="0" algn="ctr">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97" name="Text Placeholder 2">
            <a:extLst>
              <a:ext uri="{FF2B5EF4-FFF2-40B4-BE49-F238E27FC236}">
                <a16:creationId xmlns:a16="http://schemas.microsoft.com/office/drawing/2014/main" id="{65E9DE63-E910-944E-EBE7-59E72A4B44A3}"/>
              </a:ext>
            </a:extLst>
          </p:cNvPr>
          <p:cNvSpPr>
            <a:spLocks noGrp="1"/>
          </p:cNvSpPr>
          <p:nvPr>
            <p:ph type="body" idx="68" hasCustomPrompt="1"/>
          </p:nvPr>
        </p:nvSpPr>
        <p:spPr>
          <a:xfrm>
            <a:off x="8939174" y="5318466"/>
            <a:ext cx="1937881" cy="825809"/>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Tree>
    <p:extLst>
      <p:ext uri="{BB962C8B-B14F-4D97-AF65-F5344CB8AC3E}">
        <p14:creationId xmlns:p14="http://schemas.microsoft.com/office/powerpoint/2010/main" val="31102343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7D1E08AB-690B-E5D1-FC56-4FE8E93339B0}"/>
              </a:ext>
            </a:extLst>
          </p:cNvPr>
          <p:cNvSpPr>
            <a:spLocks noChangeArrowheads="1"/>
          </p:cNvSpPr>
          <p:nvPr userDrawn="1"/>
        </p:nvSpPr>
        <p:spPr bwMode="auto">
          <a:xfrm>
            <a:off x="1313806" y="983"/>
            <a:ext cx="4938764" cy="6856035"/>
          </a:xfrm>
          <a:custGeom>
            <a:avLst/>
            <a:gdLst>
              <a:gd name="T0" fmla="*/ 0 w 7930"/>
              <a:gd name="T1" fmla="*/ 714 h 11008"/>
              <a:gd name="T2" fmla="*/ 102 w 7930"/>
              <a:gd name="T3" fmla="*/ 0 h 11008"/>
              <a:gd name="T4" fmla="*/ 102 w 7930"/>
              <a:gd name="T5" fmla="*/ 2140 h 11008"/>
              <a:gd name="T6" fmla="*/ 0 w 7930"/>
              <a:gd name="T7" fmla="*/ 1427 h 11008"/>
              <a:gd name="T8" fmla="*/ 102 w 7930"/>
              <a:gd name="T9" fmla="*/ 2140 h 11008"/>
              <a:gd name="T10" fmla="*/ 0 w 7930"/>
              <a:gd name="T11" fmla="*/ 3567 h 11008"/>
              <a:gd name="T12" fmla="*/ 102 w 7930"/>
              <a:gd name="T13" fmla="*/ 2854 h 11008"/>
              <a:gd name="T14" fmla="*/ 296 w 7930"/>
              <a:gd name="T15" fmla="*/ 4951 h 11008"/>
              <a:gd name="T16" fmla="*/ 0 w 7930"/>
              <a:gd name="T17" fmla="*/ 4307 h 11008"/>
              <a:gd name="T18" fmla="*/ 102 w 7930"/>
              <a:gd name="T19" fmla="*/ 4281 h 11008"/>
              <a:gd name="T20" fmla="*/ 102 w 7930"/>
              <a:gd name="T21" fmla="*/ 4307 h 11008"/>
              <a:gd name="T22" fmla="*/ 296 w 7930"/>
              <a:gd name="T23" fmla="*/ 4951 h 11008"/>
              <a:gd name="T24" fmla="*/ 996 w 7930"/>
              <a:gd name="T25" fmla="*/ 5156 h 11008"/>
              <a:gd name="T26" fmla="*/ 1709 w 7930"/>
              <a:gd name="T27" fmla="*/ 5053 h 11008"/>
              <a:gd name="T28" fmla="*/ 3137 w 7930"/>
              <a:gd name="T29" fmla="*/ 5156 h 11008"/>
              <a:gd name="T30" fmla="*/ 2423 w 7930"/>
              <a:gd name="T31" fmla="*/ 5053 h 11008"/>
              <a:gd name="T32" fmla="*/ 3137 w 7930"/>
              <a:gd name="T33" fmla="*/ 5156 h 11008"/>
              <a:gd name="T34" fmla="*/ 4282 w 7930"/>
              <a:gd name="T35" fmla="*/ 5657 h 11008"/>
              <a:gd name="T36" fmla="*/ 3862 w 7930"/>
              <a:gd name="T37" fmla="*/ 5103 h 11008"/>
              <a:gd name="T38" fmla="*/ 4378 w 7930"/>
              <a:gd name="T39" fmla="*/ 5624 h 11008"/>
              <a:gd name="T40" fmla="*/ 4423 w 7930"/>
              <a:gd name="T41" fmla="*/ 7063 h 11008"/>
              <a:gd name="T42" fmla="*/ 4322 w 7930"/>
              <a:gd name="T43" fmla="*/ 6350 h 11008"/>
              <a:gd name="T44" fmla="*/ 4423 w 7930"/>
              <a:gd name="T45" fmla="*/ 7063 h 11008"/>
              <a:gd name="T46" fmla="*/ 5094 w 7930"/>
              <a:gd name="T47" fmla="*/ 8154 h 11008"/>
              <a:gd name="T48" fmla="*/ 4548 w 7930"/>
              <a:gd name="T49" fmla="*/ 7722 h 11008"/>
              <a:gd name="T50" fmla="*/ 5103 w 7930"/>
              <a:gd name="T51" fmla="*/ 8052 h 11008"/>
              <a:gd name="T52" fmla="*/ 6525 w 7930"/>
              <a:gd name="T53" fmla="*/ 8156 h 11008"/>
              <a:gd name="T54" fmla="*/ 5812 w 7930"/>
              <a:gd name="T55" fmla="*/ 8054 h 11008"/>
              <a:gd name="T56" fmla="*/ 6525 w 7930"/>
              <a:gd name="T57" fmla="*/ 8156 h 11008"/>
              <a:gd name="T58" fmla="*/ 7743 w 7930"/>
              <a:gd name="T59" fmla="*/ 8558 h 11008"/>
              <a:gd name="T60" fmla="*/ 7248 w 7930"/>
              <a:gd name="T61" fmla="*/ 8071 h 11008"/>
              <a:gd name="T62" fmla="*/ 7834 w 7930"/>
              <a:gd name="T63" fmla="*/ 8511 h 11008"/>
              <a:gd name="T64" fmla="*/ 7929 w 7930"/>
              <a:gd name="T65" fmla="*/ 9947 h 11008"/>
              <a:gd name="T66" fmla="*/ 7827 w 7930"/>
              <a:gd name="T67" fmla="*/ 9234 h 11008"/>
              <a:gd name="T68" fmla="*/ 7929 w 7930"/>
              <a:gd name="T69" fmla="*/ 9947 h 11008"/>
              <a:gd name="T70" fmla="*/ 7827 w 7930"/>
              <a:gd name="T71" fmla="*/ 11007 h 11008"/>
              <a:gd name="T72" fmla="*/ 7929 w 7930"/>
              <a:gd name="T73" fmla="*/ 10661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30" h="11008">
                <a:moveTo>
                  <a:pt x="102" y="714"/>
                </a:moveTo>
                <a:lnTo>
                  <a:pt x="0" y="714"/>
                </a:lnTo>
                <a:lnTo>
                  <a:pt x="0" y="0"/>
                </a:lnTo>
                <a:lnTo>
                  <a:pt x="102" y="0"/>
                </a:lnTo>
                <a:lnTo>
                  <a:pt x="102" y="714"/>
                </a:lnTo>
                <a:close/>
                <a:moveTo>
                  <a:pt x="102" y="2140"/>
                </a:moveTo>
                <a:lnTo>
                  <a:pt x="0" y="2140"/>
                </a:lnTo>
                <a:lnTo>
                  <a:pt x="0" y="1427"/>
                </a:lnTo>
                <a:lnTo>
                  <a:pt x="102" y="1427"/>
                </a:lnTo>
                <a:lnTo>
                  <a:pt x="102" y="2140"/>
                </a:lnTo>
                <a:close/>
                <a:moveTo>
                  <a:pt x="102" y="3567"/>
                </a:moveTo>
                <a:lnTo>
                  <a:pt x="0" y="3567"/>
                </a:lnTo>
                <a:lnTo>
                  <a:pt x="0" y="2854"/>
                </a:lnTo>
                <a:lnTo>
                  <a:pt x="102" y="2854"/>
                </a:lnTo>
                <a:lnTo>
                  <a:pt x="102" y="3567"/>
                </a:lnTo>
                <a:close/>
                <a:moveTo>
                  <a:pt x="296" y="4951"/>
                </a:moveTo>
                <a:lnTo>
                  <a:pt x="296" y="4951"/>
                </a:lnTo>
                <a:cubicBezTo>
                  <a:pt x="108" y="4790"/>
                  <a:pt x="0" y="4555"/>
                  <a:pt x="0" y="4307"/>
                </a:cubicBezTo>
                <a:lnTo>
                  <a:pt x="0" y="4281"/>
                </a:lnTo>
                <a:lnTo>
                  <a:pt x="102" y="4281"/>
                </a:lnTo>
                <a:lnTo>
                  <a:pt x="102" y="4307"/>
                </a:lnTo>
                <a:lnTo>
                  <a:pt x="102" y="4307"/>
                </a:lnTo>
                <a:cubicBezTo>
                  <a:pt x="102" y="4525"/>
                  <a:pt x="197" y="4732"/>
                  <a:pt x="362" y="4874"/>
                </a:cubicBezTo>
                <a:lnTo>
                  <a:pt x="296" y="4951"/>
                </a:lnTo>
                <a:close/>
                <a:moveTo>
                  <a:pt x="1709" y="5156"/>
                </a:moveTo>
                <a:lnTo>
                  <a:pt x="996" y="5156"/>
                </a:lnTo>
                <a:lnTo>
                  <a:pt x="996" y="5053"/>
                </a:lnTo>
                <a:lnTo>
                  <a:pt x="1709" y="5053"/>
                </a:lnTo>
                <a:lnTo>
                  <a:pt x="1709" y="5156"/>
                </a:lnTo>
                <a:close/>
                <a:moveTo>
                  <a:pt x="3137" y="5156"/>
                </a:moveTo>
                <a:lnTo>
                  <a:pt x="2423" y="5156"/>
                </a:lnTo>
                <a:lnTo>
                  <a:pt x="2423" y="5053"/>
                </a:lnTo>
                <a:lnTo>
                  <a:pt x="3137" y="5053"/>
                </a:lnTo>
                <a:lnTo>
                  <a:pt x="3137" y="5156"/>
                </a:lnTo>
                <a:close/>
                <a:moveTo>
                  <a:pt x="4282" y="5657"/>
                </a:moveTo>
                <a:lnTo>
                  <a:pt x="4282" y="5657"/>
                </a:lnTo>
                <a:cubicBezTo>
                  <a:pt x="4208" y="5447"/>
                  <a:pt x="4039" y="5275"/>
                  <a:pt x="3827" y="5199"/>
                </a:cubicBezTo>
                <a:lnTo>
                  <a:pt x="3862" y="5103"/>
                </a:lnTo>
                <a:lnTo>
                  <a:pt x="3862" y="5103"/>
                </a:lnTo>
                <a:cubicBezTo>
                  <a:pt x="4102" y="5189"/>
                  <a:pt x="4294" y="5384"/>
                  <a:pt x="4378" y="5624"/>
                </a:cubicBezTo>
                <a:lnTo>
                  <a:pt x="4282" y="5657"/>
                </a:lnTo>
                <a:close/>
                <a:moveTo>
                  <a:pt x="4423" y="7063"/>
                </a:moveTo>
                <a:lnTo>
                  <a:pt x="4322" y="7063"/>
                </a:lnTo>
                <a:lnTo>
                  <a:pt x="4322" y="6350"/>
                </a:lnTo>
                <a:lnTo>
                  <a:pt x="4423" y="6350"/>
                </a:lnTo>
                <a:lnTo>
                  <a:pt x="4423" y="7063"/>
                </a:lnTo>
                <a:close/>
                <a:moveTo>
                  <a:pt x="5094" y="8154"/>
                </a:moveTo>
                <a:lnTo>
                  <a:pt x="5094" y="8154"/>
                </a:lnTo>
                <a:cubicBezTo>
                  <a:pt x="4837" y="8130"/>
                  <a:pt x="4607" y="7994"/>
                  <a:pt x="4463" y="7778"/>
                </a:cubicBezTo>
                <a:lnTo>
                  <a:pt x="4548" y="7722"/>
                </a:lnTo>
                <a:lnTo>
                  <a:pt x="4548" y="7722"/>
                </a:lnTo>
                <a:cubicBezTo>
                  <a:pt x="4675" y="7911"/>
                  <a:pt x="4877" y="8032"/>
                  <a:pt x="5103" y="8052"/>
                </a:cubicBezTo>
                <a:lnTo>
                  <a:pt x="5094" y="8154"/>
                </a:lnTo>
                <a:close/>
                <a:moveTo>
                  <a:pt x="6525" y="8156"/>
                </a:moveTo>
                <a:lnTo>
                  <a:pt x="5812" y="8156"/>
                </a:lnTo>
                <a:lnTo>
                  <a:pt x="5812" y="8054"/>
                </a:lnTo>
                <a:lnTo>
                  <a:pt x="6525" y="8054"/>
                </a:lnTo>
                <a:lnTo>
                  <a:pt x="6525" y="8156"/>
                </a:lnTo>
                <a:close/>
                <a:moveTo>
                  <a:pt x="7743" y="8558"/>
                </a:moveTo>
                <a:lnTo>
                  <a:pt x="7743" y="8558"/>
                </a:lnTo>
                <a:cubicBezTo>
                  <a:pt x="7639" y="8357"/>
                  <a:pt x="7451" y="8215"/>
                  <a:pt x="7228" y="8171"/>
                </a:cubicBezTo>
                <a:lnTo>
                  <a:pt x="7248" y="8071"/>
                </a:lnTo>
                <a:lnTo>
                  <a:pt x="7248" y="8071"/>
                </a:lnTo>
                <a:cubicBezTo>
                  <a:pt x="7501" y="8121"/>
                  <a:pt x="7714" y="8281"/>
                  <a:pt x="7834" y="8511"/>
                </a:cubicBezTo>
                <a:lnTo>
                  <a:pt x="7743" y="8558"/>
                </a:lnTo>
                <a:close/>
                <a:moveTo>
                  <a:pt x="7929" y="9947"/>
                </a:moveTo>
                <a:lnTo>
                  <a:pt x="7827" y="9947"/>
                </a:lnTo>
                <a:lnTo>
                  <a:pt x="7827" y="9234"/>
                </a:lnTo>
                <a:lnTo>
                  <a:pt x="7929" y="9234"/>
                </a:lnTo>
                <a:lnTo>
                  <a:pt x="7929" y="9947"/>
                </a:lnTo>
                <a:close/>
                <a:moveTo>
                  <a:pt x="7929" y="11007"/>
                </a:moveTo>
                <a:lnTo>
                  <a:pt x="7827" y="11007"/>
                </a:lnTo>
                <a:lnTo>
                  <a:pt x="7827" y="10661"/>
                </a:lnTo>
                <a:lnTo>
                  <a:pt x="7929" y="10661"/>
                </a:lnTo>
                <a:lnTo>
                  <a:pt x="7929" y="11007"/>
                </a:lnTo>
                <a:close/>
              </a:path>
            </a:pathLst>
          </a:custGeom>
          <a:solidFill>
            <a:schemeClr val="bg1"/>
          </a:solidFill>
          <a:ln>
            <a:noFill/>
          </a:ln>
          <a:effectLst/>
        </p:spPr>
        <p:txBody>
          <a:bodyPr wrap="none" anchor="ctr"/>
          <a:lstStyle/>
          <a:p>
            <a:endParaRPr lang="en-US" sz="3265">
              <a:latin typeface="Lato Light" panose="020F0502020204030203" pitchFamily="34" charset="0"/>
            </a:endParaRPr>
          </a:p>
        </p:txBody>
      </p:sp>
      <p:sp>
        <p:nvSpPr>
          <p:cNvPr id="5" name="Freeform 399">
            <a:extLst>
              <a:ext uri="{FF2B5EF4-FFF2-40B4-BE49-F238E27FC236}">
                <a16:creationId xmlns:a16="http://schemas.microsoft.com/office/drawing/2014/main" id="{5E548839-4090-AC9E-915E-F4C8935F56AC}"/>
              </a:ext>
            </a:extLst>
          </p:cNvPr>
          <p:cNvSpPr>
            <a:spLocks noChangeArrowheads="1"/>
          </p:cNvSpPr>
          <p:nvPr userDrawn="1"/>
        </p:nvSpPr>
        <p:spPr bwMode="auto">
          <a:xfrm>
            <a:off x="831" y="4198513"/>
            <a:ext cx="12190341" cy="186783"/>
          </a:xfrm>
          <a:custGeom>
            <a:avLst/>
            <a:gdLst>
              <a:gd name="T0" fmla="*/ 19569 w 19570"/>
              <a:gd name="T1" fmla="*/ 301 h 302"/>
              <a:gd name="T2" fmla="*/ 0 w 19570"/>
              <a:gd name="T3" fmla="*/ 301 h 302"/>
              <a:gd name="T4" fmla="*/ 0 w 19570"/>
              <a:gd name="T5" fmla="*/ 0 h 302"/>
              <a:gd name="T6" fmla="*/ 19569 w 19570"/>
              <a:gd name="T7" fmla="*/ 0 h 302"/>
              <a:gd name="T8" fmla="*/ 19569 w 19570"/>
              <a:gd name="T9" fmla="*/ 301 h 302"/>
            </a:gdLst>
            <a:ahLst/>
            <a:cxnLst>
              <a:cxn ang="0">
                <a:pos x="T0" y="T1"/>
              </a:cxn>
              <a:cxn ang="0">
                <a:pos x="T2" y="T3"/>
              </a:cxn>
              <a:cxn ang="0">
                <a:pos x="T4" y="T5"/>
              </a:cxn>
              <a:cxn ang="0">
                <a:pos x="T6" y="T7"/>
              </a:cxn>
              <a:cxn ang="0">
                <a:pos x="T8" y="T9"/>
              </a:cxn>
            </a:cxnLst>
            <a:rect l="0" t="0" r="r" b="b"/>
            <a:pathLst>
              <a:path w="19570" h="302">
                <a:moveTo>
                  <a:pt x="19569" y="301"/>
                </a:moveTo>
                <a:lnTo>
                  <a:pt x="0" y="301"/>
                </a:lnTo>
                <a:lnTo>
                  <a:pt x="0" y="0"/>
                </a:lnTo>
                <a:lnTo>
                  <a:pt x="19569" y="0"/>
                </a:lnTo>
                <a:lnTo>
                  <a:pt x="19569" y="301"/>
                </a:lnTo>
              </a:path>
            </a:pathLst>
          </a:custGeom>
          <a:solidFill>
            <a:schemeClr val="bg1">
              <a:lumMod val="95000"/>
            </a:schemeClr>
          </a:solidFill>
          <a:ln>
            <a:noFill/>
          </a:ln>
          <a:effectLst/>
        </p:spPr>
        <p:txBody>
          <a:bodyPr wrap="none" anchor="ctr"/>
          <a:lstStyle/>
          <a:p>
            <a:endParaRPr lang="en-US" sz="3265">
              <a:latin typeface="Lato Light" panose="020F0502020204030203" pitchFamily="34" charset="0"/>
            </a:endParaRPr>
          </a:p>
        </p:txBody>
      </p:sp>
      <p:sp>
        <p:nvSpPr>
          <p:cNvPr id="6" name="Freeform 120">
            <a:extLst>
              <a:ext uri="{FF2B5EF4-FFF2-40B4-BE49-F238E27FC236}">
                <a16:creationId xmlns:a16="http://schemas.microsoft.com/office/drawing/2014/main" id="{D8943720-8E0B-C9AE-B956-04B73B833496}"/>
              </a:ext>
            </a:extLst>
          </p:cNvPr>
          <p:cNvSpPr>
            <a:spLocks noChangeArrowheads="1"/>
          </p:cNvSpPr>
          <p:nvPr userDrawn="1"/>
        </p:nvSpPr>
        <p:spPr bwMode="auto">
          <a:xfrm>
            <a:off x="1312310" y="2039521"/>
            <a:ext cx="1266280" cy="1266280"/>
          </a:xfrm>
          <a:custGeom>
            <a:avLst/>
            <a:gdLst>
              <a:gd name="T0" fmla="*/ 2034 w 2035"/>
              <a:gd name="T1" fmla="*/ 1016 h 2034"/>
              <a:gd name="T2" fmla="*/ 2034 w 2035"/>
              <a:gd name="T3" fmla="*/ 1016 h 2034"/>
              <a:gd name="T4" fmla="*/ 1017 w 2035"/>
              <a:gd name="T5" fmla="*/ 2033 h 2034"/>
              <a:gd name="T6" fmla="*/ 1017 w 2035"/>
              <a:gd name="T7" fmla="*/ 2033 h 2034"/>
              <a:gd name="T8" fmla="*/ 0 w 2035"/>
              <a:gd name="T9" fmla="*/ 1016 h 2034"/>
              <a:gd name="T10" fmla="*/ 0 w 2035"/>
              <a:gd name="T11" fmla="*/ 1016 h 2034"/>
              <a:gd name="T12" fmla="*/ 1017 w 2035"/>
              <a:gd name="T13" fmla="*/ 0 h 2034"/>
              <a:gd name="T14" fmla="*/ 1017 w 2035"/>
              <a:gd name="T15" fmla="*/ 0 h 2034"/>
              <a:gd name="T16" fmla="*/ 2034 w 2035"/>
              <a:gd name="T17" fmla="*/ 1016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5" h="2034">
                <a:moveTo>
                  <a:pt x="2034" y="1016"/>
                </a:moveTo>
                <a:lnTo>
                  <a:pt x="2034" y="1016"/>
                </a:lnTo>
                <a:cubicBezTo>
                  <a:pt x="2034" y="1578"/>
                  <a:pt x="1579" y="2033"/>
                  <a:pt x="1017" y="2033"/>
                </a:cubicBezTo>
                <a:lnTo>
                  <a:pt x="1017" y="2033"/>
                </a:lnTo>
                <a:cubicBezTo>
                  <a:pt x="455" y="2033"/>
                  <a:pt x="0" y="1578"/>
                  <a:pt x="0" y="1016"/>
                </a:cubicBezTo>
                <a:lnTo>
                  <a:pt x="0" y="1016"/>
                </a:lnTo>
                <a:cubicBezTo>
                  <a:pt x="0" y="454"/>
                  <a:pt x="455" y="0"/>
                  <a:pt x="1017" y="0"/>
                </a:cubicBezTo>
                <a:lnTo>
                  <a:pt x="1017" y="0"/>
                </a:lnTo>
                <a:cubicBezTo>
                  <a:pt x="1579" y="0"/>
                  <a:pt x="2034" y="454"/>
                  <a:pt x="2034" y="1016"/>
                </a:cubicBezTo>
              </a:path>
            </a:pathLst>
          </a:custGeom>
          <a:solidFill>
            <a:schemeClr val="accent1"/>
          </a:solidFill>
          <a:ln>
            <a:noFill/>
          </a:ln>
          <a:effectLst/>
        </p:spPr>
        <p:txBody>
          <a:bodyPr wrap="none" anchor="ctr"/>
          <a:lstStyle/>
          <a:p>
            <a:endParaRPr lang="en-US" sz="3265">
              <a:latin typeface="+mj-lt"/>
            </a:endParaRPr>
          </a:p>
        </p:txBody>
      </p:sp>
      <p:sp>
        <p:nvSpPr>
          <p:cNvPr id="7" name="Freeform 121">
            <a:extLst>
              <a:ext uri="{FF2B5EF4-FFF2-40B4-BE49-F238E27FC236}">
                <a16:creationId xmlns:a16="http://schemas.microsoft.com/office/drawing/2014/main" id="{F9840893-FAA1-ECE7-1850-E0C3B5E106B8}"/>
              </a:ext>
            </a:extLst>
          </p:cNvPr>
          <p:cNvSpPr>
            <a:spLocks noChangeArrowheads="1"/>
          </p:cNvSpPr>
          <p:nvPr userDrawn="1"/>
        </p:nvSpPr>
        <p:spPr bwMode="auto">
          <a:xfrm>
            <a:off x="1647421" y="3176700"/>
            <a:ext cx="596059" cy="670222"/>
          </a:xfrm>
          <a:custGeom>
            <a:avLst/>
            <a:gdLst>
              <a:gd name="T0" fmla="*/ 479 w 959"/>
              <a:gd name="T1" fmla="*/ 1076 h 1077"/>
              <a:gd name="T2" fmla="*/ 958 w 959"/>
              <a:gd name="T3" fmla="*/ 0 h 1077"/>
              <a:gd name="T4" fmla="*/ 0 w 959"/>
              <a:gd name="T5" fmla="*/ 0 h 1077"/>
              <a:gd name="T6" fmla="*/ 479 w 959"/>
              <a:gd name="T7" fmla="*/ 1076 h 1077"/>
            </a:gdLst>
            <a:ahLst/>
            <a:cxnLst>
              <a:cxn ang="0">
                <a:pos x="T0" y="T1"/>
              </a:cxn>
              <a:cxn ang="0">
                <a:pos x="T2" y="T3"/>
              </a:cxn>
              <a:cxn ang="0">
                <a:pos x="T4" y="T5"/>
              </a:cxn>
              <a:cxn ang="0">
                <a:pos x="T6" y="T7"/>
              </a:cxn>
            </a:cxnLst>
            <a:rect l="0" t="0" r="r" b="b"/>
            <a:pathLst>
              <a:path w="959" h="1077">
                <a:moveTo>
                  <a:pt x="479" y="1076"/>
                </a:moveTo>
                <a:lnTo>
                  <a:pt x="958" y="0"/>
                </a:lnTo>
                <a:lnTo>
                  <a:pt x="0" y="0"/>
                </a:lnTo>
                <a:lnTo>
                  <a:pt x="479" y="1076"/>
                </a:lnTo>
              </a:path>
            </a:pathLst>
          </a:custGeom>
          <a:solidFill>
            <a:schemeClr val="accent1"/>
          </a:solidFill>
          <a:ln>
            <a:noFill/>
          </a:ln>
          <a:effectLst/>
        </p:spPr>
        <p:txBody>
          <a:bodyPr wrap="none" anchor="ctr"/>
          <a:lstStyle/>
          <a:p>
            <a:endParaRPr lang="en-US" sz="3265">
              <a:latin typeface="+mj-lt"/>
            </a:endParaRPr>
          </a:p>
        </p:txBody>
      </p:sp>
      <p:sp>
        <p:nvSpPr>
          <p:cNvPr id="8" name="Freeform 122">
            <a:extLst>
              <a:ext uri="{FF2B5EF4-FFF2-40B4-BE49-F238E27FC236}">
                <a16:creationId xmlns:a16="http://schemas.microsoft.com/office/drawing/2014/main" id="{27658038-A0AC-3767-EF20-7D841E05B217}"/>
              </a:ext>
            </a:extLst>
          </p:cNvPr>
          <p:cNvSpPr>
            <a:spLocks noChangeArrowheads="1"/>
          </p:cNvSpPr>
          <p:nvPr userDrawn="1"/>
        </p:nvSpPr>
        <p:spPr bwMode="auto">
          <a:xfrm>
            <a:off x="1424869" y="2149332"/>
            <a:ext cx="1043910" cy="1043910"/>
          </a:xfrm>
          <a:custGeom>
            <a:avLst/>
            <a:gdLst>
              <a:gd name="T0" fmla="*/ 1445 w 1446"/>
              <a:gd name="T1" fmla="*/ 723 h 1447"/>
              <a:gd name="T2" fmla="*/ 1445 w 1446"/>
              <a:gd name="T3" fmla="*/ 723 h 1447"/>
              <a:gd name="T4" fmla="*/ 722 w 1446"/>
              <a:gd name="T5" fmla="*/ 1446 h 1447"/>
              <a:gd name="T6" fmla="*/ 722 w 1446"/>
              <a:gd name="T7" fmla="*/ 1446 h 1447"/>
              <a:gd name="T8" fmla="*/ 0 w 1446"/>
              <a:gd name="T9" fmla="*/ 723 h 1447"/>
              <a:gd name="T10" fmla="*/ 0 w 1446"/>
              <a:gd name="T11" fmla="*/ 723 h 1447"/>
              <a:gd name="T12" fmla="*/ 722 w 1446"/>
              <a:gd name="T13" fmla="*/ 0 h 1447"/>
              <a:gd name="T14" fmla="*/ 722 w 1446"/>
              <a:gd name="T15" fmla="*/ 0 h 1447"/>
              <a:gd name="T16" fmla="*/ 1445 w 1446"/>
              <a:gd name="T17" fmla="*/ 723 h 1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6" h="1447">
                <a:moveTo>
                  <a:pt x="1445" y="723"/>
                </a:moveTo>
                <a:lnTo>
                  <a:pt x="1445" y="723"/>
                </a:lnTo>
                <a:cubicBezTo>
                  <a:pt x="1445" y="1122"/>
                  <a:pt x="1121" y="1446"/>
                  <a:pt x="722" y="1446"/>
                </a:cubicBezTo>
                <a:lnTo>
                  <a:pt x="722" y="1446"/>
                </a:lnTo>
                <a:cubicBezTo>
                  <a:pt x="323" y="1446"/>
                  <a:pt x="0" y="1122"/>
                  <a:pt x="0" y="723"/>
                </a:cubicBezTo>
                <a:lnTo>
                  <a:pt x="0" y="723"/>
                </a:lnTo>
                <a:cubicBezTo>
                  <a:pt x="0" y="324"/>
                  <a:pt x="323" y="0"/>
                  <a:pt x="722" y="0"/>
                </a:cubicBezTo>
                <a:lnTo>
                  <a:pt x="722" y="0"/>
                </a:lnTo>
                <a:cubicBezTo>
                  <a:pt x="1121" y="0"/>
                  <a:pt x="1445" y="324"/>
                  <a:pt x="1445" y="723"/>
                </a:cubicBezTo>
              </a:path>
            </a:pathLst>
          </a:custGeom>
          <a:solidFill>
            <a:schemeClr val="bg1"/>
          </a:solidFill>
          <a:ln>
            <a:noFill/>
          </a:ln>
          <a:effectLst/>
        </p:spPr>
        <p:txBody>
          <a:bodyPr wrap="none" anchor="ctr"/>
          <a:lstStyle/>
          <a:p>
            <a:endParaRPr lang="en-US" sz="3265">
              <a:latin typeface="+mj-lt"/>
            </a:endParaRPr>
          </a:p>
        </p:txBody>
      </p:sp>
      <p:sp>
        <p:nvSpPr>
          <p:cNvPr id="9" name="Freeform 400">
            <a:extLst>
              <a:ext uri="{FF2B5EF4-FFF2-40B4-BE49-F238E27FC236}">
                <a16:creationId xmlns:a16="http://schemas.microsoft.com/office/drawing/2014/main" id="{57571779-C1C9-88E9-19B3-BFF0E42C776A}"/>
              </a:ext>
            </a:extLst>
          </p:cNvPr>
          <p:cNvSpPr>
            <a:spLocks noChangeArrowheads="1"/>
          </p:cNvSpPr>
          <p:nvPr userDrawn="1"/>
        </p:nvSpPr>
        <p:spPr bwMode="auto">
          <a:xfrm>
            <a:off x="1853432" y="4198513"/>
            <a:ext cx="186783" cy="186783"/>
          </a:xfrm>
          <a:custGeom>
            <a:avLst/>
            <a:gdLst>
              <a:gd name="T0" fmla="*/ 300 w 301"/>
              <a:gd name="T1" fmla="*/ 151 h 302"/>
              <a:gd name="T2" fmla="*/ 300 w 301"/>
              <a:gd name="T3" fmla="*/ 151 h 302"/>
              <a:gd name="T4" fmla="*/ 150 w 301"/>
              <a:gd name="T5" fmla="*/ 301 h 302"/>
              <a:gd name="T6" fmla="*/ 150 w 301"/>
              <a:gd name="T7" fmla="*/ 301 h 302"/>
              <a:gd name="T8" fmla="*/ 0 w 301"/>
              <a:gd name="T9" fmla="*/ 151 h 302"/>
              <a:gd name="T10" fmla="*/ 0 w 301"/>
              <a:gd name="T11" fmla="*/ 151 h 302"/>
              <a:gd name="T12" fmla="*/ 150 w 301"/>
              <a:gd name="T13" fmla="*/ 0 h 302"/>
              <a:gd name="T14" fmla="*/ 150 w 301"/>
              <a:gd name="T15" fmla="*/ 0 h 302"/>
              <a:gd name="T16" fmla="*/ 300 w 301"/>
              <a:gd name="T17" fmla="*/ 151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302">
                <a:moveTo>
                  <a:pt x="300" y="151"/>
                </a:moveTo>
                <a:lnTo>
                  <a:pt x="300" y="151"/>
                </a:lnTo>
                <a:cubicBezTo>
                  <a:pt x="300" y="233"/>
                  <a:pt x="233" y="301"/>
                  <a:pt x="150" y="301"/>
                </a:cubicBezTo>
                <a:lnTo>
                  <a:pt x="150" y="301"/>
                </a:lnTo>
                <a:cubicBezTo>
                  <a:pt x="67" y="301"/>
                  <a:pt x="0" y="233"/>
                  <a:pt x="0" y="151"/>
                </a:cubicBezTo>
                <a:lnTo>
                  <a:pt x="0" y="151"/>
                </a:lnTo>
                <a:cubicBezTo>
                  <a:pt x="0" y="68"/>
                  <a:pt x="67" y="0"/>
                  <a:pt x="150" y="0"/>
                </a:cubicBezTo>
                <a:lnTo>
                  <a:pt x="150" y="0"/>
                </a:lnTo>
                <a:cubicBezTo>
                  <a:pt x="233" y="0"/>
                  <a:pt x="300" y="68"/>
                  <a:pt x="300" y="151"/>
                </a:cubicBezTo>
              </a:path>
            </a:pathLst>
          </a:custGeom>
          <a:solidFill>
            <a:schemeClr val="accent1"/>
          </a:solidFill>
          <a:ln>
            <a:noFill/>
          </a:ln>
          <a:effectLst/>
        </p:spPr>
        <p:txBody>
          <a:bodyPr wrap="none" anchor="ctr"/>
          <a:lstStyle/>
          <a:p>
            <a:endParaRPr lang="en-US" sz="3265">
              <a:latin typeface="+mj-lt"/>
            </a:endParaRPr>
          </a:p>
        </p:txBody>
      </p:sp>
      <p:sp>
        <p:nvSpPr>
          <p:cNvPr id="10" name="Freeform 175">
            <a:extLst>
              <a:ext uri="{FF2B5EF4-FFF2-40B4-BE49-F238E27FC236}">
                <a16:creationId xmlns:a16="http://schemas.microsoft.com/office/drawing/2014/main" id="{400F00F9-6704-58E2-7EF0-CD8687AD8ABE}"/>
              </a:ext>
            </a:extLst>
          </p:cNvPr>
          <p:cNvSpPr>
            <a:spLocks noChangeArrowheads="1"/>
          </p:cNvSpPr>
          <p:nvPr userDrawn="1"/>
        </p:nvSpPr>
        <p:spPr bwMode="auto">
          <a:xfrm>
            <a:off x="3387586" y="2039521"/>
            <a:ext cx="1266280" cy="1266280"/>
          </a:xfrm>
          <a:custGeom>
            <a:avLst/>
            <a:gdLst>
              <a:gd name="T0" fmla="*/ 2034 w 2035"/>
              <a:gd name="T1" fmla="*/ 1016 h 2034"/>
              <a:gd name="T2" fmla="*/ 2034 w 2035"/>
              <a:gd name="T3" fmla="*/ 1016 h 2034"/>
              <a:gd name="T4" fmla="*/ 1017 w 2035"/>
              <a:gd name="T5" fmla="*/ 2033 h 2034"/>
              <a:gd name="T6" fmla="*/ 1017 w 2035"/>
              <a:gd name="T7" fmla="*/ 2033 h 2034"/>
              <a:gd name="T8" fmla="*/ 0 w 2035"/>
              <a:gd name="T9" fmla="*/ 1016 h 2034"/>
              <a:gd name="T10" fmla="*/ 0 w 2035"/>
              <a:gd name="T11" fmla="*/ 1016 h 2034"/>
              <a:gd name="T12" fmla="*/ 1017 w 2035"/>
              <a:gd name="T13" fmla="*/ 0 h 2034"/>
              <a:gd name="T14" fmla="*/ 1017 w 2035"/>
              <a:gd name="T15" fmla="*/ 0 h 2034"/>
              <a:gd name="T16" fmla="*/ 2034 w 2035"/>
              <a:gd name="T17" fmla="*/ 1016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5" h="2034">
                <a:moveTo>
                  <a:pt x="2034" y="1016"/>
                </a:moveTo>
                <a:lnTo>
                  <a:pt x="2034" y="1016"/>
                </a:lnTo>
                <a:cubicBezTo>
                  <a:pt x="2034" y="1578"/>
                  <a:pt x="1578" y="2033"/>
                  <a:pt x="1017" y="2033"/>
                </a:cubicBezTo>
                <a:lnTo>
                  <a:pt x="1017" y="2033"/>
                </a:lnTo>
                <a:cubicBezTo>
                  <a:pt x="455" y="2033"/>
                  <a:pt x="0" y="1578"/>
                  <a:pt x="0" y="1016"/>
                </a:cubicBezTo>
                <a:lnTo>
                  <a:pt x="0" y="1016"/>
                </a:lnTo>
                <a:cubicBezTo>
                  <a:pt x="0" y="454"/>
                  <a:pt x="455" y="0"/>
                  <a:pt x="1017" y="0"/>
                </a:cubicBezTo>
                <a:lnTo>
                  <a:pt x="1017" y="0"/>
                </a:lnTo>
                <a:cubicBezTo>
                  <a:pt x="1578" y="0"/>
                  <a:pt x="2034" y="454"/>
                  <a:pt x="2034" y="1016"/>
                </a:cubicBezTo>
              </a:path>
            </a:pathLst>
          </a:custGeom>
          <a:solidFill>
            <a:schemeClr val="accent2"/>
          </a:solidFill>
          <a:ln>
            <a:noFill/>
          </a:ln>
          <a:effectLst/>
        </p:spPr>
        <p:txBody>
          <a:bodyPr wrap="none" anchor="ctr"/>
          <a:lstStyle/>
          <a:p>
            <a:endParaRPr lang="en-US" sz="3265">
              <a:latin typeface="+mj-lt"/>
            </a:endParaRPr>
          </a:p>
        </p:txBody>
      </p:sp>
      <p:sp>
        <p:nvSpPr>
          <p:cNvPr id="11" name="Freeform 176">
            <a:extLst>
              <a:ext uri="{FF2B5EF4-FFF2-40B4-BE49-F238E27FC236}">
                <a16:creationId xmlns:a16="http://schemas.microsoft.com/office/drawing/2014/main" id="{E21943D7-CBBB-09D7-5D94-DB3B83E4A9B0}"/>
              </a:ext>
            </a:extLst>
          </p:cNvPr>
          <p:cNvSpPr>
            <a:spLocks noChangeArrowheads="1"/>
          </p:cNvSpPr>
          <p:nvPr userDrawn="1"/>
        </p:nvSpPr>
        <p:spPr bwMode="auto">
          <a:xfrm>
            <a:off x="3722697" y="3176700"/>
            <a:ext cx="596059" cy="670222"/>
          </a:xfrm>
          <a:custGeom>
            <a:avLst/>
            <a:gdLst>
              <a:gd name="T0" fmla="*/ 479 w 959"/>
              <a:gd name="T1" fmla="*/ 1076 h 1077"/>
              <a:gd name="T2" fmla="*/ 958 w 959"/>
              <a:gd name="T3" fmla="*/ 0 h 1077"/>
              <a:gd name="T4" fmla="*/ 0 w 959"/>
              <a:gd name="T5" fmla="*/ 0 h 1077"/>
              <a:gd name="T6" fmla="*/ 479 w 959"/>
              <a:gd name="T7" fmla="*/ 1076 h 1077"/>
            </a:gdLst>
            <a:ahLst/>
            <a:cxnLst>
              <a:cxn ang="0">
                <a:pos x="T0" y="T1"/>
              </a:cxn>
              <a:cxn ang="0">
                <a:pos x="T2" y="T3"/>
              </a:cxn>
              <a:cxn ang="0">
                <a:pos x="T4" y="T5"/>
              </a:cxn>
              <a:cxn ang="0">
                <a:pos x="T6" y="T7"/>
              </a:cxn>
            </a:cxnLst>
            <a:rect l="0" t="0" r="r" b="b"/>
            <a:pathLst>
              <a:path w="959" h="1077">
                <a:moveTo>
                  <a:pt x="479" y="1076"/>
                </a:moveTo>
                <a:lnTo>
                  <a:pt x="958" y="0"/>
                </a:lnTo>
                <a:lnTo>
                  <a:pt x="0" y="0"/>
                </a:lnTo>
                <a:lnTo>
                  <a:pt x="479" y="1076"/>
                </a:lnTo>
              </a:path>
            </a:pathLst>
          </a:custGeom>
          <a:solidFill>
            <a:schemeClr val="accent2"/>
          </a:solidFill>
          <a:ln>
            <a:noFill/>
          </a:ln>
          <a:effectLst/>
        </p:spPr>
        <p:txBody>
          <a:bodyPr wrap="none" anchor="ctr"/>
          <a:lstStyle/>
          <a:p>
            <a:endParaRPr lang="en-US" sz="3265">
              <a:latin typeface="+mj-lt"/>
            </a:endParaRPr>
          </a:p>
        </p:txBody>
      </p:sp>
      <p:sp>
        <p:nvSpPr>
          <p:cNvPr id="12" name="Freeform 177">
            <a:extLst>
              <a:ext uri="{FF2B5EF4-FFF2-40B4-BE49-F238E27FC236}">
                <a16:creationId xmlns:a16="http://schemas.microsoft.com/office/drawing/2014/main" id="{965A920E-61FF-1A47-05BB-3CE09B291B3E}"/>
              </a:ext>
            </a:extLst>
          </p:cNvPr>
          <p:cNvSpPr>
            <a:spLocks noChangeArrowheads="1"/>
          </p:cNvSpPr>
          <p:nvPr userDrawn="1"/>
        </p:nvSpPr>
        <p:spPr bwMode="auto">
          <a:xfrm>
            <a:off x="3500145" y="2149332"/>
            <a:ext cx="1043910" cy="1043910"/>
          </a:xfrm>
          <a:custGeom>
            <a:avLst/>
            <a:gdLst>
              <a:gd name="T0" fmla="*/ 1446 w 1447"/>
              <a:gd name="T1" fmla="*/ 723 h 1447"/>
              <a:gd name="T2" fmla="*/ 1446 w 1447"/>
              <a:gd name="T3" fmla="*/ 723 h 1447"/>
              <a:gd name="T4" fmla="*/ 723 w 1447"/>
              <a:gd name="T5" fmla="*/ 1446 h 1447"/>
              <a:gd name="T6" fmla="*/ 723 w 1447"/>
              <a:gd name="T7" fmla="*/ 1446 h 1447"/>
              <a:gd name="T8" fmla="*/ 0 w 1447"/>
              <a:gd name="T9" fmla="*/ 723 h 1447"/>
              <a:gd name="T10" fmla="*/ 0 w 1447"/>
              <a:gd name="T11" fmla="*/ 723 h 1447"/>
              <a:gd name="T12" fmla="*/ 723 w 1447"/>
              <a:gd name="T13" fmla="*/ 0 h 1447"/>
              <a:gd name="T14" fmla="*/ 723 w 1447"/>
              <a:gd name="T15" fmla="*/ 0 h 1447"/>
              <a:gd name="T16" fmla="*/ 1446 w 1447"/>
              <a:gd name="T17" fmla="*/ 723 h 1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7" h="1447">
                <a:moveTo>
                  <a:pt x="1446" y="723"/>
                </a:moveTo>
                <a:lnTo>
                  <a:pt x="1446" y="723"/>
                </a:lnTo>
                <a:cubicBezTo>
                  <a:pt x="1446" y="1122"/>
                  <a:pt x="1122" y="1446"/>
                  <a:pt x="723" y="1446"/>
                </a:cubicBezTo>
                <a:lnTo>
                  <a:pt x="723" y="1446"/>
                </a:lnTo>
                <a:cubicBezTo>
                  <a:pt x="324" y="1446"/>
                  <a:pt x="0" y="1122"/>
                  <a:pt x="0" y="723"/>
                </a:cubicBezTo>
                <a:lnTo>
                  <a:pt x="0" y="723"/>
                </a:lnTo>
                <a:cubicBezTo>
                  <a:pt x="0" y="324"/>
                  <a:pt x="324" y="0"/>
                  <a:pt x="723" y="0"/>
                </a:cubicBezTo>
                <a:lnTo>
                  <a:pt x="723" y="0"/>
                </a:lnTo>
                <a:cubicBezTo>
                  <a:pt x="1122" y="0"/>
                  <a:pt x="1446" y="324"/>
                  <a:pt x="1446" y="723"/>
                </a:cubicBezTo>
              </a:path>
            </a:pathLst>
          </a:custGeom>
          <a:solidFill>
            <a:schemeClr val="bg1"/>
          </a:solidFill>
          <a:ln>
            <a:noFill/>
          </a:ln>
          <a:effectLst/>
        </p:spPr>
        <p:txBody>
          <a:bodyPr wrap="none" anchor="ctr"/>
          <a:lstStyle/>
          <a:p>
            <a:endParaRPr lang="en-US" sz="3265">
              <a:latin typeface="+mj-lt"/>
            </a:endParaRPr>
          </a:p>
        </p:txBody>
      </p:sp>
      <p:sp>
        <p:nvSpPr>
          <p:cNvPr id="34" name="Freeform 401">
            <a:extLst>
              <a:ext uri="{FF2B5EF4-FFF2-40B4-BE49-F238E27FC236}">
                <a16:creationId xmlns:a16="http://schemas.microsoft.com/office/drawing/2014/main" id="{CD2FFAB7-FCE8-571E-0D0A-51954A798A10}"/>
              </a:ext>
            </a:extLst>
          </p:cNvPr>
          <p:cNvSpPr>
            <a:spLocks noChangeArrowheads="1"/>
          </p:cNvSpPr>
          <p:nvPr userDrawn="1"/>
        </p:nvSpPr>
        <p:spPr bwMode="auto">
          <a:xfrm>
            <a:off x="3928708" y="4198513"/>
            <a:ext cx="186783" cy="186783"/>
          </a:xfrm>
          <a:custGeom>
            <a:avLst/>
            <a:gdLst>
              <a:gd name="T0" fmla="*/ 300 w 301"/>
              <a:gd name="T1" fmla="*/ 151 h 302"/>
              <a:gd name="T2" fmla="*/ 300 w 301"/>
              <a:gd name="T3" fmla="*/ 151 h 302"/>
              <a:gd name="T4" fmla="*/ 150 w 301"/>
              <a:gd name="T5" fmla="*/ 301 h 302"/>
              <a:gd name="T6" fmla="*/ 150 w 301"/>
              <a:gd name="T7" fmla="*/ 301 h 302"/>
              <a:gd name="T8" fmla="*/ 0 w 301"/>
              <a:gd name="T9" fmla="*/ 151 h 302"/>
              <a:gd name="T10" fmla="*/ 0 w 301"/>
              <a:gd name="T11" fmla="*/ 151 h 302"/>
              <a:gd name="T12" fmla="*/ 150 w 301"/>
              <a:gd name="T13" fmla="*/ 0 h 302"/>
              <a:gd name="T14" fmla="*/ 150 w 301"/>
              <a:gd name="T15" fmla="*/ 0 h 302"/>
              <a:gd name="T16" fmla="*/ 300 w 301"/>
              <a:gd name="T17" fmla="*/ 151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302">
                <a:moveTo>
                  <a:pt x="300" y="151"/>
                </a:moveTo>
                <a:lnTo>
                  <a:pt x="300" y="151"/>
                </a:lnTo>
                <a:cubicBezTo>
                  <a:pt x="300" y="233"/>
                  <a:pt x="233" y="301"/>
                  <a:pt x="150" y="301"/>
                </a:cubicBezTo>
                <a:lnTo>
                  <a:pt x="150" y="301"/>
                </a:lnTo>
                <a:cubicBezTo>
                  <a:pt x="67" y="301"/>
                  <a:pt x="0" y="233"/>
                  <a:pt x="0" y="151"/>
                </a:cubicBezTo>
                <a:lnTo>
                  <a:pt x="0" y="151"/>
                </a:lnTo>
                <a:cubicBezTo>
                  <a:pt x="0" y="68"/>
                  <a:pt x="67" y="0"/>
                  <a:pt x="150" y="0"/>
                </a:cubicBezTo>
                <a:lnTo>
                  <a:pt x="150" y="0"/>
                </a:lnTo>
                <a:cubicBezTo>
                  <a:pt x="233" y="0"/>
                  <a:pt x="300" y="68"/>
                  <a:pt x="300" y="151"/>
                </a:cubicBezTo>
              </a:path>
            </a:pathLst>
          </a:custGeom>
          <a:solidFill>
            <a:schemeClr val="accent2"/>
          </a:solidFill>
          <a:ln>
            <a:noFill/>
          </a:ln>
          <a:effectLst/>
        </p:spPr>
        <p:txBody>
          <a:bodyPr wrap="none" anchor="ctr"/>
          <a:lstStyle/>
          <a:p>
            <a:endParaRPr lang="en-US" sz="3265">
              <a:latin typeface="+mj-lt"/>
            </a:endParaRPr>
          </a:p>
        </p:txBody>
      </p:sp>
      <p:sp>
        <p:nvSpPr>
          <p:cNvPr id="35" name="Freeform 231">
            <a:extLst>
              <a:ext uri="{FF2B5EF4-FFF2-40B4-BE49-F238E27FC236}">
                <a16:creationId xmlns:a16="http://schemas.microsoft.com/office/drawing/2014/main" id="{BDF910A2-7FD1-58F1-4390-8B933F839752}"/>
              </a:ext>
            </a:extLst>
          </p:cNvPr>
          <p:cNvSpPr>
            <a:spLocks noChangeArrowheads="1"/>
          </p:cNvSpPr>
          <p:nvPr userDrawn="1"/>
        </p:nvSpPr>
        <p:spPr bwMode="auto">
          <a:xfrm>
            <a:off x="5462861" y="2039521"/>
            <a:ext cx="1266280" cy="1266280"/>
          </a:xfrm>
          <a:custGeom>
            <a:avLst/>
            <a:gdLst>
              <a:gd name="T0" fmla="*/ 2034 w 2035"/>
              <a:gd name="T1" fmla="*/ 1016 h 2034"/>
              <a:gd name="T2" fmla="*/ 2034 w 2035"/>
              <a:gd name="T3" fmla="*/ 1016 h 2034"/>
              <a:gd name="T4" fmla="*/ 1017 w 2035"/>
              <a:gd name="T5" fmla="*/ 2033 h 2034"/>
              <a:gd name="T6" fmla="*/ 1017 w 2035"/>
              <a:gd name="T7" fmla="*/ 2033 h 2034"/>
              <a:gd name="T8" fmla="*/ 0 w 2035"/>
              <a:gd name="T9" fmla="*/ 1016 h 2034"/>
              <a:gd name="T10" fmla="*/ 0 w 2035"/>
              <a:gd name="T11" fmla="*/ 1016 h 2034"/>
              <a:gd name="T12" fmla="*/ 1017 w 2035"/>
              <a:gd name="T13" fmla="*/ 0 h 2034"/>
              <a:gd name="T14" fmla="*/ 1017 w 2035"/>
              <a:gd name="T15" fmla="*/ 0 h 2034"/>
              <a:gd name="T16" fmla="*/ 2034 w 2035"/>
              <a:gd name="T17" fmla="*/ 1016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5" h="2034">
                <a:moveTo>
                  <a:pt x="2034" y="1016"/>
                </a:moveTo>
                <a:lnTo>
                  <a:pt x="2034" y="1016"/>
                </a:lnTo>
                <a:cubicBezTo>
                  <a:pt x="2034" y="1578"/>
                  <a:pt x="1578" y="2033"/>
                  <a:pt x="1017" y="2033"/>
                </a:cubicBezTo>
                <a:lnTo>
                  <a:pt x="1017" y="2033"/>
                </a:lnTo>
                <a:cubicBezTo>
                  <a:pt x="455" y="2033"/>
                  <a:pt x="0" y="1578"/>
                  <a:pt x="0" y="1016"/>
                </a:cubicBezTo>
                <a:lnTo>
                  <a:pt x="0" y="1016"/>
                </a:lnTo>
                <a:cubicBezTo>
                  <a:pt x="0" y="454"/>
                  <a:pt x="455" y="0"/>
                  <a:pt x="1017" y="0"/>
                </a:cubicBezTo>
                <a:lnTo>
                  <a:pt x="1017" y="0"/>
                </a:lnTo>
                <a:cubicBezTo>
                  <a:pt x="1578" y="0"/>
                  <a:pt x="2034" y="454"/>
                  <a:pt x="2034" y="1016"/>
                </a:cubicBezTo>
              </a:path>
            </a:pathLst>
          </a:custGeom>
          <a:solidFill>
            <a:schemeClr val="accent3"/>
          </a:solidFill>
          <a:ln>
            <a:noFill/>
          </a:ln>
          <a:effectLst/>
        </p:spPr>
        <p:txBody>
          <a:bodyPr wrap="none" anchor="ctr"/>
          <a:lstStyle/>
          <a:p>
            <a:endParaRPr lang="en-US" sz="3265">
              <a:latin typeface="+mj-lt"/>
            </a:endParaRPr>
          </a:p>
        </p:txBody>
      </p:sp>
      <p:sp>
        <p:nvSpPr>
          <p:cNvPr id="36" name="Freeform 232">
            <a:extLst>
              <a:ext uri="{FF2B5EF4-FFF2-40B4-BE49-F238E27FC236}">
                <a16:creationId xmlns:a16="http://schemas.microsoft.com/office/drawing/2014/main" id="{9D390FAB-DD80-C867-544B-8DD5B2FA2ED9}"/>
              </a:ext>
            </a:extLst>
          </p:cNvPr>
          <p:cNvSpPr>
            <a:spLocks noChangeArrowheads="1"/>
          </p:cNvSpPr>
          <p:nvPr userDrawn="1"/>
        </p:nvSpPr>
        <p:spPr bwMode="auto">
          <a:xfrm>
            <a:off x="5797972" y="3176700"/>
            <a:ext cx="596059" cy="670222"/>
          </a:xfrm>
          <a:custGeom>
            <a:avLst/>
            <a:gdLst>
              <a:gd name="T0" fmla="*/ 479 w 959"/>
              <a:gd name="T1" fmla="*/ 1076 h 1077"/>
              <a:gd name="T2" fmla="*/ 958 w 959"/>
              <a:gd name="T3" fmla="*/ 0 h 1077"/>
              <a:gd name="T4" fmla="*/ 0 w 959"/>
              <a:gd name="T5" fmla="*/ 0 h 1077"/>
              <a:gd name="T6" fmla="*/ 479 w 959"/>
              <a:gd name="T7" fmla="*/ 1076 h 1077"/>
            </a:gdLst>
            <a:ahLst/>
            <a:cxnLst>
              <a:cxn ang="0">
                <a:pos x="T0" y="T1"/>
              </a:cxn>
              <a:cxn ang="0">
                <a:pos x="T2" y="T3"/>
              </a:cxn>
              <a:cxn ang="0">
                <a:pos x="T4" y="T5"/>
              </a:cxn>
              <a:cxn ang="0">
                <a:pos x="T6" y="T7"/>
              </a:cxn>
            </a:cxnLst>
            <a:rect l="0" t="0" r="r" b="b"/>
            <a:pathLst>
              <a:path w="959" h="1077">
                <a:moveTo>
                  <a:pt x="479" y="1076"/>
                </a:moveTo>
                <a:lnTo>
                  <a:pt x="958" y="0"/>
                </a:lnTo>
                <a:lnTo>
                  <a:pt x="0" y="0"/>
                </a:lnTo>
                <a:lnTo>
                  <a:pt x="479" y="1076"/>
                </a:lnTo>
              </a:path>
            </a:pathLst>
          </a:custGeom>
          <a:solidFill>
            <a:schemeClr val="accent3"/>
          </a:solidFill>
          <a:ln>
            <a:noFill/>
          </a:ln>
          <a:effectLst/>
        </p:spPr>
        <p:txBody>
          <a:bodyPr wrap="none" anchor="ctr"/>
          <a:lstStyle/>
          <a:p>
            <a:endParaRPr lang="en-US" sz="3265">
              <a:latin typeface="+mj-lt"/>
            </a:endParaRPr>
          </a:p>
        </p:txBody>
      </p:sp>
      <p:sp>
        <p:nvSpPr>
          <p:cNvPr id="37" name="Freeform 233">
            <a:extLst>
              <a:ext uri="{FF2B5EF4-FFF2-40B4-BE49-F238E27FC236}">
                <a16:creationId xmlns:a16="http://schemas.microsoft.com/office/drawing/2014/main" id="{9720E87A-CCE9-ED6B-F63E-0B92296C55AC}"/>
              </a:ext>
            </a:extLst>
          </p:cNvPr>
          <p:cNvSpPr>
            <a:spLocks noChangeArrowheads="1"/>
          </p:cNvSpPr>
          <p:nvPr userDrawn="1"/>
        </p:nvSpPr>
        <p:spPr bwMode="auto">
          <a:xfrm>
            <a:off x="5575420" y="2149332"/>
            <a:ext cx="1043910" cy="1043910"/>
          </a:xfrm>
          <a:custGeom>
            <a:avLst/>
            <a:gdLst>
              <a:gd name="T0" fmla="*/ 1446 w 1447"/>
              <a:gd name="T1" fmla="*/ 723 h 1447"/>
              <a:gd name="T2" fmla="*/ 1446 w 1447"/>
              <a:gd name="T3" fmla="*/ 723 h 1447"/>
              <a:gd name="T4" fmla="*/ 723 w 1447"/>
              <a:gd name="T5" fmla="*/ 1446 h 1447"/>
              <a:gd name="T6" fmla="*/ 723 w 1447"/>
              <a:gd name="T7" fmla="*/ 1446 h 1447"/>
              <a:gd name="T8" fmla="*/ 0 w 1447"/>
              <a:gd name="T9" fmla="*/ 723 h 1447"/>
              <a:gd name="T10" fmla="*/ 0 w 1447"/>
              <a:gd name="T11" fmla="*/ 723 h 1447"/>
              <a:gd name="T12" fmla="*/ 723 w 1447"/>
              <a:gd name="T13" fmla="*/ 0 h 1447"/>
              <a:gd name="T14" fmla="*/ 723 w 1447"/>
              <a:gd name="T15" fmla="*/ 0 h 1447"/>
              <a:gd name="T16" fmla="*/ 1446 w 1447"/>
              <a:gd name="T17" fmla="*/ 723 h 1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7" h="1447">
                <a:moveTo>
                  <a:pt x="1446" y="723"/>
                </a:moveTo>
                <a:lnTo>
                  <a:pt x="1446" y="723"/>
                </a:lnTo>
                <a:cubicBezTo>
                  <a:pt x="1446" y="1122"/>
                  <a:pt x="1122" y="1446"/>
                  <a:pt x="723" y="1446"/>
                </a:cubicBezTo>
                <a:lnTo>
                  <a:pt x="723" y="1446"/>
                </a:lnTo>
                <a:cubicBezTo>
                  <a:pt x="324" y="1446"/>
                  <a:pt x="0" y="1122"/>
                  <a:pt x="0" y="723"/>
                </a:cubicBezTo>
                <a:lnTo>
                  <a:pt x="0" y="723"/>
                </a:lnTo>
                <a:cubicBezTo>
                  <a:pt x="0" y="324"/>
                  <a:pt x="324" y="0"/>
                  <a:pt x="723" y="0"/>
                </a:cubicBezTo>
                <a:lnTo>
                  <a:pt x="723" y="0"/>
                </a:lnTo>
                <a:cubicBezTo>
                  <a:pt x="1122" y="0"/>
                  <a:pt x="1446" y="324"/>
                  <a:pt x="1446" y="723"/>
                </a:cubicBezTo>
              </a:path>
            </a:pathLst>
          </a:custGeom>
          <a:solidFill>
            <a:schemeClr val="bg1"/>
          </a:solidFill>
          <a:ln>
            <a:noFill/>
          </a:ln>
          <a:effectLst/>
        </p:spPr>
        <p:txBody>
          <a:bodyPr wrap="none" anchor="ctr"/>
          <a:lstStyle/>
          <a:p>
            <a:endParaRPr lang="en-US" sz="3265">
              <a:latin typeface="+mj-lt"/>
            </a:endParaRPr>
          </a:p>
        </p:txBody>
      </p:sp>
      <p:sp>
        <p:nvSpPr>
          <p:cNvPr id="38" name="Freeform 402">
            <a:extLst>
              <a:ext uri="{FF2B5EF4-FFF2-40B4-BE49-F238E27FC236}">
                <a16:creationId xmlns:a16="http://schemas.microsoft.com/office/drawing/2014/main" id="{D8CB932F-6EE0-F95D-AC62-1A3CC6BD0921}"/>
              </a:ext>
            </a:extLst>
          </p:cNvPr>
          <p:cNvSpPr>
            <a:spLocks noChangeArrowheads="1"/>
          </p:cNvSpPr>
          <p:nvPr userDrawn="1"/>
        </p:nvSpPr>
        <p:spPr bwMode="auto">
          <a:xfrm>
            <a:off x="6001236" y="4198513"/>
            <a:ext cx="186783" cy="186783"/>
          </a:xfrm>
          <a:custGeom>
            <a:avLst/>
            <a:gdLst>
              <a:gd name="T0" fmla="*/ 301 w 302"/>
              <a:gd name="T1" fmla="*/ 151 h 302"/>
              <a:gd name="T2" fmla="*/ 301 w 302"/>
              <a:gd name="T3" fmla="*/ 151 h 302"/>
              <a:gd name="T4" fmla="*/ 151 w 302"/>
              <a:gd name="T5" fmla="*/ 301 h 302"/>
              <a:gd name="T6" fmla="*/ 151 w 302"/>
              <a:gd name="T7" fmla="*/ 301 h 302"/>
              <a:gd name="T8" fmla="*/ 0 w 302"/>
              <a:gd name="T9" fmla="*/ 151 h 302"/>
              <a:gd name="T10" fmla="*/ 0 w 302"/>
              <a:gd name="T11" fmla="*/ 151 h 302"/>
              <a:gd name="T12" fmla="*/ 151 w 302"/>
              <a:gd name="T13" fmla="*/ 0 h 302"/>
              <a:gd name="T14" fmla="*/ 151 w 302"/>
              <a:gd name="T15" fmla="*/ 0 h 302"/>
              <a:gd name="T16" fmla="*/ 301 w 302"/>
              <a:gd name="T17" fmla="*/ 151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302">
                <a:moveTo>
                  <a:pt x="301" y="151"/>
                </a:moveTo>
                <a:lnTo>
                  <a:pt x="301" y="151"/>
                </a:lnTo>
                <a:cubicBezTo>
                  <a:pt x="301" y="233"/>
                  <a:pt x="234" y="301"/>
                  <a:pt x="151" y="301"/>
                </a:cubicBezTo>
                <a:lnTo>
                  <a:pt x="151" y="301"/>
                </a:lnTo>
                <a:cubicBezTo>
                  <a:pt x="68" y="301"/>
                  <a:pt x="0" y="233"/>
                  <a:pt x="0" y="151"/>
                </a:cubicBezTo>
                <a:lnTo>
                  <a:pt x="0" y="151"/>
                </a:lnTo>
                <a:cubicBezTo>
                  <a:pt x="0" y="68"/>
                  <a:pt x="68" y="0"/>
                  <a:pt x="151" y="0"/>
                </a:cubicBezTo>
                <a:lnTo>
                  <a:pt x="151" y="0"/>
                </a:lnTo>
                <a:cubicBezTo>
                  <a:pt x="234" y="0"/>
                  <a:pt x="301" y="68"/>
                  <a:pt x="301" y="151"/>
                </a:cubicBezTo>
              </a:path>
            </a:pathLst>
          </a:custGeom>
          <a:solidFill>
            <a:schemeClr val="accent3"/>
          </a:solidFill>
          <a:ln>
            <a:noFill/>
          </a:ln>
          <a:effectLst/>
        </p:spPr>
        <p:txBody>
          <a:bodyPr wrap="none" anchor="ctr"/>
          <a:lstStyle/>
          <a:p>
            <a:endParaRPr lang="en-US" sz="3265">
              <a:latin typeface="+mj-lt"/>
            </a:endParaRPr>
          </a:p>
        </p:txBody>
      </p:sp>
      <p:sp>
        <p:nvSpPr>
          <p:cNvPr id="39" name="Freeform 285">
            <a:extLst>
              <a:ext uri="{FF2B5EF4-FFF2-40B4-BE49-F238E27FC236}">
                <a16:creationId xmlns:a16="http://schemas.microsoft.com/office/drawing/2014/main" id="{69E107FF-C484-834D-EABF-B9AB05CDA0C8}"/>
              </a:ext>
            </a:extLst>
          </p:cNvPr>
          <p:cNvSpPr>
            <a:spLocks noChangeArrowheads="1"/>
          </p:cNvSpPr>
          <p:nvPr userDrawn="1"/>
        </p:nvSpPr>
        <p:spPr bwMode="auto">
          <a:xfrm>
            <a:off x="7538137" y="2039521"/>
            <a:ext cx="1266280" cy="1266280"/>
          </a:xfrm>
          <a:custGeom>
            <a:avLst/>
            <a:gdLst>
              <a:gd name="T0" fmla="*/ 2034 w 2035"/>
              <a:gd name="T1" fmla="*/ 1016 h 2034"/>
              <a:gd name="T2" fmla="*/ 2034 w 2035"/>
              <a:gd name="T3" fmla="*/ 1016 h 2034"/>
              <a:gd name="T4" fmla="*/ 1017 w 2035"/>
              <a:gd name="T5" fmla="*/ 2033 h 2034"/>
              <a:gd name="T6" fmla="*/ 1017 w 2035"/>
              <a:gd name="T7" fmla="*/ 2033 h 2034"/>
              <a:gd name="T8" fmla="*/ 0 w 2035"/>
              <a:gd name="T9" fmla="*/ 1016 h 2034"/>
              <a:gd name="T10" fmla="*/ 0 w 2035"/>
              <a:gd name="T11" fmla="*/ 1016 h 2034"/>
              <a:gd name="T12" fmla="*/ 1017 w 2035"/>
              <a:gd name="T13" fmla="*/ 0 h 2034"/>
              <a:gd name="T14" fmla="*/ 1017 w 2035"/>
              <a:gd name="T15" fmla="*/ 0 h 2034"/>
              <a:gd name="T16" fmla="*/ 2034 w 2035"/>
              <a:gd name="T17" fmla="*/ 1016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5" h="2034">
                <a:moveTo>
                  <a:pt x="2034" y="1016"/>
                </a:moveTo>
                <a:lnTo>
                  <a:pt x="2034" y="1016"/>
                </a:lnTo>
                <a:cubicBezTo>
                  <a:pt x="2034" y="1578"/>
                  <a:pt x="1578" y="2033"/>
                  <a:pt x="1017" y="2033"/>
                </a:cubicBezTo>
                <a:lnTo>
                  <a:pt x="1017" y="2033"/>
                </a:lnTo>
                <a:cubicBezTo>
                  <a:pt x="455" y="2033"/>
                  <a:pt x="0" y="1578"/>
                  <a:pt x="0" y="1016"/>
                </a:cubicBezTo>
                <a:lnTo>
                  <a:pt x="0" y="1016"/>
                </a:lnTo>
                <a:cubicBezTo>
                  <a:pt x="0" y="454"/>
                  <a:pt x="455" y="0"/>
                  <a:pt x="1017" y="0"/>
                </a:cubicBezTo>
                <a:lnTo>
                  <a:pt x="1017" y="0"/>
                </a:lnTo>
                <a:cubicBezTo>
                  <a:pt x="1578" y="0"/>
                  <a:pt x="2034" y="454"/>
                  <a:pt x="2034" y="1016"/>
                </a:cubicBezTo>
              </a:path>
            </a:pathLst>
          </a:custGeom>
          <a:solidFill>
            <a:schemeClr val="accent4"/>
          </a:solidFill>
          <a:ln>
            <a:noFill/>
          </a:ln>
          <a:effectLst/>
        </p:spPr>
        <p:txBody>
          <a:bodyPr wrap="none" anchor="ctr"/>
          <a:lstStyle/>
          <a:p>
            <a:endParaRPr lang="en-US" sz="3265">
              <a:latin typeface="+mj-lt"/>
            </a:endParaRPr>
          </a:p>
        </p:txBody>
      </p:sp>
      <p:sp>
        <p:nvSpPr>
          <p:cNvPr id="40" name="Freeform 286">
            <a:extLst>
              <a:ext uri="{FF2B5EF4-FFF2-40B4-BE49-F238E27FC236}">
                <a16:creationId xmlns:a16="http://schemas.microsoft.com/office/drawing/2014/main" id="{B93DB46E-B1A1-DB4E-2727-160CFE7D026B}"/>
              </a:ext>
            </a:extLst>
          </p:cNvPr>
          <p:cNvSpPr>
            <a:spLocks noChangeArrowheads="1"/>
          </p:cNvSpPr>
          <p:nvPr userDrawn="1"/>
        </p:nvSpPr>
        <p:spPr bwMode="auto">
          <a:xfrm>
            <a:off x="7873248" y="3176700"/>
            <a:ext cx="596059" cy="670222"/>
          </a:xfrm>
          <a:custGeom>
            <a:avLst/>
            <a:gdLst>
              <a:gd name="T0" fmla="*/ 479 w 959"/>
              <a:gd name="T1" fmla="*/ 1076 h 1077"/>
              <a:gd name="T2" fmla="*/ 958 w 959"/>
              <a:gd name="T3" fmla="*/ 0 h 1077"/>
              <a:gd name="T4" fmla="*/ 0 w 959"/>
              <a:gd name="T5" fmla="*/ 0 h 1077"/>
              <a:gd name="T6" fmla="*/ 479 w 959"/>
              <a:gd name="T7" fmla="*/ 1076 h 1077"/>
            </a:gdLst>
            <a:ahLst/>
            <a:cxnLst>
              <a:cxn ang="0">
                <a:pos x="T0" y="T1"/>
              </a:cxn>
              <a:cxn ang="0">
                <a:pos x="T2" y="T3"/>
              </a:cxn>
              <a:cxn ang="0">
                <a:pos x="T4" y="T5"/>
              </a:cxn>
              <a:cxn ang="0">
                <a:pos x="T6" y="T7"/>
              </a:cxn>
            </a:cxnLst>
            <a:rect l="0" t="0" r="r" b="b"/>
            <a:pathLst>
              <a:path w="959" h="1077">
                <a:moveTo>
                  <a:pt x="479" y="1076"/>
                </a:moveTo>
                <a:lnTo>
                  <a:pt x="958" y="0"/>
                </a:lnTo>
                <a:lnTo>
                  <a:pt x="0" y="0"/>
                </a:lnTo>
                <a:lnTo>
                  <a:pt x="479" y="1076"/>
                </a:lnTo>
              </a:path>
            </a:pathLst>
          </a:custGeom>
          <a:solidFill>
            <a:schemeClr val="accent4"/>
          </a:solidFill>
          <a:ln>
            <a:noFill/>
          </a:ln>
          <a:effectLst/>
        </p:spPr>
        <p:txBody>
          <a:bodyPr wrap="none" anchor="ctr"/>
          <a:lstStyle/>
          <a:p>
            <a:endParaRPr lang="en-US" sz="3265">
              <a:latin typeface="+mj-lt"/>
            </a:endParaRPr>
          </a:p>
        </p:txBody>
      </p:sp>
      <p:sp>
        <p:nvSpPr>
          <p:cNvPr id="41" name="Freeform 287">
            <a:extLst>
              <a:ext uri="{FF2B5EF4-FFF2-40B4-BE49-F238E27FC236}">
                <a16:creationId xmlns:a16="http://schemas.microsoft.com/office/drawing/2014/main" id="{F6D11C62-CC14-5025-E0AE-95793E27BB6E}"/>
              </a:ext>
            </a:extLst>
          </p:cNvPr>
          <p:cNvSpPr>
            <a:spLocks noChangeArrowheads="1"/>
          </p:cNvSpPr>
          <p:nvPr userDrawn="1"/>
        </p:nvSpPr>
        <p:spPr bwMode="auto">
          <a:xfrm>
            <a:off x="7647948" y="2149332"/>
            <a:ext cx="1043910" cy="1043910"/>
          </a:xfrm>
          <a:custGeom>
            <a:avLst/>
            <a:gdLst>
              <a:gd name="T0" fmla="*/ 1446 w 1447"/>
              <a:gd name="T1" fmla="*/ 723 h 1447"/>
              <a:gd name="T2" fmla="*/ 1446 w 1447"/>
              <a:gd name="T3" fmla="*/ 723 h 1447"/>
              <a:gd name="T4" fmla="*/ 723 w 1447"/>
              <a:gd name="T5" fmla="*/ 1446 h 1447"/>
              <a:gd name="T6" fmla="*/ 723 w 1447"/>
              <a:gd name="T7" fmla="*/ 1446 h 1447"/>
              <a:gd name="T8" fmla="*/ 0 w 1447"/>
              <a:gd name="T9" fmla="*/ 723 h 1447"/>
              <a:gd name="T10" fmla="*/ 0 w 1447"/>
              <a:gd name="T11" fmla="*/ 723 h 1447"/>
              <a:gd name="T12" fmla="*/ 723 w 1447"/>
              <a:gd name="T13" fmla="*/ 0 h 1447"/>
              <a:gd name="T14" fmla="*/ 723 w 1447"/>
              <a:gd name="T15" fmla="*/ 0 h 1447"/>
              <a:gd name="T16" fmla="*/ 1446 w 1447"/>
              <a:gd name="T17" fmla="*/ 723 h 1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7" h="1447">
                <a:moveTo>
                  <a:pt x="1446" y="723"/>
                </a:moveTo>
                <a:lnTo>
                  <a:pt x="1446" y="723"/>
                </a:lnTo>
                <a:cubicBezTo>
                  <a:pt x="1446" y="1122"/>
                  <a:pt x="1122" y="1446"/>
                  <a:pt x="723" y="1446"/>
                </a:cubicBezTo>
                <a:lnTo>
                  <a:pt x="723" y="1446"/>
                </a:lnTo>
                <a:cubicBezTo>
                  <a:pt x="324" y="1446"/>
                  <a:pt x="0" y="1122"/>
                  <a:pt x="0" y="723"/>
                </a:cubicBezTo>
                <a:lnTo>
                  <a:pt x="0" y="723"/>
                </a:lnTo>
                <a:cubicBezTo>
                  <a:pt x="0" y="324"/>
                  <a:pt x="324" y="0"/>
                  <a:pt x="723" y="0"/>
                </a:cubicBezTo>
                <a:lnTo>
                  <a:pt x="723" y="0"/>
                </a:lnTo>
                <a:cubicBezTo>
                  <a:pt x="1122" y="0"/>
                  <a:pt x="1446" y="324"/>
                  <a:pt x="1446" y="723"/>
                </a:cubicBezTo>
              </a:path>
            </a:pathLst>
          </a:custGeom>
          <a:solidFill>
            <a:schemeClr val="bg1"/>
          </a:solidFill>
          <a:ln>
            <a:noFill/>
          </a:ln>
          <a:effectLst/>
        </p:spPr>
        <p:txBody>
          <a:bodyPr wrap="none" anchor="ctr"/>
          <a:lstStyle/>
          <a:p>
            <a:endParaRPr lang="en-US" sz="3265">
              <a:latin typeface="+mj-lt"/>
            </a:endParaRPr>
          </a:p>
        </p:txBody>
      </p:sp>
      <p:sp>
        <p:nvSpPr>
          <p:cNvPr id="42" name="Freeform 403">
            <a:extLst>
              <a:ext uri="{FF2B5EF4-FFF2-40B4-BE49-F238E27FC236}">
                <a16:creationId xmlns:a16="http://schemas.microsoft.com/office/drawing/2014/main" id="{B415B4EB-C66E-0D83-B60E-77AB9C391931}"/>
              </a:ext>
            </a:extLst>
          </p:cNvPr>
          <p:cNvSpPr>
            <a:spLocks noChangeArrowheads="1"/>
          </p:cNvSpPr>
          <p:nvPr userDrawn="1"/>
        </p:nvSpPr>
        <p:spPr bwMode="auto">
          <a:xfrm>
            <a:off x="8076512" y="4198513"/>
            <a:ext cx="186783" cy="186783"/>
          </a:xfrm>
          <a:custGeom>
            <a:avLst/>
            <a:gdLst>
              <a:gd name="T0" fmla="*/ 301 w 302"/>
              <a:gd name="T1" fmla="*/ 151 h 302"/>
              <a:gd name="T2" fmla="*/ 301 w 302"/>
              <a:gd name="T3" fmla="*/ 151 h 302"/>
              <a:gd name="T4" fmla="*/ 151 w 302"/>
              <a:gd name="T5" fmla="*/ 301 h 302"/>
              <a:gd name="T6" fmla="*/ 151 w 302"/>
              <a:gd name="T7" fmla="*/ 301 h 302"/>
              <a:gd name="T8" fmla="*/ 0 w 302"/>
              <a:gd name="T9" fmla="*/ 151 h 302"/>
              <a:gd name="T10" fmla="*/ 0 w 302"/>
              <a:gd name="T11" fmla="*/ 151 h 302"/>
              <a:gd name="T12" fmla="*/ 151 w 302"/>
              <a:gd name="T13" fmla="*/ 0 h 302"/>
              <a:gd name="T14" fmla="*/ 151 w 302"/>
              <a:gd name="T15" fmla="*/ 0 h 302"/>
              <a:gd name="T16" fmla="*/ 301 w 302"/>
              <a:gd name="T17" fmla="*/ 151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2" h="302">
                <a:moveTo>
                  <a:pt x="301" y="151"/>
                </a:moveTo>
                <a:lnTo>
                  <a:pt x="301" y="151"/>
                </a:lnTo>
                <a:cubicBezTo>
                  <a:pt x="301" y="233"/>
                  <a:pt x="233" y="301"/>
                  <a:pt x="151" y="301"/>
                </a:cubicBezTo>
                <a:lnTo>
                  <a:pt x="151" y="301"/>
                </a:lnTo>
                <a:cubicBezTo>
                  <a:pt x="68" y="301"/>
                  <a:pt x="0" y="233"/>
                  <a:pt x="0" y="151"/>
                </a:cubicBezTo>
                <a:lnTo>
                  <a:pt x="0" y="151"/>
                </a:lnTo>
                <a:cubicBezTo>
                  <a:pt x="0" y="68"/>
                  <a:pt x="68" y="0"/>
                  <a:pt x="151" y="0"/>
                </a:cubicBezTo>
                <a:lnTo>
                  <a:pt x="151" y="0"/>
                </a:lnTo>
                <a:cubicBezTo>
                  <a:pt x="233" y="0"/>
                  <a:pt x="301" y="68"/>
                  <a:pt x="301" y="151"/>
                </a:cubicBezTo>
              </a:path>
            </a:pathLst>
          </a:custGeom>
          <a:solidFill>
            <a:schemeClr val="accent4"/>
          </a:solidFill>
          <a:ln>
            <a:noFill/>
          </a:ln>
          <a:effectLst/>
        </p:spPr>
        <p:txBody>
          <a:bodyPr wrap="none" anchor="ctr"/>
          <a:lstStyle/>
          <a:p>
            <a:endParaRPr lang="en-US" sz="3265">
              <a:latin typeface="+mj-lt"/>
            </a:endParaRPr>
          </a:p>
        </p:txBody>
      </p:sp>
      <p:sp>
        <p:nvSpPr>
          <p:cNvPr id="43" name="Freeform 343">
            <a:extLst>
              <a:ext uri="{FF2B5EF4-FFF2-40B4-BE49-F238E27FC236}">
                <a16:creationId xmlns:a16="http://schemas.microsoft.com/office/drawing/2014/main" id="{CDB0EC0B-0857-5BD2-5E17-08190C55FC48}"/>
              </a:ext>
            </a:extLst>
          </p:cNvPr>
          <p:cNvSpPr>
            <a:spLocks noChangeArrowheads="1"/>
          </p:cNvSpPr>
          <p:nvPr userDrawn="1"/>
        </p:nvSpPr>
        <p:spPr bwMode="auto">
          <a:xfrm>
            <a:off x="9613412" y="2039521"/>
            <a:ext cx="1266279" cy="1266280"/>
          </a:xfrm>
          <a:custGeom>
            <a:avLst/>
            <a:gdLst>
              <a:gd name="T0" fmla="*/ 2034 w 2035"/>
              <a:gd name="T1" fmla="*/ 1016 h 2034"/>
              <a:gd name="T2" fmla="*/ 2034 w 2035"/>
              <a:gd name="T3" fmla="*/ 1016 h 2034"/>
              <a:gd name="T4" fmla="*/ 1017 w 2035"/>
              <a:gd name="T5" fmla="*/ 2033 h 2034"/>
              <a:gd name="T6" fmla="*/ 1017 w 2035"/>
              <a:gd name="T7" fmla="*/ 2033 h 2034"/>
              <a:gd name="T8" fmla="*/ 0 w 2035"/>
              <a:gd name="T9" fmla="*/ 1016 h 2034"/>
              <a:gd name="T10" fmla="*/ 0 w 2035"/>
              <a:gd name="T11" fmla="*/ 1016 h 2034"/>
              <a:gd name="T12" fmla="*/ 1017 w 2035"/>
              <a:gd name="T13" fmla="*/ 0 h 2034"/>
              <a:gd name="T14" fmla="*/ 1017 w 2035"/>
              <a:gd name="T15" fmla="*/ 0 h 2034"/>
              <a:gd name="T16" fmla="*/ 2034 w 2035"/>
              <a:gd name="T17" fmla="*/ 1016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5" h="2034">
                <a:moveTo>
                  <a:pt x="2034" y="1016"/>
                </a:moveTo>
                <a:lnTo>
                  <a:pt x="2034" y="1016"/>
                </a:lnTo>
                <a:cubicBezTo>
                  <a:pt x="2034" y="1578"/>
                  <a:pt x="1578" y="2033"/>
                  <a:pt x="1017" y="2033"/>
                </a:cubicBezTo>
                <a:lnTo>
                  <a:pt x="1017" y="2033"/>
                </a:lnTo>
                <a:cubicBezTo>
                  <a:pt x="455" y="2033"/>
                  <a:pt x="0" y="1578"/>
                  <a:pt x="0" y="1016"/>
                </a:cubicBezTo>
                <a:lnTo>
                  <a:pt x="0" y="1016"/>
                </a:lnTo>
                <a:cubicBezTo>
                  <a:pt x="0" y="454"/>
                  <a:pt x="455" y="0"/>
                  <a:pt x="1017" y="0"/>
                </a:cubicBezTo>
                <a:lnTo>
                  <a:pt x="1017" y="0"/>
                </a:lnTo>
                <a:cubicBezTo>
                  <a:pt x="1578" y="0"/>
                  <a:pt x="2034" y="454"/>
                  <a:pt x="2034" y="1016"/>
                </a:cubicBezTo>
              </a:path>
            </a:pathLst>
          </a:custGeom>
          <a:solidFill>
            <a:schemeClr val="accent5"/>
          </a:solidFill>
          <a:ln>
            <a:noFill/>
          </a:ln>
          <a:effectLst/>
        </p:spPr>
        <p:txBody>
          <a:bodyPr wrap="none" anchor="ctr"/>
          <a:lstStyle/>
          <a:p>
            <a:endParaRPr lang="en-US" sz="3265">
              <a:latin typeface="+mj-lt"/>
            </a:endParaRPr>
          </a:p>
        </p:txBody>
      </p:sp>
      <p:sp>
        <p:nvSpPr>
          <p:cNvPr id="44" name="Freeform 344">
            <a:extLst>
              <a:ext uri="{FF2B5EF4-FFF2-40B4-BE49-F238E27FC236}">
                <a16:creationId xmlns:a16="http://schemas.microsoft.com/office/drawing/2014/main" id="{06525A19-FAFE-F7C0-207A-7BC386681513}"/>
              </a:ext>
            </a:extLst>
          </p:cNvPr>
          <p:cNvSpPr>
            <a:spLocks noChangeArrowheads="1"/>
          </p:cNvSpPr>
          <p:nvPr userDrawn="1"/>
        </p:nvSpPr>
        <p:spPr bwMode="auto">
          <a:xfrm>
            <a:off x="9948523" y="3176700"/>
            <a:ext cx="596057" cy="670222"/>
          </a:xfrm>
          <a:custGeom>
            <a:avLst/>
            <a:gdLst>
              <a:gd name="T0" fmla="*/ 479 w 958"/>
              <a:gd name="T1" fmla="*/ 1076 h 1077"/>
              <a:gd name="T2" fmla="*/ 957 w 958"/>
              <a:gd name="T3" fmla="*/ 0 h 1077"/>
              <a:gd name="T4" fmla="*/ 0 w 958"/>
              <a:gd name="T5" fmla="*/ 0 h 1077"/>
              <a:gd name="T6" fmla="*/ 479 w 958"/>
              <a:gd name="T7" fmla="*/ 1076 h 1077"/>
            </a:gdLst>
            <a:ahLst/>
            <a:cxnLst>
              <a:cxn ang="0">
                <a:pos x="T0" y="T1"/>
              </a:cxn>
              <a:cxn ang="0">
                <a:pos x="T2" y="T3"/>
              </a:cxn>
              <a:cxn ang="0">
                <a:pos x="T4" y="T5"/>
              </a:cxn>
              <a:cxn ang="0">
                <a:pos x="T6" y="T7"/>
              </a:cxn>
            </a:cxnLst>
            <a:rect l="0" t="0" r="r" b="b"/>
            <a:pathLst>
              <a:path w="958" h="1077">
                <a:moveTo>
                  <a:pt x="479" y="1076"/>
                </a:moveTo>
                <a:lnTo>
                  <a:pt x="957" y="0"/>
                </a:lnTo>
                <a:lnTo>
                  <a:pt x="0" y="0"/>
                </a:lnTo>
                <a:lnTo>
                  <a:pt x="479" y="1076"/>
                </a:lnTo>
              </a:path>
            </a:pathLst>
          </a:custGeom>
          <a:solidFill>
            <a:schemeClr val="accent5"/>
          </a:solidFill>
          <a:ln>
            <a:noFill/>
          </a:ln>
          <a:effectLst/>
        </p:spPr>
        <p:txBody>
          <a:bodyPr wrap="none" anchor="ctr"/>
          <a:lstStyle/>
          <a:p>
            <a:endParaRPr lang="en-US" sz="3265">
              <a:latin typeface="+mj-lt"/>
            </a:endParaRPr>
          </a:p>
        </p:txBody>
      </p:sp>
      <p:sp>
        <p:nvSpPr>
          <p:cNvPr id="45" name="Freeform 345">
            <a:extLst>
              <a:ext uri="{FF2B5EF4-FFF2-40B4-BE49-F238E27FC236}">
                <a16:creationId xmlns:a16="http://schemas.microsoft.com/office/drawing/2014/main" id="{DEF5F8DB-C774-0414-9616-80EFBA25C9AC}"/>
              </a:ext>
            </a:extLst>
          </p:cNvPr>
          <p:cNvSpPr>
            <a:spLocks noChangeArrowheads="1"/>
          </p:cNvSpPr>
          <p:nvPr userDrawn="1"/>
        </p:nvSpPr>
        <p:spPr bwMode="auto">
          <a:xfrm>
            <a:off x="9725968" y="2149332"/>
            <a:ext cx="1043910" cy="1043910"/>
          </a:xfrm>
          <a:custGeom>
            <a:avLst/>
            <a:gdLst>
              <a:gd name="T0" fmla="*/ 1446 w 1447"/>
              <a:gd name="T1" fmla="*/ 723 h 1447"/>
              <a:gd name="T2" fmla="*/ 1446 w 1447"/>
              <a:gd name="T3" fmla="*/ 723 h 1447"/>
              <a:gd name="T4" fmla="*/ 723 w 1447"/>
              <a:gd name="T5" fmla="*/ 1446 h 1447"/>
              <a:gd name="T6" fmla="*/ 723 w 1447"/>
              <a:gd name="T7" fmla="*/ 1446 h 1447"/>
              <a:gd name="T8" fmla="*/ 0 w 1447"/>
              <a:gd name="T9" fmla="*/ 723 h 1447"/>
              <a:gd name="T10" fmla="*/ 0 w 1447"/>
              <a:gd name="T11" fmla="*/ 723 h 1447"/>
              <a:gd name="T12" fmla="*/ 723 w 1447"/>
              <a:gd name="T13" fmla="*/ 0 h 1447"/>
              <a:gd name="T14" fmla="*/ 723 w 1447"/>
              <a:gd name="T15" fmla="*/ 0 h 1447"/>
              <a:gd name="T16" fmla="*/ 1446 w 1447"/>
              <a:gd name="T17" fmla="*/ 723 h 1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7" h="1447">
                <a:moveTo>
                  <a:pt x="1446" y="723"/>
                </a:moveTo>
                <a:lnTo>
                  <a:pt x="1446" y="723"/>
                </a:lnTo>
                <a:cubicBezTo>
                  <a:pt x="1446" y="1122"/>
                  <a:pt x="1121" y="1446"/>
                  <a:pt x="723" y="1446"/>
                </a:cubicBezTo>
                <a:lnTo>
                  <a:pt x="723" y="1446"/>
                </a:lnTo>
                <a:cubicBezTo>
                  <a:pt x="323" y="1446"/>
                  <a:pt x="0" y="1122"/>
                  <a:pt x="0" y="723"/>
                </a:cubicBezTo>
                <a:lnTo>
                  <a:pt x="0" y="723"/>
                </a:lnTo>
                <a:cubicBezTo>
                  <a:pt x="0" y="324"/>
                  <a:pt x="323" y="0"/>
                  <a:pt x="723" y="0"/>
                </a:cubicBezTo>
                <a:lnTo>
                  <a:pt x="723" y="0"/>
                </a:lnTo>
                <a:cubicBezTo>
                  <a:pt x="1121" y="0"/>
                  <a:pt x="1446" y="324"/>
                  <a:pt x="1446" y="723"/>
                </a:cubicBezTo>
              </a:path>
            </a:pathLst>
          </a:custGeom>
          <a:solidFill>
            <a:schemeClr val="bg1"/>
          </a:solidFill>
          <a:ln>
            <a:noFill/>
          </a:ln>
          <a:effectLst/>
        </p:spPr>
        <p:txBody>
          <a:bodyPr wrap="none" anchor="ctr"/>
          <a:lstStyle/>
          <a:p>
            <a:endParaRPr lang="en-US" sz="3265">
              <a:latin typeface="+mj-lt"/>
            </a:endParaRPr>
          </a:p>
        </p:txBody>
      </p:sp>
      <p:sp>
        <p:nvSpPr>
          <p:cNvPr id="46" name="Freeform 404">
            <a:extLst>
              <a:ext uri="{FF2B5EF4-FFF2-40B4-BE49-F238E27FC236}">
                <a16:creationId xmlns:a16="http://schemas.microsoft.com/office/drawing/2014/main" id="{F50D1160-B39B-ED41-EA86-893B7071812C}"/>
              </a:ext>
            </a:extLst>
          </p:cNvPr>
          <p:cNvSpPr>
            <a:spLocks noChangeArrowheads="1"/>
          </p:cNvSpPr>
          <p:nvPr userDrawn="1"/>
        </p:nvSpPr>
        <p:spPr bwMode="auto">
          <a:xfrm>
            <a:off x="10154531" y="4198513"/>
            <a:ext cx="186783" cy="186783"/>
          </a:xfrm>
          <a:custGeom>
            <a:avLst/>
            <a:gdLst>
              <a:gd name="T0" fmla="*/ 300 w 301"/>
              <a:gd name="T1" fmla="*/ 151 h 302"/>
              <a:gd name="T2" fmla="*/ 300 w 301"/>
              <a:gd name="T3" fmla="*/ 151 h 302"/>
              <a:gd name="T4" fmla="*/ 151 w 301"/>
              <a:gd name="T5" fmla="*/ 301 h 302"/>
              <a:gd name="T6" fmla="*/ 151 w 301"/>
              <a:gd name="T7" fmla="*/ 301 h 302"/>
              <a:gd name="T8" fmla="*/ 0 w 301"/>
              <a:gd name="T9" fmla="*/ 151 h 302"/>
              <a:gd name="T10" fmla="*/ 0 w 301"/>
              <a:gd name="T11" fmla="*/ 151 h 302"/>
              <a:gd name="T12" fmla="*/ 151 w 301"/>
              <a:gd name="T13" fmla="*/ 0 h 302"/>
              <a:gd name="T14" fmla="*/ 151 w 301"/>
              <a:gd name="T15" fmla="*/ 0 h 302"/>
              <a:gd name="T16" fmla="*/ 300 w 301"/>
              <a:gd name="T17" fmla="*/ 151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 h="302">
                <a:moveTo>
                  <a:pt x="300" y="151"/>
                </a:moveTo>
                <a:lnTo>
                  <a:pt x="300" y="151"/>
                </a:lnTo>
                <a:cubicBezTo>
                  <a:pt x="300" y="233"/>
                  <a:pt x="233" y="301"/>
                  <a:pt x="151" y="301"/>
                </a:cubicBezTo>
                <a:lnTo>
                  <a:pt x="151" y="301"/>
                </a:lnTo>
                <a:cubicBezTo>
                  <a:pt x="68" y="301"/>
                  <a:pt x="0" y="233"/>
                  <a:pt x="0" y="151"/>
                </a:cubicBezTo>
                <a:lnTo>
                  <a:pt x="0" y="151"/>
                </a:lnTo>
                <a:cubicBezTo>
                  <a:pt x="0" y="68"/>
                  <a:pt x="68" y="0"/>
                  <a:pt x="151" y="0"/>
                </a:cubicBezTo>
                <a:lnTo>
                  <a:pt x="151" y="0"/>
                </a:lnTo>
                <a:cubicBezTo>
                  <a:pt x="233" y="0"/>
                  <a:pt x="300" y="68"/>
                  <a:pt x="300" y="151"/>
                </a:cubicBezTo>
              </a:path>
            </a:pathLst>
          </a:custGeom>
          <a:solidFill>
            <a:schemeClr val="accent5"/>
          </a:solidFill>
          <a:ln>
            <a:noFill/>
          </a:ln>
          <a:effectLst/>
        </p:spPr>
        <p:txBody>
          <a:bodyPr wrap="none" anchor="ctr"/>
          <a:lstStyle/>
          <a:p>
            <a:endParaRPr lang="en-US" sz="3265">
              <a:latin typeface="+mj-lt"/>
            </a:endParaRPr>
          </a:p>
        </p:txBody>
      </p:sp>
      <p:sp>
        <p:nvSpPr>
          <p:cNvPr id="57" name="Title 1">
            <a:extLst>
              <a:ext uri="{FF2B5EF4-FFF2-40B4-BE49-F238E27FC236}">
                <a16:creationId xmlns:a16="http://schemas.microsoft.com/office/drawing/2014/main" id="{EE7CE98B-37CC-7E1C-0F62-202280A5F465}"/>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
        <p:nvSpPr>
          <p:cNvPr id="58" name="Text Placeholder 35">
            <a:extLst>
              <a:ext uri="{FF2B5EF4-FFF2-40B4-BE49-F238E27FC236}">
                <a16:creationId xmlns:a16="http://schemas.microsoft.com/office/drawing/2014/main" id="{EC2E1E22-B91E-96C6-C954-BC4516906ADF}"/>
              </a:ext>
            </a:extLst>
          </p:cNvPr>
          <p:cNvSpPr>
            <a:spLocks noGrp="1"/>
          </p:cNvSpPr>
          <p:nvPr>
            <p:ph type="body" sz="quarter" idx="56" hasCustomPrompt="1"/>
          </p:nvPr>
        </p:nvSpPr>
        <p:spPr>
          <a:xfrm>
            <a:off x="1324462" y="2505440"/>
            <a:ext cx="1254128" cy="331694"/>
          </a:xfrm>
        </p:spPr>
        <p:txBody>
          <a:bodyPr anchor="b">
            <a:noAutofit/>
          </a:bodyPr>
          <a:lstStyle>
            <a:lvl1pPr marL="0" indent="0" algn="ctr">
              <a:buNone/>
              <a:defRPr sz="18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YEAR</a:t>
            </a:r>
          </a:p>
        </p:txBody>
      </p:sp>
      <p:sp>
        <p:nvSpPr>
          <p:cNvPr id="60" name="Text Placeholder 35">
            <a:extLst>
              <a:ext uri="{FF2B5EF4-FFF2-40B4-BE49-F238E27FC236}">
                <a16:creationId xmlns:a16="http://schemas.microsoft.com/office/drawing/2014/main" id="{A988B91E-CA15-31C6-1227-94E4ACE10175}"/>
              </a:ext>
            </a:extLst>
          </p:cNvPr>
          <p:cNvSpPr>
            <a:spLocks noGrp="1"/>
          </p:cNvSpPr>
          <p:nvPr>
            <p:ph type="body" sz="quarter" idx="57" hasCustomPrompt="1"/>
          </p:nvPr>
        </p:nvSpPr>
        <p:spPr>
          <a:xfrm>
            <a:off x="3401740" y="2505440"/>
            <a:ext cx="1254128" cy="331694"/>
          </a:xfrm>
        </p:spPr>
        <p:txBody>
          <a:bodyPr anchor="b">
            <a:noAutofit/>
          </a:bodyPr>
          <a:lstStyle>
            <a:lvl1pPr marL="0" indent="0" algn="ctr">
              <a:buNone/>
              <a:defRPr sz="18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YEAR</a:t>
            </a:r>
          </a:p>
        </p:txBody>
      </p:sp>
      <p:sp>
        <p:nvSpPr>
          <p:cNvPr id="61" name="Text Placeholder 35">
            <a:extLst>
              <a:ext uri="{FF2B5EF4-FFF2-40B4-BE49-F238E27FC236}">
                <a16:creationId xmlns:a16="http://schemas.microsoft.com/office/drawing/2014/main" id="{A4BE7A31-43DF-789B-D8D2-2F732C0D6897}"/>
              </a:ext>
            </a:extLst>
          </p:cNvPr>
          <p:cNvSpPr>
            <a:spLocks noGrp="1"/>
          </p:cNvSpPr>
          <p:nvPr>
            <p:ph type="body" sz="quarter" idx="58" hasCustomPrompt="1"/>
          </p:nvPr>
        </p:nvSpPr>
        <p:spPr>
          <a:xfrm>
            <a:off x="5459140" y="2505440"/>
            <a:ext cx="1254128" cy="331694"/>
          </a:xfrm>
        </p:spPr>
        <p:txBody>
          <a:bodyPr anchor="b">
            <a:noAutofit/>
          </a:bodyPr>
          <a:lstStyle>
            <a:lvl1pPr marL="0" indent="0" algn="ctr">
              <a:buNone/>
              <a:defRPr sz="18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YEAR</a:t>
            </a:r>
          </a:p>
        </p:txBody>
      </p:sp>
      <p:sp>
        <p:nvSpPr>
          <p:cNvPr id="62" name="Text Placeholder 35">
            <a:extLst>
              <a:ext uri="{FF2B5EF4-FFF2-40B4-BE49-F238E27FC236}">
                <a16:creationId xmlns:a16="http://schemas.microsoft.com/office/drawing/2014/main" id="{0F97A6FB-CDA7-684B-FEC9-217831698305}"/>
              </a:ext>
            </a:extLst>
          </p:cNvPr>
          <p:cNvSpPr>
            <a:spLocks noGrp="1"/>
          </p:cNvSpPr>
          <p:nvPr>
            <p:ph type="body" sz="quarter" idx="59" hasCustomPrompt="1"/>
          </p:nvPr>
        </p:nvSpPr>
        <p:spPr>
          <a:xfrm>
            <a:off x="7546357" y="2505440"/>
            <a:ext cx="1254128" cy="331694"/>
          </a:xfrm>
        </p:spPr>
        <p:txBody>
          <a:bodyPr anchor="b">
            <a:noAutofit/>
          </a:bodyPr>
          <a:lstStyle>
            <a:lvl1pPr marL="0" indent="0" algn="ctr">
              <a:buNone/>
              <a:defRPr sz="18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YEAR</a:t>
            </a:r>
          </a:p>
        </p:txBody>
      </p:sp>
      <p:sp>
        <p:nvSpPr>
          <p:cNvPr id="63" name="Text Placeholder 35">
            <a:extLst>
              <a:ext uri="{FF2B5EF4-FFF2-40B4-BE49-F238E27FC236}">
                <a16:creationId xmlns:a16="http://schemas.microsoft.com/office/drawing/2014/main" id="{8CCDBF00-0603-7333-3162-7576E0AD8663}"/>
              </a:ext>
            </a:extLst>
          </p:cNvPr>
          <p:cNvSpPr>
            <a:spLocks noGrp="1"/>
          </p:cNvSpPr>
          <p:nvPr>
            <p:ph type="body" sz="quarter" idx="60" hasCustomPrompt="1"/>
          </p:nvPr>
        </p:nvSpPr>
        <p:spPr>
          <a:xfrm>
            <a:off x="9623635" y="2505440"/>
            <a:ext cx="1254128" cy="331694"/>
          </a:xfrm>
        </p:spPr>
        <p:txBody>
          <a:bodyPr anchor="b">
            <a:noAutofit/>
          </a:bodyPr>
          <a:lstStyle>
            <a:lvl1pPr marL="0" indent="0" algn="ctr">
              <a:buNone/>
              <a:defRPr sz="18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YEAR</a:t>
            </a:r>
          </a:p>
        </p:txBody>
      </p:sp>
      <p:sp>
        <p:nvSpPr>
          <p:cNvPr id="64" name="Text Placeholder 2">
            <a:extLst>
              <a:ext uri="{FF2B5EF4-FFF2-40B4-BE49-F238E27FC236}">
                <a16:creationId xmlns:a16="http://schemas.microsoft.com/office/drawing/2014/main" id="{FB132046-B6E2-FEDE-66CE-1CECAD71E4D8}"/>
              </a:ext>
            </a:extLst>
          </p:cNvPr>
          <p:cNvSpPr>
            <a:spLocks noGrp="1"/>
          </p:cNvSpPr>
          <p:nvPr>
            <p:ph type="body" idx="61" hasCustomPrompt="1"/>
          </p:nvPr>
        </p:nvSpPr>
        <p:spPr>
          <a:xfrm>
            <a:off x="1127420" y="4667180"/>
            <a:ext cx="1636060" cy="1107746"/>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65" name="Text Placeholder 2">
            <a:extLst>
              <a:ext uri="{FF2B5EF4-FFF2-40B4-BE49-F238E27FC236}">
                <a16:creationId xmlns:a16="http://schemas.microsoft.com/office/drawing/2014/main" id="{AF6B5A56-B7BF-38B2-A5AE-EEF8E58FAA29}"/>
              </a:ext>
            </a:extLst>
          </p:cNvPr>
          <p:cNvSpPr>
            <a:spLocks noGrp="1"/>
          </p:cNvSpPr>
          <p:nvPr>
            <p:ph type="body" idx="62" hasCustomPrompt="1"/>
          </p:nvPr>
        </p:nvSpPr>
        <p:spPr>
          <a:xfrm>
            <a:off x="3204698" y="4667180"/>
            <a:ext cx="1636060" cy="1107746"/>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66" name="Text Placeholder 2">
            <a:extLst>
              <a:ext uri="{FF2B5EF4-FFF2-40B4-BE49-F238E27FC236}">
                <a16:creationId xmlns:a16="http://schemas.microsoft.com/office/drawing/2014/main" id="{32759FCC-DF49-289F-E898-B70696A7EBCB}"/>
              </a:ext>
            </a:extLst>
          </p:cNvPr>
          <p:cNvSpPr>
            <a:spLocks noGrp="1"/>
          </p:cNvSpPr>
          <p:nvPr>
            <p:ph type="body" idx="63" hasCustomPrompt="1"/>
          </p:nvPr>
        </p:nvSpPr>
        <p:spPr>
          <a:xfrm>
            <a:off x="5291916" y="4667180"/>
            <a:ext cx="1636060" cy="1107746"/>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67" name="Text Placeholder 2">
            <a:extLst>
              <a:ext uri="{FF2B5EF4-FFF2-40B4-BE49-F238E27FC236}">
                <a16:creationId xmlns:a16="http://schemas.microsoft.com/office/drawing/2014/main" id="{CCB92C19-607B-CA51-3759-280E8CE9E62F}"/>
              </a:ext>
            </a:extLst>
          </p:cNvPr>
          <p:cNvSpPr>
            <a:spLocks noGrp="1"/>
          </p:cNvSpPr>
          <p:nvPr>
            <p:ph type="body" idx="64" hasCustomPrompt="1"/>
          </p:nvPr>
        </p:nvSpPr>
        <p:spPr>
          <a:xfrm>
            <a:off x="7359256" y="4667180"/>
            <a:ext cx="1636060" cy="1107746"/>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68" name="Text Placeholder 2">
            <a:extLst>
              <a:ext uri="{FF2B5EF4-FFF2-40B4-BE49-F238E27FC236}">
                <a16:creationId xmlns:a16="http://schemas.microsoft.com/office/drawing/2014/main" id="{131E8743-EE46-40F7-3BA3-A17B6A772E48}"/>
              </a:ext>
            </a:extLst>
          </p:cNvPr>
          <p:cNvSpPr>
            <a:spLocks noGrp="1"/>
          </p:cNvSpPr>
          <p:nvPr>
            <p:ph type="body" idx="65" hasCustomPrompt="1"/>
          </p:nvPr>
        </p:nvSpPr>
        <p:spPr>
          <a:xfrm>
            <a:off x="9436534" y="4667180"/>
            <a:ext cx="1636060" cy="1107746"/>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Tree>
    <p:extLst>
      <p:ext uri="{BB962C8B-B14F-4D97-AF65-F5344CB8AC3E}">
        <p14:creationId xmlns:p14="http://schemas.microsoft.com/office/powerpoint/2010/main" val="379380186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06AA12FB-9C44-3248-0C54-126859B79B24}"/>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reeform 2">
            <a:extLst>
              <a:ext uri="{FF2B5EF4-FFF2-40B4-BE49-F238E27FC236}">
                <a16:creationId xmlns:a16="http://schemas.microsoft.com/office/drawing/2014/main" id="{0633CFDC-D39A-BE88-0446-19590E799C61}"/>
              </a:ext>
            </a:extLst>
          </p:cNvPr>
          <p:cNvSpPr>
            <a:spLocks noChangeArrowheads="1"/>
          </p:cNvSpPr>
          <p:nvPr userDrawn="1"/>
        </p:nvSpPr>
        <p:spPr bwMode="auto">
          <a:xfrm>
            <a:off x="794658" y="4772767"/>
            <a:ext cx="10602685" cy="63176"/>
          </a:xfrm>
          <a:custGeom>
            <a:avLst/>
            <a:gdLst>
              <a:gd name="T0" fmla="*/ 51 w 17022"/>
              <a:gd name="T1" fmla="*/ 0 h 103"/>
              <a:gd name="T2" fmla="*/ 16970 w 17022"/>
              <a:gd name="T3" fmla="*/ 0 h 103"/>
              <a:gd name="T4" fmla="*/ 16970 w 17022"/>
              <a:gd name="T5" fmla="*/ 0 h 103"/>
              <a:gd name="T6" fmla="*/ 17021 w 17022"/>
              <a:gd name="T7" fmla="*/ 51 h 103"/>
              <a:gd name="T8" fmla="*/ 17021 w 17022"/>
              <a:gd name="T9" fmla="*/ 51 h 103"/>
              <a:gd name="T10" fmla="*/ 16970 w 17022"/>
              <a:gd name="T11" fmla="*/ 102 h 103"/>
              <a:gd name="T12" fmla="*/ 51 w 17022"/>
              <a:gd name="T13" fmla="*/ 102 h 103"/>
              <a:gd name="T14" fmla="*/ 51 w 17022"/>
              <a:gd name="T15" fmla="*/ 102 h 103"/>
              <a:gd name="T16" fmla="*/ 0 w 17022"/>
              <a:gd name="T17" fmla="*/ 51 h 103"/>
              <a:gd name="T18" fmla="*/ 0 w 17022"/>
              <a:gd name="T19" fmla="*/ 51 h 103"/>
              <a:gd name="T20" fmla="*/ 51 w 17022"/>
              <a:gd name="T2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22" h="103">
                <a:moveTo>
                  <a:pt x="51" y="0"/>
                </a:moveTo>
                <a:lnTo>
                  <a:pt x="16970" y="0"/>
                </a:lnTo>
                <a:lnTo>
                  <a:pt x="16970" y="0"/>
                </a:lnTo>
                <a:cubicBezTo>
                  <a:pt x="16998" y="0"/>
                  <a:pt x="17021" y="23"/>
                  <a:pt x="17021" y="51"/>
                </a:cubicBezTo>
                <a:lnTo>
                  <a:pt x="17021" y="51"/>
                </a:lnTo>
                <a:cubicBezTo>
                  <a:pt x="17021" y="79"/>
                  <a:pt x="16998" y="102"/>
                  <a:pt x="16970" y="102"/>
                </a:cubicBezTo>
                <a:lnTo>
                  <a:pt x="51" y="102"/>
                </a:lnTo>
                <a:lnTo>
                  <a:pt x="51" y="102"/>
                </a:lnTo>
                <a:cubicBezTo>
                  <a:pt x="23" y="102"/>
                  <a:pt x="0" y="79"/>
                  <a:pt x="0" y="51"/>
                </a:cubicBezTo>
                <a:lnTo>
                  <a:pt x="0" y="51"/>
                </a:lnTo>
                <a:cubicBezTo>
                  <a:pt x="0" y="23"/>
                  <a:pt x="23" y="0"/>
                  <a:pt x="51" y="0"/>
                </a:cubicBezTo>
              </a:path>
            </a:pathLst>
          </a:custGeom>
          <a:solidFill>
            <a:schemeClr val="bg1">
              <a:lumMod val="95000"/>
            </a:schemeClr>
          </a:solidFill>
          <a:ln>
            <a:noFill/>
          </a:ln>
          <a:effectLst/>
        </p:spPr>
        <p:txBody>
          <a:bodyPr wrap="none" anchor="ctr"/>
          <a:lstStyle/>
          <a:p>
            <a:endParaRPr lang="en-US" sz="3265">
              <a:latin typeface="+mj-lt"/>
            </a:endParaRPr>
          </a:p>
        </p:txBody>
      </p:sp>
      <p:sp>
        <p:nvSpPr>
          <p:cNvPr id="16" name="Freeform 5">
            <a:extLst>
              <a:ext uri="{FF2B5EF4-FFF2-40B4-BE49-F238E27FC236}">
                <a16:creationId xmlns:a16="http://schemas.microsoft.com/office/drawing/2014/main" id="{EE07750B-F525-3D31-A6FC-D54D73F99232}"/>
              </a:ext>
            </a:extLst>
          </p:cNvPr>
          <p:cNvSpPr>
            <a:spLocks noChangeArrowheads="1"/>
          </p:cNvSpPr>
          <p:nvPr userDrawn="1"/>
        </p:nvSpPr>
        <p:spPr bwMode="auto">
          <a:xfrm>
            <a:off x="1221880" y="2156433"/>
            <a:ext cx="1079497" cy="1079495"/>
          </a:xfrm>
          <a:custGeom>
            <a:avLst/>
            <a:gdLst>
              <a:gd name="T0" fmla="*/ 866 w 1733"/>
              <a:gd name="T1" fmla="*/ 0 h 1734"/>
              <a:gd name="T2" fmla="*/ 866 w 1733"/>
              <a:gd name="T3" fmla="*/ 0 h 1734"/>
              <a:gd name="T4" fmla="*/ 1732 w 1733"/>
              <a:gd name="T5" fmla="*/ 867 h 1734"/>
              <a:gd name="T6" fmla="*/ 1732 w 1733"/>
              <a:gd name="T7" fmla="*/ 867 h 1734"/>
              <a:gd name="T8" fmla="*/ 866 w 1733"/>
              <a:gd name="T9" fmla="*/ 1733 h 1734"/>
              <a:gd name="T10" fmla="*/ 866 w 1733"/>
              <a:gd name="T11" fmla="*/ 1733 h 1734"/>
              <a:gd name="T12" fmla="*/ 0 w 1733"/>
              <a:gd name="T13" fmla="*/ 867 h 1734"/>
              <a:gd name="T14" fmla="*/ 0 w 1733"/>
              <a:gd name="T15" fmla="*/ 867 h 1734"/>
              <a:gd name="T16" fmla="*/ 866 w 1733"/>
              <a:gd name="T17" fmla="*/ 0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3" h="1734">
                <a:moveTo>
                  <a:pt x="866" y="0"/>
                </a:moveTo>
                <a:lnTo>
                  <a:pt x="866" y="0"/>
                </a:lnTo>
                <a:cubicBezTo>
                  <a:pt x="1344" y="0"/>
                  <a:pt x="1732" y="388"/>
                  <a:pt x="1732" y="867"/>
                </a:cubicBezTo>
                <a:lnTo>
                  <a:pt x="1732" y="867"/>
                </a:lnTo>
                <a:cubicBezTo>
                  <a:pt x="1732" y="1345"/>
                  <a:pt x="1344" y="1733"/>
                  <a:pt x="866" y="1733"/>
                </a:cubicBezTo>
                <a:lnTo>
                  <a:pt x="866" y="1733"/>
                </a:lnTo>
                <a:cubicBezTo>
                  <a:pt x="388" y="1733"/>
                  <a:pt x="0" y="1345"/>
                  <a:pt x="0" y="867"/>
                </a:cubicBezTo>
                <a:lnTo>
                  <a:pt x="0" y="867"/>
                </a:lnTo>
                <a:cubicBezTo>
                  <a:pt x="0" y="388"/>
                  <a:pt x="388" y="0"/>
                  <a:pt x="866" y="0"/>
                </a:cubicBezTo>
              </a:path>
            </a:pathLst>
          </a:custGeom>
          <a:solidFill>
            <a:schemeClr val="accent1"/>
          </a:solidFill>
          <a:ln>
            <a:noFill/>
          </a:ln>
          <a:effectLst/>
        </p:spPr>
        <p:txBody>
          <a:bodyPr wrap="none" anchor="ctr"/>
          <a:lstStyle/>
          <a:p>
            <a:endParaRPr lang="en-US" sz="3265">
              <a:latin typeface="+mj-lt"/>
            </a:endParaRPr>
          </a:p>
        </p:txBody>
      </p:sp>
      <p:sp>
        <p:nvSpPr>
          <p:cNvPr id="17" name="Freeform 6">
            <a:extLst>
              <a:ext uri="{FF2B5EF4-FFF2-40B4-BE49-F238E27FC236}">
                <a16:creationId xmlns:a16="http://schemas.microsoft.com/office/drawing/2014/main" id="{92D763A6-3CD2-6DBD-A822-D9C55CA22BD7}"/>
              </a:ext>
            </a:extLst>
          </p:cNvPr>
          <p:cNvSpPr>
            <a:spLocks noChangeArrowheads="1"/>
          </p:cNvSpPr>
          <p:nvPr userDrawn="1"/>
        </p:nvSpPr>
        <p:spPr bwMode="auto">
          <a:xfrm>
            <a:off x="1381196" y="2315748"/>
            <a:ext cx="763613" cy="763613"/>
          </a:xfrm>
          <a:custGeom>
            <a:avLst/>
            <a:gdLst>
              <a:gd name="T0" fmla="*/ 611 w 1224"/>
              <a:gd name="T1" fmla="*/ 0 h 1224"/>
              <a:gd name="T2" fmla="*/ 611 w 1224"/>
              <a:gd name="T3" fmla="*/ 0 h 1224"/>
              <a:gd name="T4" fmla="*/ 1223 w 1224"/>
              <a:gd name="T5" fmla="*/ 612 h 1224"/>
              <a:gd name="T6" fmla="*/ 1223 w 1224"/>
              <a:gd name="T7" fmla="*/ 612 h 1224"/>
              <a:gd name="T8" fmla="*/ 611 w 1224"/>
              <a:gd name="T9" fmla="*/ 1223 h 1224"/>
              <a:gd name="T10" fmla="*/ 611 w 1224"/>
              <a:gd name="T11" fmla="*/ 1223 h 1224"/>
              <a:gd name="T12" fmla="*/ 0 w 1224"/>
              <a:gd name="T13" fmla="*/ 612 h 1224"/>
              <a:gd name="T14" fmla="*/ 0 w 1224"/>
              <a:gd name="T15" fmla="*/ 612 h 1224"/>
              <a:gd name="T16" fmla="*/ 611 w 1224"/>
              <a:gd name="T17" fmla="*/ 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4" h="1224">
                <a:moveTo>
                  <a:pt x="611" y="0"/>
                </a:moveTo>
                <a:lnTo>
                  <a:pt x="611" y="0"/>
                </a:lnTo>
                <a:cubicBezTo>
                  <a:pt x="949" y="0"/>
                  <a:pt x="1223" y="274"/>
                  <a:pt x="1223" y="612"/>
                </a:cubicBezTo>
                <a:lnTo>
                  <a:pt x="1223" y="612"/>
                </a:lnTo>
                <a:cubicBezTo>
                  <a:pt x="1223" y="949"/>
                  <a:pt x="949" y="1223"/>
                  <a:pt x="611" y="1223"/>
                </a:cubicBezTo>
                <a:lnTo>
                  <a:pt x="611" y="1223"/>
                </a:lnTo>
                <a:cubicBezTo>
                  <a:pt x="273" y="1223"/>
                  <a:pt x="0" y="949"/>
                  <a:pt x="0" y="612"/>
                </a:cubicBezTo>
                <a:lnTo>
                  <a:pt x="0" y="612"/>
                </a:lnTo>
                <a:cubicBezTo>
                  <a:pt x="0" y="274"/>
                  <a:pt x="273" y="0"/>
                  <a:pt x="611" y="0"/>
                </a:cubicBez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a:latin typeface="+mj-lt"/>
            </a:endParaRPr>
          </a:p>
        </p:txBody>
      </p:sp>
      <p:sp>
        <p:nvSpPr>
          <p:cNvPr id="18" name="Freeform 72">
            <a:extLst>
              <a:ext uri="{FF2B5EF4-FFF2-40B4-BE49-F238E27FC236}">
                <a16:creationId xmlns:a16="http://schemas.microsoft.com/office/drawing/2014/main" id="{FB595E9E-5428-5B90-18F0-748F1F1A3916}"/>
              </a:ext>
            </a:extLst>
          </p:cNvPr>
          <p:cNvSpPr>
            <a:spLocks noChangeArrowheads="1"/>
          </p:cNvSpPr>
          <p:nvPr userDrawn="1"/>
        </p:nvSpPr>
        <p:spPr bwMode="auto">
          <a:xfrm>
            <a:off x="1741028" y="3128803"/>
            <a:ext cx="32962" cy="1675554"/>
          </a:xfrm>
          <a:custGeom>
            <a:avLst/>
            <a:gdLst>
              <a:gd name="T0" fmla="*/ 25 w 52"/>
              <a:gd name="T1" fmla="*/ 2689 h 2690"/>
              <a:gd name="T2" fmla="*/ 25 w 52"/>
              <a:gd name="T3" fmla="*/ 2689 h 2690"/>
              <a:gd name="T4" fmla="*/ 0 w 52"/>
              <a:gd name="T5" fmla="*/ 2664 h 2690"/>
              <a:gd name="T6" fmla="*/ 0 w 52"/>
              <a:gd name="T7" fmla="*/ 25 h 2690"/>
              <a:gd name="T8" fmla="*/ 0 w 52"/>
              <a:gd name="T9" fmla="*/ 25 h 2690"/>
              <a:gd name="T10" fmla="*/ 25 w 52"/>
              <a:gd name="T11" fmla="*/ 0 h 2690"/>
              <a:gd name="T12" fmla="*/ 25 w 52"/>
              <a:gd name="T13" fmla="*/ 0 h 2690"/>
              <a:gd name="T14" fmla="*/ 51 w 52"/>
              <a:gd name="T15" fmla="*/ 25 h 2690"/>
              <a:gd name="T16" fmla="*/ 51 w 52"/>
              <a:gd name="T17" fmla="*/ 2664 h 2690"/>
              <a:gd name="T18" fmla="*/ 51 w 52"/>
              <a:gd name="T19" fmla="*/ 2664 h 2690"/>
              <a:gd name="T20" fmla="*/ 25 w 52"/>
              <a:gd name="T21" fmla="*/ 2689 h 2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2690">
                <a:moveTo>
                  <a:pt x="25" y="2689"/>
                </a:moveTo>
                <a:lnTo>
                  <a:pt x="25" y="2689"/>
                </a:lnTo>
                <a:cubicBezTo>
                  <a:pt x="11" y="2689"/>
                  <a:pt x="0" y="2678"/>
                  <a:pt x="0" y="2664"/>
                </a:cubicBezTo>
                <a:lnTo>
                  <a:pt x="0" y="25"/>
                </a:lnTo>
                <a:lnTo>
                  <a:pt x="0" y="25"/>
                </a:lnTo>
                <a:cubicBezTo>
                  <a:pt x="0" y="11"/>
                  <a:pt x="11" y="0"/>
                  <a:pt x="25" y="0"/>
                </a:cubicBezTo>
                <a:lnTo>
                  <a:pt x="25" y="0"/>
                </a:lnTo>
                <a:cubicBezTo>
                  <a:pt x="39" y="0"/>
                  <a:pt x="51" y="11"/>
                  <a:pt x="51" y="25"/>
                </a:cubicBezTo>
                <a:lnTo>
                  <a:pt x="51" y="2664"/>
                </a:lnTo>
                <a:lnTo>
                  <a:pt x="51" y="2664"/>
                </a:lnTo>
                <a:cubicBezTo>
                  <a:pt x="51" y="2678"/>
                  <a:pt x="39" y="2689"/>
                  <a:pt x="25" y="2689"/>
                </a:cubicBezTo>
              </a:path>
            </a:pathLst>
          </a:custGeom>
          <a:solidFill>
            <a:schemeClr val="accent1"/>
          </a:solidFill>
          <a:ln>
            <a:noFill/>
          </a:ln>
          <a:effectLst/>
        </p:spPr>
        <p:txBody>
          <a:bodyPr wrap="none" anchor="ctr"/>
          <a:lstStyle/>
          <a:p>
            <a:endParaRPr lang="en-US" sz="3265">
              <a:latin typeface="+mj-lt"/>
            </a:endParaRPr>
          </a:p>
        </p:txBody>
      </p:sp>
      <p:sp>
        <p:nvSpPr>
          <p:cNvPr id="19" name="Freeform 73">
            <a:extLst>
              <a:ext uri="{FF2B5EF4-FFF2-40B4-BE49-F238E27FC236}">
                <a16:creationId xmlns:a16="http://schemas.microsoft.com/office/drawing/2014/main" id="{931FD5F7-9B3E-D1FE-40DF-BCCAB9C43B0E}"/>
              </a:ext>
            </a:extLst>
          </p:cNvPr>
          <p:cNvSpPr>
            <a:spLocks noChangeArrowheads="1"/>
          </p:cNvSpPr>
          <p:nvPr userDrawn="1"/>
        </p:nvSpPr>
        <p:spPr bwMode="auto">
          <a:xfrm>
            <a:off x="1661371" y="4710965"/>
            <a:ext cx="192277" cy="189529"/>
          </a:xfrm>
          <a:custGeom>
            <a:avLst/>
            <a:gdLst>
              <a:gd name="T0" fmla="*/ 153 w 307"/>
              <a:gd name="T1" fmla="*/ 0 h 306"/>
              <a:gd name="T2" fmla="*/ 153 w 307"/>
              <a:gd name="T3" fmla="*/ 0 h 306"/>
              <a:gd name="T4" fmla="*/ 306 w 307"/>
              <a:gd name="T5" fmla="*/ 152 h 306"/>
              <a:gd name="T6" fmla="*/ 306 w 307"/>
              <a:gd name="T7" fmla="*/ 152 h 306"/>
              <a:gd name="T8" fmla="*/ 153 w 307"/>
              <a:gd name="T9" fmla="*/ 305 h 306"/>
              <a:gd name="T10" fmla="*/ 153 w 307"/>
              <a:gd name="T11" fmla="*/ 305 h 306"/>
              <a:gd name="T12" fmla="*/ 0 w 307"/>
              <a:gd name="T13" fmla="*/ 152 h 306"/>
              <a:gd name="T14" fmla="*/ 0 w 307"/>
              <a:gd name="T15" fmla="*/ 152 h 306"/>
              <a:gd name="T16" fmla="*/ 153 w 307"/>
              <a:gd name="T1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306">
                <a:moveTo>
                  <a:pt x="153" y="0"/>
                </a:moveTo>
                <a:lnTo>
                  <a:pt x="153" y="0"/>
                </a:lnTo>
                <a:cubicBezTo>
                  <a:pt x="237" y="0"/>
                  <a:pt x="306" y="68"/>
                  <a:pt x="306" y="152"/>
                </a:cubicBezTo>
                <a:lnTo>
                  <a:pt x="306" y="152"/>
                </a:lnTo>
                <a:cubicBezTo>
                  <a:pt x="306" y="237"/>
                  <a:pt x="237" y="305"/>
                  <a:pt x="153" y="305"/>
                </a:cubicBezTo>
                <a:lnTo>
                  <a:pt x="153" y="305"/>
                </a:lnTo>
                <a:cubicBezTo>
                  <a:pt x="68" y="305"/>
                  <a:pt x="0" y="237"/>
                  <a:pt x="0" y="152"/>
                </a:cubicBezTo>
                <a:lnTo>
                  <a:pt x="0" y="152"/>
                </a:lnTo>
                <a:cubicBezTo>
                  <a:pt x="0" y="68"/>
                  <a:pt x="68" y="0"/>
                  <a:pt x="153" y="0"/>
                </a:cubicBezTo>
              </a:path>
            </a:pathLst>
          </a:custGeom>
          <a:solidFill>
            <a:schemeClr val="accent1"/>
          </a:solidFill>
          <a:ln>
            <a:noFill/>
          </a:ln>
          <a:effectLst/>
        </p:spPr>
        <p:txBody>
          <a:bodyPr wrap="none" anchor="ctr"/>
          <a:lstStyle/>
          <a:p>
            <a:endParaRPr lang="en-US" sz="3265">
              <a:latin typeface="+mj-lt"/>
            </a:endParaRPr>
          </a:p>
        </p:txBody>
      </p:sp>
      <p:sp>
        <p:nvSpPr>
          <p:cNvPr id="20" name="Freeform 79">
            <a:extLst>
              <a:ext uri="{FF2B5EF4-FFF2-40B4-BE49-F238E27FC236}">
                <a16:creationId xmlns:a16="http://schemas.microsoft.com/office/drawing/2014/main" id="{76F9ECB4-4857-FA89-707C-5E2B21FE1CE8}"/>
              </a:ext>
            </a:extLst>
          </p:cNvPr>
          <p:cNvSpPr>
            <a:spLocks noChangeArrowheads="1"/>
          </p:cNvSpPr>
          <p:nvPr userDrawn="1"/>
        </p:nvSpPr>
        <p:spPr bwMode="auto">
          <a:xfrm>
            <a:off x="3389067" y="3235926"/>
            <a:ext cx="1079497" cy="1079497"/>
          </a:xfrm>
          <a:custGeom>
            <a:avLst/>
            <a:gdLst>
              <a:gd name="T0" fmla="*/ 867 w 1734"/>
              <a:gd name="T1" fmla="*/ 0 h 1733"/>
              <a:gd name="T2" fmla="*/ 867 w 1734"/>
              <a:gd name="T3" fmla="*/ 0 h 1733"/>
              <a:gd name="T4" fmla="*/ 1733 w 1734"/>
              <a:gd name="T5" fmla="*/ 865 h 1733"/>
              <a:gd name="T6" fmla="*/ 1733 w 1734"/>
              <a:gd name="T7" fmla="*/ 865 h 1733"/>
              <a:gd name="T8" fmla="*/ 867 w 1734"/>
              <a:gd name="T9" fmla="*/ 1732 h 1733"/>
              <a:gd name="T10" fmla="*/ 867 w 1734"/>
              <a:gd name="T11" fmla="*/ 1732 h 1733"/>
              <a:gd name="T12" fmla="*/ 0 w 1734"/>
              <a:gd name="T13" fmla="*/ 865 h 1733"/>
              <a:gd name="T14" fmla="*/ 0 w 1734"/>
              <a:gd name="T15" fmla="*/ 865 h 1733"/>
              <a:gd name="T16" fmla="*/ 867 w 1734"/>
              <a:gd name="T17" fmla="*/ 0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4" h="1733">
                <a:moveTo>
                  <a:pt x="867" y="0"/>
                </a:moveTo>
                <a:lnTo>
                  <a:pt x="867" y="0"/>
                </a:lnTo>
                <a:cubicBezTo>
                  <a:pt x="1345" y="0"/>
                  <a:pt x="1733" y="387"/>
                  <a:pt x="1733" y="865"/>
                </a:cubicBezTo>
                <a:lnTo>
                  <a:pt x="1733" y="865"/>
                </a:lnTo>
                <a:cubicBezTo>
                  <a:pt x="1733" y="1344"/>
                  <a:pt x="1345" y="1732"/>
                  <a:pt x="867" y="1732"/>
                </a:cubicBezTo>
                <a:lnTo>
                  <a:pt x="867" y="1732"/>
                </a:lnTo>
                <a:cubicBezTo>
                  <a:pt x="388" y="1732"/>
                  <a:pt x="0" y="1344"/>
                  <a:pt x="0" y="865"/>
                </a:cubicBezTo>
                <a:lnTo>
                  <a:pt x="0" y="865"/>
                </a:lnTo>
                <a:cubicBezTo>
                  <a:pt x="0" y="387"/>
                  <a:pt x="388" y="0"/>
                  <a:pt x="867" y="0"/>
                </a:cubicBezTo>
              </a:path>
            </a:pathLst>
          </a:custGeom>
          <a:solidFill>
            <a:schemeClr val="accent2"/>
          </a:solidFill>
          <a:ln>
            <a:noFill/>
          </a:ln>
          <a:effectLst/>
        </p:spPr>
        <p:txBody>
          <a:bodyPr wrap="none" anchor="ctr"/>
          <a:lstStyle/>
          <a:p>
            <a:endParaRPr lang="en-US" sz="3265">
              <a:latin typeface="+mj-lt"/>
            </a:endParaRPr>
          </a:p>
        </p:txBody>
      </p:sp>
      <p:sp>
        <p:nvSpPr>
          <p:cNvPr id="21" name="Freeform 80">
            <a:extLst>
              <a:ext uri="{FF2B5EF4-FFF2-40B4-BE49-F238E27FC236}">
                <a16:creationId xmlns:a16="http://schemas.microsoft.com/office/drawing/2014/main" id="{8F030FFF-7420-2CE4-E115-81E815D2126A}"/>
              </a:ext>
            </a:extLst>
          </p:cNvPr>
          <p:cNvSpPr>
            <a:spLocks noChangeArrowheads="1"/>
          </p:cNvSpPr>
          <p:nvPr userDrawn="1"/>
        </p:nvSpPr>
        <p:spPr bwMode="auto">
          <a:xfrm>
            <a:off x="3548384" y="3395243"/>
            <a:ext cx="763613" cy="763613"/>
          </a:xfrm>
          <a:custGeom>
            <a:avLst/>
            <a:gdLst>
              <a:gd name="T0" fmla="*/ 612 w 1224"/>
              <a:gd name="T1" fmla="*/ 0 h 1224"/>
              <a:gd name="T2" fmla="*/ 612 w 1224"/>
              <a:gd name="T3" fmla="*/ 0 h 1224"/>
              <a:gd name="T4" fmla="*/ 1223 w 1224"/>
              <a:gd name="T5" fmla="*/ 611 h 1224"/>
              <a:gd name="T6" fmla="*/ 1223 w 1224"/>
              <a:gd name="T7" fmla="*/ 611 h 1224"/>
              <a:gd name="T8" fmla="*/ 612 w 1224"/>
              <a:gd name="T9" fmla="*/ 1223 h 1224"/>
              <a:gd name="T10" fmla="*/ 612 w 1224"/>
              <a:gd name="T11" fmla="*/ 1223 h 1224"/>
              <a:gd name="T12" fmla="*/ 0 w 1224"/>
              <a:gd name="T13" fmla="*/ 611 h 1224"/>
              <a:gd name="T14" fmla="*/ 0 w 1224"/>
              <a:gd name="T15" fmla="*/ 611 h 1224"/>
              <a:gd name="T16" fmla="*/ 612 w 1224"/>
              <a:gd name="T17" fmla="*/ 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4" h="1224">
                <a:moveTo>
                  <a:pt x="612" y="0"/>
                </a:moveTo>
                <a:lnTo>
                  <a:pt x="612" y="0"/>
                </a:lnTo>
                <a:cubicBezTo>
                  <a:pt x="949" y="0"/>
                  <a:pt x="1223" y="274"/>
                  <a:pt x="1223" y="611"/>
                </a:cubicBezTo>
                <a:lnTo>
                  <a:pt x="1223" y="611"/>
                </a:lnTo>
                <a:cubicBezTo>
                  <a:pt x="1223" y="949"/>
                  <a:pt x="949" y="1223"/>
                  <a:pt x="612" y="1223"/>
                </a:cubicBezTo>
                <a:lnTo>
                  <a:pt x="612" y="1223"/>
                </a:lnTo>
                <a:cubicBezTo>
                  <a:pt x="273" y="1223"/>
                  <a:pt x="0" y="949"/>
                  <a:pt x="0" y="611"/>
                </a:cubicBezTo>
                <a:lnTo>
                  <a:pt x="0" y="611"/>
                </a:lnTo>
                <a:cubicBezTo>
                  <a:pt x="0" y="274"/>
                  <a:pt x="273" y="0"/>
                  <a:pt x="612" y="0"/>
                </a:cubicBezTo>
              </a:path>
            </a:pathLst>
          </a:custGeom>
          <a:solidFill>
            <a:schemeClr val="bg1"/>
          </a:solidFill>
          <a:ln>
            <a:noFill/>
          </a:ln>
          <a:effectLst/>
          <a:extLst>
            <a:ext uri="{91240B29-F687-4F45-9708-019B960494DF}">
              <a14:hiddenLine xmlns:a14="http://schemas.microsoft.com/office/drawing/2010/main" w="9525" cap="flat">
                <a:solidFill>
                  <a:srgbClr val="06D6A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a:latin typeface="+mj-lt"/>
            </a:endParaRPr>
          </a:p>
        </p:txBody>
      </p:sp>
      <p:sp>
        <p:nvSpPr>
          <p:cNvPr id="22" name="Freeform 147">
            <a:extLst>
              <a:ext uri="{FF2B5EF4-FFF2-40B4-BE49-F238E27FC236}">
                <a16:creationId xmlns:a16="http://schemas.microsoft.com/office/drawing/2014/main" id="{F52CA662-2900-8204-D08F-3666FD6AB31C}"/>
              </a:ext>
            </a:extLst>
          </p:cNvPr>
          <p:cNvSpPr>
            <a:spLocks noChangeArrowheads="1"/>
          </p:cNvSpPr>
          <p:nvPr userDrawn="1"/>
        </p:nvSpPr>
        <p:spPr bwMode="auto">
          <a:xfrm>
            <a:off x="3908215" y="4200057"/>
            <a:ext cx="32962" cy="604298"/>
          </a:xfrm>
          <a:custGeom>
            <a:avLst/>
            <a:gdLst>
              <a:gd name="T0" fmla="*/ 25 w 52"/>
              <a:gd name="T1" fmla="*/ 967 h 968"/>
              <a:gd name="T2" fmla="*/ 25 w 52"/>
              <a:gd name="T3" fmla="*/ 967 h 968"/>
              <a:gd name="T4" fmla="*/ 0 w 52"/>
              <a:gd name="T5" fmla="*/ 942 h 968"/>
              <a:gd name="T6" fmla="*/ 0 w 52"/>
              <a:gd name="T7" fmla="*/ 24 h 968"/>
              <a:gd name="T8" fmla="*/ 0 w 52"/>
              <a:gd name="T9" fmla="*/ 24 h 968"/>
              <a:gd name="T10" fmla="*/ 25 w 52"/>
              <a:gd name="T11" fmla="*/ 0 h 968"/>
              <a:gd name="T12" fmla="*/ 25 w 52"/>
              <a:gd name="T13" fmla="*/ 0 h 968"/>
              <a:gd name="T14" fmla="*/ 51 w 52"/>
              <a:gd name="T15" fmla="*/ 24 h 968"/>
              <a:gd name="T16" fmla="*/ 51 w 52"/>
              <a:gd name="T17" fmla="*/ 942 h 968"/>
              <a:gd name="T18" fmla="*/ 51 w 52"/>
              <a:gd name="T19" fmla="*/ 942 h 968"/>
              <a:gd name="T20" fmla="*/ 25 w 52"/>
              <a:gd name="T21" fmla="*/ 967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968">
                <a:moveTo>
                  <a:pt x="25" y="967"/>
                </a:moveTo>
                <a:lnTo>
                  <a:pt x="25" y="967"/>
                </a:lnTo>
                <a:cubicBezTo>
                  <a:pt x="11" y="967"/>
                  <a:pt x="0" y="956"/>
                  <a:pt x="0" y="942"/>
                </a:cubicBezTo>
                <a:lnTo>
                  <a:pt x="0" y="24"/>
                </a:lnTo>
                <a:lnTo>
                  <a:pt x="0" y="24"/>
                </a:lnTo>
                <a:cubicBezTo>
                  <a:pt x="0" y="11"/>
                  <a:pt x="11" y="0"/>
                  <a:pt x="25" y="0"/>
                </a:cubicBezTo>
                <a:lnTo>
                  <a:pt x="25" y="0"/>
                </a:lnTo>
                <a:cubicBezTo>
                  <a:pt x="39" y="0"/>
                  <a:pt x="51" y="11"/>
                  <a:pt x="51" y="24"/>
                </a:cubicBezTo>
                <a:lnTo>
                  <a:pt x="51" y="942"/>
                </a:lnTo>
                <a:lnTo>
                  <a:pt x="51" y="942"/>
                </a:lnTo>
                <a:cubicBezTo>
                  <a:pt x="51" y="956"/>
                  <a:pt x="39" y="967"/>
                  <a:pt x="25" y="967"/>
                </a:cubicBezTo>
              </a:path>
            </a:pathLst>
          </a:custGeom>
          <a:solidFill>
            <a:schemeClr val="accent2"/>
          </a:solidFill>
          <a:ln>
            <a:noFill/>
          </a:ln>
          <a:effectLst/>
        </p:spPr>
        <p:txBody>
          <a:bodyPr wrap="none" anchor="ctr"/>
          <a:lstStyle/>
          <a:p>
            <a:endParaRPr lang="en-US" sz="3265">
              <a:latin typeface="+mj-lt"/>
            </a:endParaRPr>
          </a:p>
        </p:txBody>
      </p:sp>
      <p:sp>
        <p:nvSpPr>
          <p:cNvPr id="23" name="Freeform 148">
            <a:extLst>
              <a:ext uri="{FF2B5EF4-FFF2-40B4-BE49-F238E27FC236}">
                <a16:creationId xmlns:a16="http://schemas.microsoft.com/office/drawing/2014/main" id="{C631EE2B-6F50-258A-1F6C-2D2EF7783E85}"/>
              </a:ext>
            </a:extLst>
          </p:cNvPr>
          <p:cNvSpPr>
            <a:spLocks noChangeArrowheads="1"/>
          </p:cNvSpPr>
          <p:nvPr userDrawn="1"/>
        </p:nvSpPr>
        <p:spPr bwMode="auto">
          <a:xfrm>
            <a:off x="3828557" y="4708216"/>
            <a:ext cx="197771" cy="197770"/>
          </a:xfrm>
          <a:custGeom>
            <a:avLst/>
            <a:gdLst>
              <a:gd name="T0" fmla="*/ 157 w 317"/>
              <a:gd name="T1" fmla="*/ 0 h 317"/>
              <a:gd name="T2" fmla="*/ 157 w 317"/>
              <a:gd name="T3" fmla="*/ 0 h 317"/>
              <a:gd name="T4" fmla="*/ 316 w 317"/>
              <a:gd name="T5" fmla="*/ 157 h 317"/>
              <a:gd name="T6" fmla="*/ 316 w 317"/>
              <a:gd name="T7" fmla="*/ 157 h 317"/>
              <a:gd name="T8" fmla="*/ 157 w 317"/>
              <a:gd name="T9" fmla="*/ 316 h 317"/>
              <a:gd name="T10" fmla="*/ 157 w 317"/>
              <a:gd name="T11" fmla="*/ 316 h 317"/>
              <a:gd name="T12" fmla="*/ 0 w 317"/>
              <a:gd name="T13" fmla="*/ 157 h 317"/>
              <a:gd name="T14" fmla="*/ 0 w 317"/>
              <a:gd name="T15" fmla="*/ 157 h 317"/>
              <a:gd name="T16" fmla="*/ 157 w 317"/>
              <a:gd name="T1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317">
                <a:moveTo>
                  <a:pt x="157" y="0"/>
                </a:moveTo>
                <a:lnTo>
                  <a:pt x="157" y="0"/>
                </a:lnTo>
                <a:cubicBezTo>
                  <a:pt x="245" y="0"/>
                  <a:pt x="316" y="71"/>
                  <a:pt x="316" y="157"/>
                </a:cubicBezTo>
                <a:lnTo>
                  <a:pt x="316" y="157"/>
                </a:lnTo>
                <a:cubicBezTo>
                  <a:pt x="316" y="245"/>
                  <a:pt x="245" y="316"/>
                  <a:pt x="157" y="316"/>
                </a:cubicBezTo>
                <a:lnTo>
                  <a:pt x="157" y="316"/>
                </a:lnTo>
                <a:cubicBezTo>
                  <a:pt x="70" y="316"/>
                  <a:pt x="0" y="245"/>
                  <a:pt x="0" y="157"/>
                </a:cubicBezTo>
                <a:lnTo>
                  <a:pt x="0" y="157"/>
                </a:lnTo>
                <a:cubicBezTo>
                  <a:pt x="0" y="71"/>
                  <a:pt x="70" y="0"/>
                  <a:pt x="157" y="0"/>
                </a:cubicBezTo>
              </a:path>
            </a:pathLst>
          </a:custGeom>
          <a:solidFill>
            <a:schemeClr val="accent2"/>
          </a:solidFill>
          <a:ln>
            <a:noFill/>
          </a:ln>
          <a:effectLst/>
        </p:spPr>
        <p:txBody>
          <a:bodyPr wrap="none" anchor="ctr"/>
          <a:lstStyle/>
          <a:p>
            <a:endParaRPr lang="en-US" sz="3265">
              <a:latin typeface="+mj-lt"/>
            </a:endParaRPr>
          </a:p>
        </p:txBody>
      </p:sp>
      <p:sp>
        <p:nvSpPr>
          <p:cNvPr id="24" name="Freeform 153">
            <a:extLst>
              <a:ext uri="{FF2B5EF4-FFF2-40B4-BE49-F238E27FC236}">
                <a16:creationId xmlns:a16="http://schemas.microsoft.com/office/drawing/2014/main" id="{1EFE37D0-4F5F-3490-E39E-F206AE2D0CA6}"/>
              </a:ext>
            </a:extLst>
          </p:cNvPr>
          <p:cNvSpPr>
            <a:spLocks noChangeArrowheads="1"/>
          </p:cNvSpPr>
          <p:nvPr userDrawn="1"/>
        </p:nvSpPr>
        <p:spPr bwMode="auto">
          <a:xfrm>
            <a:off x="9890626" y="2156433"/>
            <a:ext cx="1079496" cy="1079495"/>
          </a:xfrm>
          <a:custGeom>
            <a:avLst/>
            <a:gdLst>
              <a:gd name="T0" fmla="*/ 866 w 1734"/>
              <a:gd name="T1" fmla="*/ 0 h 1734"/>
              <a:gd name="T2" fmla="*/ 866 w 1734"/>
              <a:gd name="T3" fmla="*/ 0 h 1734"/>
              <a:gd name="T4" fmla="*/ 1733 w 1734"/>
              <a:gd name="T5" fmla="*/ 867 h 1734"/>
              <a:gd name="T6" fmla="*/ 1733 w 1734"/>
              <a:gd name="T7" fmla="*/ 867 h 1734"/>
              <a:gd name="T8" fmla="*/ 866 w 1734"/>
              <a:gd name="T9" fmla="*/ 1733 h 1734"/>
              <a:gd name="T10" fmla="*/ 866 w 1734"/>
              <a:gd name="T11" fmla="*/ 1733 h 1734"/>
              <a:gd name="T12" fmla="*/ 0 w 1734"/>
              <a:gd name="T13" fmla="*/ 867 h 1734"/>
              <a:gd name="T14" fmla="*/ 0 w 1734"/>
              <a:gd name="T15" fmla="*/ 867 h 1734"/>
              <a:gd name="T16" fmla="*/ 866 w 1734"/>
              <a:gd name="T17" fmla="*/ 0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4" h="1734">
                <a:moveTo>
                  <a:pt x="866" y="0"/>
                </a:moveTo>
                <a:lnTo>
                  <a:pt x="866" y="0"/>
                </a:lnTo>
                <a:cubicBezTo>
                  <a:pt x="1345" y="0"/>
                  <a:pt x="1733" y="388"/>
                  <a:pt x="1733" y="867"/>
                </a:cubicBezTo>
                <a:lnTo>
                  <a:pt x="1733" y="867"/>
                </a:lnTo>
                <a:cubicBezTo>
                  <a:pt x="1733" y="1345"/>
                  <a:pt x="1345" y="1733"/>
                  <a:pt x="866" y="1733"/>
                </a:cubicBezTo>
                <a:lnTo>
                  <a:pt x="866" y="1733"/>
                </a:lnTo>
                <a:cubicBezTo>
                  <a:pt x="388" y="1733"/>
                  <a:pt x="0" y="1345"/>
                  <a:pt x="0" y="867"/>
                </a:cubicBezTo>
                <a:lnTo>
                  <a:pt x="0" y="867"/>
                </a:lnTo>
                <a:cubicBezTo>
                  <a:pt x="0" y="388"/>
                  <a:pt x="388" y="0"/>
                  <a:pt x="866" y="0"/>
                </a:cubicBezTo>
              </a:path>
            </a:pathLst>
          </a:custGeom>
          <a:solidFill>
            <a:schemeClr val="accent5"/>
          </a:solidFill>
          <a:ln>
            <a:noFill/>
          </a:ln>
          <a:effectLst/>
        </p:spPr>
        <p:txBody>
          <a:bodyPr wrap="none" anchor="ctr"/>
          <a:lstStyle/>
          <a:p>
            <a:endParaRPr lang="en-US" sz="3265">
              <a:latin typeface="+mj-lt"/>
            </a:endParaRPr>
          </a:p>
        </p:txBody>
      </p:sp>
      <p:sp>
        <p:nvSpPr>
          <p:cNvPr id="25" name="Freeform 154">
            <a:extLst>
              <a:ext uri="{FF2B5EF4-FFF2-40B4-BE49-F238E27FC236}">
                <a16:creationId xmlns:a16="http://schemas.microsoft.com/office/drawing/2014/main" id="{468CE9F5-4A95-BE75-BABD-A1AE34676278}"/>
              </a:ext>
            </a:extLst>
          </p:cNvPr>
          <p:cNvSpPr>
            <a:spLocks noChangeArrowheads="1"/>
          </p:cNvSpPr>
          <p:nvPr userDrawn="1"/>
        </p:nvSpPr>
        <p:spPr bwMode="auto">
          <a:xfrm>
            <a:off x="10047194" y="2315748"/>
            <a:ext cx="763613" cy="763613"/>
          </a:xfrm>
          <a:custGeom>
            <a:avLst/>
            <a:gdLst>
              <a:gd name="T0" fmla="*/ 612 w 1224"/>
              <a:gd name="T1" fmla="*/ 0 h 1224"/>
              <a:gd name="T2" fmla="*/ 612 w 1224"/>
              <a:gd name="T3" fmla="*/ 0 h 1224"/>
              <a:gd name="T4" fmla="*/ 1223 w 1224"/>
              <a:gd name="T5" fmla="*/ 612 h 1224"/>
              <a:gd name="T6" fmla="*/ 1223 w 1224"/>
              <a:gd name="T7" fmla="*/ 612 h 1224"/>
              <a:gd name="T8" fmla="*/ 612 w 1224"/>
              <a:gd name="T9" fmla="*/ 1223 h 1224"/>
              <a:gd name="T10" fmla="*/ 612 w 1224"/>
              <a:gd name="T11" fmla="*/ 1223 h 1224"/>
              <a:gd name="T12" fmla="*/ 0 w 1224"/>
              <a:gd name="T13" fmla="*/ 612 h 1224"/>
              <a:gd name="T14" fmla="*/ 0 w 1224"/>
              <a:gd name="T15" fmla="*/ 612 h 1224"/>
              <a:gd name="T16" fmla="*/ 612 w 1224"/>
              <a:gd name="T17" fmla="*/ 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4" h="1224">
                <a:moveTo>
                  <a:pt x="612" y="0"/>
                </a:moveTo>
                <a:lnTo>
                  <a:pt x="612" y="0"/>
                </a:lnTo>
                <a:cubicBezTo>
                  <a:pt x="950" y="0"/>
                  <a:pt x="1223" y="274"/>
                  <a:pt x="1223" y="612"/>
                </a:cubicBezTo>
                <a:lnTo>
                  <a:pt x="1223" y="612"/>
                </a:lnTo>
                <a:cubicBezTo>
                  <a:pt x="1223" y="949"/>
                  <a:pt x="950" y="1223"/>
                  <a:pt x="612" y="1223"/>
                </a:cubicBezTo>
                <a:lnTo>
                  <a:pt x="612" y="1223"/>
                </a:lnTo>
                <a:cubicBezTo>
                  <a:pt x="274" y="1223"/>
                  <a:pt x="0" y="949"/>
                  <a:pt x="0" y="612"/>
                </a:cubicBezTo>
                <a:lnTo>
                  <a:pt x="0" y="612"/>
                </a:lnTo>
                <a:cubicBezTo>
                  <a:pt x="0" y="274"/>
                  <a:pt x="274" y="0"/>
                  <a:pt x="612" y="0"/>
                </a:cubicBezTo>
              </a:path>
            </a:pathLst>
          </a:custGeom>
          <a:solidFill>
            <a:schemeClr val="bg1"/>
          </a:solidFill>
          <a:ln>
            <a:noFill/>
          </a:ln>
          <a:effectLst/>
          <a:extLst>
            <a:ext uri="{91240B29-F687-4F45-9708-019B960494DF}">
              <a14:hiddenLine xmlns:a14="http://schemas.microsoft.com/office/drawing/2010/main" w="9525" cap="flat">
                <a:solidFill>
                  <a:srgbClr val="06D6A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a:latin typeface="+mj-lt"/>
            </a:endParaRPr>
          </a:p>
        </p:txBody>
      </p:sp>
      <p:sp>
        <p:nvSpPr>
          <p:cNvPr id="26" name="Freeform 216">
            <a:extLst>
              <a:ext uri="{FF2B5EF4-FFF2-40B4-BE49-F238E27FC236}">
                <a16:creationId xmlns:a16="http://schemas.microsoft.com/office/drawing/2014/main" id="{2A89B66B-1732-3949-68EB-FCA467ABA80D}"/>
              </a:ext>
            </a:extLst>
          </p:cNvPr>
          <p:cNvSpPr>
            <a:spLocks noChangeArrowheads="1"/>
          </p:cNvSpPr>
          <p:nvPr userDrawn="1"/>
        </p:nvSpPr>
        <p:spPr bwMode="auto">
          <a:xfrm>
            <a:off x="10409771" y="3128803"/>
            <a:ext cx="32962" cy="1675554"/>
          </a:xfrm>
          <a:custGeom>
            <a:avLst/>
            <a:gdLst>
              <a:gd name="T0" fmla="*/ 26 w 53"/>
              <a:gd name="T1" fmla="*/ 2689 h 2690"/>
              <a:gd name="T2" fmla="*/ 26 w 53"/>
              <a:gd name="T3" fmla="*/ 2689 h 2690"/>
              <a:gd name="T4" fmla="*/ 0 w 53"/>
              <a:gd name="T5" fmla="*/ 2664 h 2690"/>
              <a:gd name="T6" fmla="*/ 0 w 53"/>
              <a:gd name="T7" fmla="*/ 25 h 2690"/>
              <a:gd name="T8" fmla="*/ 0 w 53"/>
              <a:gd name="T9" fmla="*/ 25 h 2690"/>
              <a:gd name="T10" fmla="*/ 26 w 53"/>
              <a:gd name="T11" fmla="*/ 0 h 2690"/>
              <a:gd name="T12" fmla="*/ 26 w 53"/>
              <a:gd name="T13" fmla="*/ 0 h 2690"/>
              <a:gd name="T14" fmla="*/ 52 w 53"/>
              <a:gd name="T15" fmla="*/ 25 h 2690"/>
              <a:gd name="T16" fmla="*/ 52 w 53"/>
              <a:gd name="T17" fmla="*/ 2664 h 2690"/>
              <a:gd name="T18" fmla="*/ 52 w 53"/>
              <a:gd name="T19" fmla="*/ 2664 h 2690"/>
              <a:gd name="T20" fmla="*/ 26 w 53"/>
              <a:gd name="T21" fmla="*/ 2689 h 2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690">
                <a:moveTo>
                  <a:pt x="26" y="2689"/>
                </a:moveTo>
                <a:lnTo>
                  <a:pt x="26" y="2689"/>
                </a:lnTo>
                <a:cubicBezTo>
                  <a:pt x="12" y="2689"/>
                  <a:pt x="0" y="2678"/>
                  <a:pt x="0" y="2664"/>
                </a:cubicBezTo>
                <a:lnTo>
                  <a:pt x="0" y="25"/>
                </a:lnTo>
                <a:lnTo>
                  <a:pt x="0" y="25"/>
                </a:lnTo>
                <a:cubicBezTo>
                  <a:pt x="0" y="11"/>
                  <a:pt x="12" y="0"/>
                  <a:pt x="26" y="0"/>
                </a:cubicBezTo>
                <a:lnTo>
                  <a:pt x="26" y="0"/>
                </a:lnTo>
                <a:cubicBezTo>
                  <a:pt x="40" y="0"/>
                  <a:pt x="52" y="11"/>
                  <a:pt x="52" y="25"/>
                </a:cubicBezTo>
                <a:lnTo>
                  <a:pt x="52" y="2664"/>
                </a:lnTo>
                <a:lnTo>
                  <a:pt x="52" y="2664"/>
                </a:lnTo>
                <a:cubicBezTo>
                  <a:pt x="52" y="2678"/>
                  <a:pt x="40" y="2689"/>
                  <a:pt x="26" y="2689"/>
                </a:cubicBezTo>
              </a:path>
            </a:pathLst>
          </a:custGeom>
          <a:solidFill>
            <a:schemeClr val="accent5"/>
          </a:solidFill>
          <a:ln>
            <a:noFill/>
          </a:ln>
          <a:effectLst/>
        </p:spPr>
        <p:txBody>
          <a:bodyPr wrap="none" anchor="ctr"/>
          <a:lstStyle/>
          <a:p>
            <a:endParaRPr lang="en-US" sz="3265">
              <a:latin typeface="+mj-lt"/>
            </a:endParaRPr>
          </a:p>
        </p:txBody>
      </p:sp>
      <p:sp>
        <p:nvSpPr>
          <p:cNvPr id="27" name="Freeform 217">
            <a:extLst>
              <a:ext uri="{FF2B5EF4-FFF2-40B4-BE49-F238E27FC236}">
                <a16:creationId xmlns:a16="http://schemas.microsoft.com/office/drawing/2014/main" id="{36746AE3-7975-CED5-6178-2398FE304F5E}"/>
              </a:ext>
            </a:extLst>
          </p:cNvPr>
          <p:cNvSpPr>
            <a:spLocks noChangeArrowheads="1"/>
          </p:cNvSpPr>
          <p:nvPr userDrawn="1"/>
        </p:nvSpPr>
        <p:spPr bwMode="auto">
          <a:xfrm>
            <a:off x="10330116" y="4710965"/>
            <a:ext cx="192277" cy="189529"/>
          </a:xfrm>
          <a:custGeom>
            <a:avLst/>
            <a:gdLst>
              <a:gd name="T0" fmla="*/ 153 w 307"/>
              <a:gd name="T1" fmla="*/ 0 h 306"/>
              <a:gd name="T2" fmla="*/ 153 w 307"/>
              <a:gd name="T3" fmla="*/ 0 h 306"/>
              <a:gd name="T4" fmla="*/ 306 w 307"/>
              <a:gd name="T5" fmla="*/ 152 h 306"/>
              <a:gd name="T6" fmla="*/ 306 w 307"/>
              <a:gd name="T7" fmla="*/ 152 h 306"/>
              <a:gd name="T8" fmla="*/ 153 w 307"/>
              <a:gd name="T9" fmla="*/ 305 h 306"/>
              <a:gd name="T10" fmla="*/ 153 w 307"/>
              <a:gd name="T11" fmla="*/ 305 h 306"/>
              <a:gd name="T12" fmla="*/ 0 w 307"/>
              <a:gd name="T13" fmla="*/ 152 h 306"/>
              <a:gd name="T14" fmla="*/ 0 w 307"/>
              <a:gd name="T15" fmla="*/ 152 h 306"/>
              <a:gd name="T16" fmla="*/ 153 w 307"/>
              <a:gd name="T1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306">
                <a:moveTo>
                  <a:pt x="153" y="0"/>
                </a:moveTo>
                <a:lnTo>
                  <a:pt x="153" y="0"/>
                </a:lnTo>
                <a:cubicBezTo>
                  <a:pt x="238" y="0"/>
                  <a:pt x="306" y="68"/>
                  <a:pt x="306" y="152"/>
                </a:cubicBezTo>
                <a:lnTo>
                  <a:pt x="306" y="152"/>
                </a:lnTo>
                <a:cubicBezTo>
                  <a:pt x="306" y="237"/>
                  <a:pt x="238" y="305"/>
                  <a:pt x="153" y="305"/>
                </a:cubicBezTo>
                <a:lnTo>
                  <a:pt x="153" y="305"/>
                </a:lnTo>
                <a:cubicBezTo>
                  <a:pt x="68" y="305"/>
                  <a:pt x="0" y="237"/>
                  <a:pt x="0" y="152"/>
                </a:cubicBezTo>
                <a:lnTo>
                  <a:pt x="0" y="152"/>
                </a:lnTo>
                <a:cubicBezTo>
                  <a:pt x="0" y="68"/>
                  <a:pt x="68" y="0"/>
                  <a:pt x="153" y="0"/>
                </a:cubicBezTo>
              </a:path>
            </a:pathLst>
          </a:custGeom>
          <a:solidFill>
            <a:schemeClr val="accent5"/>
          </a:solidFill>
          <a:ln>
            <a:noFill/>
          </a:ln>
          <a:effectLst/>
        </p:spPr>
        <p:txBody>
          <a:bodyPr wrap="none" anchor="ctr"/>
          <a:lstStyle/>
          <a:p>
            <a:endParaRPr lang="en-US" sz="3265">
              <a:latin typeface="+mj-lt"/>
            </a:endParaRPr>
          </a:p>
        </p:txBody>
      </p:sp>
      <p:sp>
        <p:nvSpPr>
          <p:cNvPr id="41" name="Freeform 223">
            <a:extLst>
              <a:ext uri="{FF2B5EF4-FFF2-40B4-BE49-F238E27FC236}">
                <a16:creationId xmlns:a16="http://schemas.microsoft.com/office/drawing/2014/main" id="{ED8DFC62-D50D-2CBA-09E8-20A2DE614CC6}"/>
              </a:ext>
            </a:extLst>
          </p:cNvPr>
          <p:cNvSpPr>
            <a:spLocks noChangeArrowheads="1"/>
          </p:cNvSpPr>
          <p:nvPr userDrawn="1"/>
        </p:nvSpPr>
        <p:spPr bwMode="auto">
          <a:xfrm>
            <a:off x="7723441" y="3235926"/>
            <a:ext cx="1079496" cy="1079497"/>
          </a:xfrm>
          <a:custGeom>
            <a:avLst/>
            <a:gdLst>
              <a:gd name="T0" fmla="*/ 866 w 1733"/>
              <a:gd name="T1" fmla="*/ 0 h 1733"/>
              <a:gd name="T2" fmla="*/ 866 w 1733"/>
              <a:gd name="T3" fmla="*/ 0 h 1733"/>
              <a:gd name="T4" fmla="*/ 1732 w 1733"/>
              <a:gd name="T5" fmla="*/ 865 h 1733"/>
              <a:gd name="T6" fmla="*/ 1732 w 1733"/>
              <a:gd name="T7" fmla="*/ 865 h 1733"/>
              <a:gd name="T8" fmla="*/ 866 w 1733"/>
              <a:gd name="T9" fmla="*/ 1732 h 1733"/>
              <a:gd name="T10" fmla="*/ 866 w 1733"/>
              <a:gd name="T11" fmla="*/ 1732 h 1733"/>
              <a:gd name="T12" fmla="*/ 0 w 1733"/>
              <a:gd name="T13" fmla="*/ 865 h 1733"/>
              <a:gd name="T14" fmla="*/ 0 w 1733"/>
              <a:gd name="T15" fmla="*/ 865 h 1733"/>
              <a:gd name="T16" fmla="*/ 866 w 1733"/>
              <a:gd name="T17" fmla="*/ 0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3" h="1733">
                <a:moveTo>
                  <a:pt x="866" y="0"/>
                </a:moveTo>
                <a:lnTo>
                  <a:pt x="866" y="0"/>
                </a:lnTo>
                <a:cubicBezTo>
                  <a:pt x="1344" y="0"/>
                  <a:pt x="1732" y="387"/>
                  <a:pt x="1732" y="865"/>
                </a:cubicBezTo>
                <a:lnTo>
                  <a:pt x="1732" y="865"/>
                </a:lnTo>
                <a:cubicBezTo>
                  <a:pt x="1732" y="1344"/>
                  <a:pt x="1344" y="1732"/>
                  <a:pt x="866" y="1732"/>
                </a:cubicBezTo>
                <a:lnTo>
                  <a:pt x="866" y="1732"/>
                </a:lnTo>
                <a:cubicBezTo>
                  <a:pt x="387" y="1732"/>
                  <a:pt x="0" y="1344"/>
                  <a:pt x="0" y="865"/>
                </a:cubicBezTo>
                <a:lnTo>
                  <a:pt x="0" y="865"/>
                </a:lnTo>
                <a:cubicBezTo>
                  <a:pt x="0" y="387"/>
                  <a:pt x="387" y="0"/>
                  <a:pt x="866" y="0"/>
                </a:cubicBezTo>
              </a:path>
            </a:pathLst>
          </a:custGeom>
          <a:solidFill>
            <a:schemeClr val="accent4"/>
          </a:solidFill>
          <a:ln>
            <a:noFill/>
          </a:ln>
          <a:effectLst/>
          <a:extLst>
            <a:ext uri="{91240B29-F687-4F45-9708-019B960494DF}">
              <a14:hiddenLine xmlns:a14="http://schemas.microsoft.com/office/drawing/2010/main" w="9525" cap="flat">
                <a:solidFill>
                  <a:srgbClr val="118AB2"/>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a:latin typeface="+mj-lt"/>
            </a:endParaRPr>
          </a:p>
        </p:txBody>
      </p:sp>
      <p:sp>
        <p:nvSpPr>
          <p:cNvPr id="42" name="Freeform 224">
            <a:extLst>
              <a:ext uri="{FF2B5EF4-FFF2-40B4-BE49-F238E27FC236}">
                <a16:creationId xmlns:a16="http://schemas.microsoft.com/office/drawing/2014/main" id="{95E00D13-1198-5715-990D-684B86F3509B}"/>
              </a:ext>
            </a:extLst>
          </p:cNvPr>
          <p:cNvSpPr>
            <a:spLocks noChangeArrowheads="1"/>
          </p:cNvSpPr>
          <p:nvPr userDrawn="1"/>
        </p:nvSpPr>
        <p:spPr bwMode="auto">
          <a:xfrm>
            <a:off x="7880008" y="3395243"/>
            <a:ext cx="763613" cy="763613"/>
          </a:xfrm>
          <a:custGeom>
            <a:avLst/>
            <a:gdLst>
              <a:gd name="T0" fmla="*/ 612 w 1224"/>
              <a:gd name="T1" fmla="*/ 0 h 1224"/>
              <a:gd name="T2" fmla="*/ 612 w 1224"/>
              <a:gd name="T3" fmla="*/ 0 h 1224"/>
              <a:gd name="T4" fmla="*/ 1223 w 1224"/>
              <a:gd name="T5" fmla="*/ 611 h 1224"/>
              <a:gd name="T6" fmla="*/ 1223 w 1224"/>
              <a:gd name="T7" fmla="*/ 611 h 1224"/>
              <a:gd name="T8" fmla="*/ 612 w 1224"/>
              <a:gd name="T9" fmla="*/ 1223 h 1224"/>
              <a:gd name="T10" fmla="*/ 612 w 1224"/>
              <a:gd name="T11" fmla="*/ 1223 h 1224"/>
              <a:gd name="T12" fmla="*/ 0 w 1224"/>
              <a:gd name="T13" fmla="*/ 611 h 1224"/>
              <a:gd name="T14" fmla="*/ 0 w 1224"/>
              <a:gd name="T15" fmla="*/ 611 h 1224"/>
              <a:gd name="T16" fmla="*/ 612 w 1224"/>
              <a:gd name="T17" fmla="*/ 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4" h="1224">
                <a:moveTo>
                  <a:pt x="612" y="0"/>
                </a:moveTo>
                <a:lnTo>
                  <a:pt x="612" y="0"/>
                </a:lnTo>
                <a:cubicBezTo>
                  <a:pt x="950" y="0"/>
                  <a:pt x="1223" y="274"/>
                  <a:pt x="1223" y="611"/>
                </a:cubicBezTo>
                <a:lnTo>
                  <a:pt x="1223" y="611"/>
                </a:lnTo>
                <a:cubicBezTo>
                  <a:pt x="1223" y="949"/>
                  <a:pt x="950" y="1223"/>
                  <a:pt x="612" y="1223"/>
                </a:cubicBezTo>
                <a:lnTo>
                  <a:pt x="612" y="1223"/>
                </a:lnTo>
                <a:cubicBezTo>
                  <a:pt x="274" y="1223"/>
                  <a:pt x="0" y="949"/>
                  <a:pt x="0" y="611"/>
                </a:cubicBezTo>
                <a:lnTo>
                  <a:pt x="0" y="611"/>
                </a:lnTo>
                <a:cubicBezTo>
                  <a:pt x="0" y="274"/>
                  <a:pt x="274" y="0"/>
                  <a:pt x="612" y="0"/>
                </a:cubicBezTo>
              </a:path>
            </a:pathLst>
          </a:custGeom>
          <a:solidFill>
            <a:schemeClr val="bg1"/>
          </a:solidFill>
          <a:ln>
            <a:noFill/>
          </a:ln>
          <a:effectLst/>
          <a:extLst>
            <a:ext uri="{91240B29-F687-4F45-9708-019B960494DF}">
              <a14:hiddenLine xmlns:a14="http://schemas.microsoft.com/office/drawing/2010/main" w="9525" cap="flat">
                <a:solidFill>
                  <a:srgbClr val="118AB2"/>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a:latin typeface="+mj-lt"/>
            </a:endParaRPr>
          </a:p>
        </p:txBody>
      </p:sp>
      <p:sp>
        <p:nvSpPr>
          <p:cNvPr id="43" name="Freeform 285">
            <a:extLst>
              <a:ext uri="{FF2B5EF4-FFF2-40B4-BE49-F238E27FC236}">
                <a16:creationId xmlns:a16="http://schemas.microsoft.com/office/drawing/2014/main" id="{8E02734D-0199-F52D-3E3D-2A4512D6D502}"/>
              </a:ext>
            </a:extLst>
          </p:cNvPr>
          <p:cNvSpPr>
            <a:spLocks noChangeArrowheads="1"/>
          </p:cNvSpPr>
          <p:nvPr userDrawn="1"/>
        </p:nvSpPr>
        <p:spPr bwMode="auto">
          <a:xfrm>
            <a:off x="8242585" y="4200057"/>
            <a:ext cx="32962" cy="604298"/>
          </a:xfrm>
          <a:custGeom>
            <a:avLst/>
            <a:gdLst>
              <a:gd name="T0" fmla="*/ 26 w 52"/>
              <a:gd name="T1" fmla="*/ 967 h 968"/>
              <a:gd name="T2" fmla="*/ 26 w 52"/>
              <a:gd name="T3" fmla="*/ 967 h 968"/>
              <a:gd name="T4" fmla="*/ 0 w 52"/>
              <a:gd name="T5" fmla="*/ 942 h 968"/>
              <a:gd name="T6" fmla="*/ 0 w 52"/>
              <a:gd name="T7" fmla="*/ 24 h 968"/>
              <a:gd name="T8" fmla="*/ 0 w 52"/>
              <a:gd name="T9" fmla="*/ 24 h 968"/>
              <a:gd name="T10" fmla="*/ 26 w 52"/>
              <a:gd name="T11" fmla="*/ 0 h 968"/>
              <a:gd name="T12" fmla="*/ 26 w 52"/>
              <a:gd name="T13" fmla="*/ 0 h 968"/>
              <a:gd name="T14" fmla="*/ 51 w 52"/>
              <a:gd name="T15" fmla="*/ 24 h 968"/>
              <a:gd name="T16" fmla="*/ 51 w 52"/>
              <a:gd name="T17" fmla="*/ 942 h 968"/>
              <a:gd name="T18" fmla="*/ 51 w 52"/>
              <a:gd name="T19" fmla="*/ 942 h 968"/>
              <a:gd name="T20" fmla="*/ 26 w 52"/>
              <a:gd name="T21" fmla="*/ 967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968">
                <a:moveTo>
                  <a:pt x="26" y="967"/>
                </a:moveTo>
                <a:lnTo>
                  <a:pt x="26" y="967"/>
                </a:lnTo>
                <a:cubicBezTo>
                  <a:pt x="11" y="967"/>
                  <a:pt x="0" y="956"/>
                  <a:pt x="0" y="942"/>
                </a:cubicBezTo>
                <a:lnTo>
                  <a:pt x="0" y="24"/>
                </a:lnTo>
                <a:lnTo>
                  <a:pt x="0" y="24"/>
                </a:lnTo>
                <a:cubicBezTo>
                  <a:pt x="0" y="11"/>
                  <a:pt x="11" y="0"/>
                  <a:pt x="26" y="0"/>
                </a:cubicBezTo>
                <a:lnTo>
                  <a:pt x="26" y="0"/>
                </a:lnTo>
                <a:cubicBezTo>
                  <a:pt x="40" y="0"/>
                  <a:pt x="51" y="11"/>
                  <a:pt x="51" y="24"/>
                </a:cubicBezTo>
                <a:lnTo>
                  <a:pt x="51" y="942"/>
                </a:lnTo>
                <a:lnTo>
                  <a:pt x="51" y="942"/>
                </a:lnTo>
                <a:cubicBezTo>
                  <a:pt x="51" y="956"/>
                  <a:pt x="40" y="967"/>
                  <a:pt x="26" y="967"/>
                </a:cubicBezTo>
              </a:path>
            </a:pathLst>
          </a:custGeom>
          <a:solidFill>
            <a:schemeClr val="accent4"/>
          </a:solidFill>
          <a:ln>
            <a:noFill/>
          </a:ln>
          <a:effectLst/>
          <a:extLst>
            <a:ext uri="{91240B29-F687-4F45-9708-019B960494DF}">
              <a14:hiddenLine xmlns:a14="http://schemas.microsoft.com/office/drawing/2010/main" w="9525" cap="flat">
                <a:solidFill>
                  <a:srgbClr val="118AB2"/>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a:latin typeface="+mj-lt"/>
            </a:endParaRPr>
          </a:p>
        </p:txBody>
      </p:sp>
      <p:sp>
        <p:nvSpPr>
          <p:cNvPr id="44" name="Freeform 286">
            <a:extLst>
              <a:ext uri="{FF2B5EF4-FFF2-40B4-BE49-F238E27FC236}">
                <a16:creationId xmlns:a16="http://schemas.microsoft.com/office/drawing/2014/main" id="{9E94630D-3DAE-2348-5B77-A99FA2A2CD31}"/>
              </a:ext>
            </a:extLst>
          </p:cNvPr>
          <p:cNvSpPr>
            <a:spLocks noChangeArrowheads="1"/>
          </p:cNvSpPr>
          <p:nvPr userDrawn="1"/>
        </p:nvSpPr>
        <p:spPr bwMode="auto">
          <a:xfrm>
            <a:off x="8162930" y="4710965"/>
            <a:ext cx="189529" cy="189529"/>
          </a:xfrm>
          <a:custGeom>
            <a:avLst/>
            <a:gdLst>
              <a:gd name="T0" fmla="*/ 153 w 306"/>
              <a:gd name="T1" fmla="*/ 0 h 306"/>
              <a:gd name="T2" fmla="*/ 153 w 306"/>
              <a:gd name="T3" fmla="*/ 0 h 306"/>
              <a:gd name="T4" fmla="*/ 305 w 306"/>
              <a:gd name="T5" fmla="*/ 152 h 306"/>
              <a:gd name="T6" fmla="*/ 305 w 306"/>
              <a:gd name="T7" fmla="*/ 152 h 306"/>
              <a:gd name="T8" fmla="*/ 153 w 306"/>
              <a:gd name="T9" fmla="*/ 305 h 306"/>
              <a:gd name="T10" fmla="*/ 153 w 306"/>
              <a:gd name="T11" fmla="*/ 305 h 306"/>
              <a:gd name="T12" fmla="*/ 0 w 306"/>
              <a:gd name="T13" fmla="*/ 152 h 306"/>
              <a:gd name="T14" fmla="*/ 0 w 306"/>
              <a:gd name="T15" fmla="*/ 152 h 306"/>
              <a:gd name="T16" fmla="*/ 153 w 306"/>
              <a:gd name="T1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306">
                <a:moveTo>
                  <a:pt x="153" y="0"/>
                </a:moveTo>
                <a:lnTo>
                  <a:pt x="153" y="0"/>
                </a:lnTo>
                <a:cubicBezTo>
                  <a:pt x="237" y="0"/>
                  <a:pt x="305" y="68"/>
                  <a:pt x="305" y="152"/>
                </a:cubicBezTo>
                <a:lnTo>
                  <a:pt x="305" y="152"/>
                </a:lnTo>
                <a:cubicBezTo>
                  <a:pt x="305" y="237"/>
                  <a:pt x="237" y="305"/>
                  <a:pt x="153" y="305"/>
                </a:cubicBezTo>
                <a:lnTo>
                  <a:pt x="153" y="305"/>
                </a:lnTo>
                <a:cubicBezTo>
                  <a:pt x="68" y="305"/>
                  <a:pt x="0" y="237"/>
                  <a:pt x="0" y="152"/>
                </a:cubicBezTo>
                <a:lnTo>
                  <a:pt x="0" y="152"/>
                </a:lnTo>
                <a:cubicBezTo>
                  <a:pt x="0" y="68"/>
                  <a:pt x="68" y="0"/>
                  <a:pt x="153" y="0"/>
                </a:cubicBezTo>
              </a:path>
            </a:pathLst>
          </a:custGeom>
          <a:solidFill>
            <a:schemeClr val="accent4"/>
          </a:solidFill>
          <a:ln>
            <a:noFill/>
          </a:ln>
          <a:effectLst/>
          <a:extLst>
            <a:ext uri="{91240B29-F687-4F45-9708-019B960494DF}">
              <a14:hiddenLine xmlns:a14="http://schemas.microsoft.com/office/drawing/2010/main" w="9525" cap="flat">
                <a:solidFill>
                  <a:srgbClr val="118AB2"/>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a:latin typeface="+mj-lt"/>
            </a:endParaRPr>
          </a:p>
        </p:txBody>
      </p:sp>
      <p:sp>
        <p:nvSpPr>
          <p:cNvPr id="45" name="Freeform 153">
            <a:extLst>
              <a:ext uri="{FF2B5EF4-FFF2-40B4-BE49-F238E27FC236}">
                <a16:creationId xmlns:a16="http://schemas.microsoft.com/office/drawing/2014/main" id="{2BE797EF-01C9-B882-B463-FBD60DD964AF}"/>
              </a:ext>
            </a:extLst>
          </p:cNvPr>
          <p:cNvSpPr>
            <a:spLocks noChangeArrowheads="1"/>
          </p:cNvSpPr>
          <p:nvPr userDrawn="1"/>
        </p:nvSpPr>
        <p:spPr bwMode="auto">
          <a:xfrm>
            <a:off x="5556255" y="2156433"/>
            <a:ext cx="1079496" cy="1079495"/>
          </a:xfrm>
          <a:custGeom>
            <a:avLst/>
            <a:gdLst>
              <a:gd name="T0" fmla="*/ 866 w 1734"/>
              <a:gd name="T1" fmla="*/ 0 h 1734"/>
              <a:gd name="T2" fmla="*/ 866 w 1734"/>
              <a:gd name="T3" fmla="*/ 0 h 1734"/>
              <a:gd name="T4" fmla="*/ 1733 w 1734"/>
              <a:gd name="T5" fmla="*/ 867 h 1734"/>
              <a:gd name="T6" fmla="*/ 1733 w 1734"/>
              <a:gd name="T7" fmla="*/ 867 h 1734"/>
              <a:gd name="T8" fmla="*/ 866 w 1734"/>
              <a:gd name="T9" fmla="*/ 1733 h 1734"/>
              <a:gd name="T10" fmla="*/ 866 w 1734"/>
              <a:gd name="T11" fmla="*/ 1733 h 1734"/>
              <a:gd name="T12" fmla="*/ 0 w 1734"/>
              <a:gd name="T13" fmla="*/ 867 h 1734"/>
              <a:gd name="T14" fmla="*/ 0 w 1734"/>
              <a:gd name="T15" fmla="*/ 867 h 1734"/>
              <a:gd name="T16" fmla="*/ 866 w 1734"/>
              <a:gd name="T17" fmla="*/ 0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4" h="1734">
                <a:moveTo>
                  <a:pt x="866" y="0"/>
                </a:moveTo>
                <a:lnTo>
                  <a:pt x="866" y="0"/>
                </a:lnTo>
                <a:cubicBezTo>
                  <a:pt x="1345" y="0"/>
                  <a:pt x="1733" y="388"/>
                  <a:pt x="1733" y="867"/>
                </a:cubicBezTo>
                <a:lnTo>
                  <a:pt x="1733" y="867"/>
                </a:lnTo>
                <a:cubicBezTo>
                  <a:pt x="1733" y="1345"/>
                  <a:pt x="1345" y="1733"/>
                  <a:pt x="866" y="1733"/>
                </a:cubicBezTo>
                <a:lnTo>
                  <a:pt x="866" y="1733"/>
                </a:lnTo>
                <a:cubicBezTo>
                  <a:pt x="388" y="1733"/>
                  <a:pt x="0" y="1345"/>
                  <a:pt x="0" y="867"/>
                </a:cubicBezTo>
                <a:lnTo>
                  <a:pt x="0" y="867"/>
                </a:lnTo>
                <a:cubicBezTo>
                  <a:pt x="0" y="388"/>
                  <a:pt x="388" y="0"/>
                  <a:pt x="866" y="0"/>
                </a:cubicBezTo>
              </a:path>
            </a:pathLst>
          </a:custGeom>
          <a:solidFill>
            <a:schemeClr val="accent3"/>
          </a:solidFill>
          <a:ln>
            <a:noFill/>
          </a:ln>
          <a:effectLst/>
          <a:extLst>
            <a:ext uri="{91240B29-F687-4F45-9708-019B960494DF}">
              <a14:hiddenLine xmlns:a14="http://schemas.microsoft.com/office/drawing/2010/main" w="9525" cap="flat">
                <a:solidFill>
                  <a:srgbClr val="06D6A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a:latin typeface="+mj-lt"/>
            </a:endParaRPr>
          </a:p>
        </p:txBody>
      </p:sp>
      <p:sp>
        <p:nvSpPr>
          <p:cNvPr id="46" name="Freeform 154">
            <a:extLst>
              <a:ext uri="{FF2B5EF4-FFF2-40B4-BE49-F238E27FC236}">
                <a16:creationId xmlns:a16="http://schemas.microsoft.com/office/drawing/2014/main" id="{E1968861-45E1-C2EC-D535-08734BF9A404}"/>
              </a:ext>
            </a:extLst>
          </p:cNvPr>
          <p:cNvSpPr>
            <a:spLocks noChangeArrowheads="1"/>
          </p:cNvSpPr>
          <p:nvPr userDrawn="1"/>
        </p:nvSpPr>
        <p:spPr bwMode="auto">
          <a:xfrm>
            <a:off x="5712822" y="2315748"/>
            <a:ext cx="763613" cy="763613"/>
          </a:xfrm>
          <a:custGeom>
            <a:avLst/>
            <a:gdLst>
              <a:gd name="T0" fmla="*/ 612 w 1224"/>
              <a:gd name="T1" fmla="*/ 0 h 1224"/>
              <a:gd name="T2" fmla="*/ 612 w 1224"/>
              <a:gd name="T3" fmla="*/ 0 h 1224"/>
              <a:gd name="T4" fmla="*/ 1223 w 1224"/>
              <a:gd name="T5" fmla="*/ 612 h 1224"/>
              <a:gd name="T6" fmla="*/ 1223 w 1224"/>
              <a:gd name="T7" fmla="*/ 612 h 1224"/>
              <a:gd name="T8" fmla="*/ 612 w 1224"/>
              <a:gd name="T9" fmla="*/ 1223 h 1224"/>
              <a:gd name="T10" fmla="*/ 612 w 1224"/>
              <a:gd name="T11" fmla="*/ 1223 h 1224"/>
              <a:gd name="T12" fmla="*/ 0 w 1224"/>
              <a:gd name="T13" fmla="*/ 612 h 1224"/>
              <a:gd name="T14" fmla="*/ 0 w 1224"/>
              <a:gd name="T15" fmla="*/ 612 h 1224"/>
              <a:gd name="T16" fmla="*/ 612 w 1224"/>
              <a:gd name="T17" fmla="*/ 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4" h="1224">
                <a:moveTo>
                  <a:pt x="612" y="0"/>
                </a:moveTo>
                <a:lnTo>
                  <a:pt x="612" y="0"/>
                </a:lnTo>
                <a:cubicBezTo>
                  <a:pt x="950" y="0"/>
                  <a:pt x="1223" y="274"/>
                  <a:pt x="1223" y="612"/>
                </a:cubicBezTo>
                <a:lnTo>
                  <a:pt x="1223" y="612"/>
                </a:lnTo>
                <a:cubicBezTo>
                  <a:pt x="1223" y="949"/>
                  <a:pt x="950" y="1223"/>
                  <a:pt x="612" y="1223"/>
                </a:cubicBezTo>
                <a:lnTo>
                  <a:pt x="612" y="1223"/>
                </a:lnTo>
                <a:cubicBezTo>
                  <a:pt x="274" y="1223"/>
                  <a:pt x="0" y="949"/>
                  <a:pt x="0" y="612"/>
                </a:cubicBezTo>
                <a:lnTo>
                  <a:pt x="0" y="612"/>
                </a:lnTo>
                <a:cubicBezTo>
                  <a:pt x="0" y="274"/>
                  <a:pt x="274" y="0"/>
                  <a:pt x="612" y="0"/>
                </a:cubicBezTo>
              </a:path>
            </a:pathLst>
          </a:custGeom>
          <a:solidFill>
            <a:schemeClr val="bg1"/>
          </a:solidFill>
          <a:ln>
            <a:noFill/>
          </a:ln>
          <a:effectLst/>
          <a:extLst>
            <a:ext uri="{91240B29-F687-4F45-9708-019B960494DF}">
              <a14:hiddenLine xmlns:a14="http://schemas.microsoft.com/office/drawing/2010/main" w="9525" cap="flat">
                <a:solidFill>
                  <a:srgbClr val="06D6A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a:latin typeface="+mj-lt"/>
            </a:endParaRPr>
          </a:p>
        </p:txBody>
      </p:sp>
      <p:sp>
        <p:nvSpPr>
          <p:cNvPr id="47" name="Freeform 216">
            <a:extLst>
              <a:ext uri="{FF2B5EF4-FFF2-40B4-BE49-F238E27FC236}">
                <a16:creationId xmlns:a16="http://schemas.microsoft.com/office/drawing/2014/main" id="{535253C2-F6DC-79F5-E3BD-C4ACCCBFB7DF}"/>
              </a:ext>
            </a:extLst>
          </p:cNvPr>
          <p:cNvSpPr>
            <a:spLocks noChangeArrowheads="1"/>
          </p:cNvSpPr>
          <p:nvPr userDrawn="1"/>
        </p:nvSpPr>
        <p:spPr bwMode="auto">
          <a:xfrm>
            <a:off x="6075399" y="3128803"/>
            <a:ext cx="32962" cy="1675554"/>
          </a:xfrm>
          <a:custGeom>
            <a:avLst/>
            <a:gdLst>
              <a:gd name="T0" fmla="*/ 26 w 53"/>
              <a:gd name="T1" fmla="*/ 2689 h 2690"/>
              <a:gd name="T2" fmla="*/ 26 w 53"/>
              <a:gd name="T3" fmla="*/ 2689 h 2690"/>
              <a:gd name="T4" fmla="*/ 0 w 53"/>
              <a:gd name="T5" fmla="*/ 2664 h 2690"/>
              <a:gd name="T6" fmla="*/ 0 w 53"/>
              <a:gd name="T7" fmla="*/ 25 h 2690"/>
              <a:gd name="T8" fmla="*/ 0 w 53"/>
              <a:gd name="T9" fmla="*/ 25 h 2690"/>
              <a:gd name="T10" fmla="*/ 26 w 53"/>
              <a:gd name="T11" fmla="*/ 0 h 2690"/>
              <a:gd name="T12" fmla="*/ 26 w 53"/>
              <a:gd name="T13" fmla="*/ 0 h 2690"/>
              <a:gd name="T14" fmla="*/ 52 w 53"/>
              <a:gd name="T15" fmla="*/ 25 h 2690"/>
              <a:gd name="T16" fmla="*/ 52 w 53"/>
              <a:gd name="T17" fmla="*/ 2664 h 2690"/>
              <a:gd name="T18" fmla="*/ 52 w 53"/>
              <a:gd name="T19" fmla="*/ 2664 h 2690"/>
              <a:gd name="T20" fmla="*/ 26 w 53"/>
              <a:gd name="T21" fmla="*/ 2689 h 2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690">
                <a:moveTo>
                  <a:pt x="26" y="2689"/>
                </a:moveTo>
                <a:lnTo>
                  <a:pt x="26" y="2689"/>
                </a:lnTo>
                <a:cubicBezTo>
                  <a:pt x="12" y="2689"/>
                  <a:pt x="0" y="2678"/>
                  <a:pt x="0" y="2664"/>
                </a:cubicBezTo>
                <a:lnTo>
                  <a:pt x="0" y="25"/>
                </a:lnTo>
                <a:lnTo>
                  <a:pt x="0" y="25"/>
                </a:lnTo>
                <a:cubicBezTo>
                  <a:pt x="0" y="11"/>
                  <a:pt x="12" y="0"/>
                  <a:pt x="26" y="0"/>
                </a:cubicBezTo>
                <a:lnTo>
                  <a:pt x="26" y="0"/>
                </a:lnTo>
                <a:cubicBezTo>
                  <a:pt x="40" y="0"/>
                  <a:pt x="52" y="11"/>
                  <a:pt x="52" y="25"/>
                </a:cubicBezTo>
                <a:lnTo>
                  <a:pt x="52" y="2664"/>
                </a:lnTo>
                <a:lnTo>
                  <a:pt x="52" y="2664"/>
                </a:lnTo>
                <a:cubicBezTo>
                  <a:pt x="52" y="2678"/>
                  <a:pt x="40" y="2689"/>
                  <a:pt x="26" y="2689"/>
                </a:cubicBezTo>
              </a:path>
            </a:pathLst>
          </a:custGeom>
          <a:solidFill>
            <a:schemeClr val="accent3"/>
          </a:solidFill>
          <a:ln>
            <a:noFill/>
          </a:ln>
          <a:effectLst/>
          <a:extLst>
            <a:ext uri="{91240B29-F687-4F45-9708-019B960494DF}">
              <a14:hiddenLine xmlns:a14="http://schemas.microsoft.com/office/drawing/2010/main" w="9525" cap="flat">
                <a:solidFill>
                  <a:srgbClr val="06D6A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a:latin typeface="+mj-lt"/>
            </a:endParaRPr>
          </a:p>
        </p:txBody>
      </p:sp>
      <p:sp>
        <p:nvSpPr>
          <p:cNvPr id="48" name="Freeform 217">
            <a:extLst>
              <a:ext uri="{FF2B5EF4-FFF2-40B4-BE49-F238E27FC236}">
                <a16:creationId xmlns:a16="http://schemas.microsoft.com/office/drawing/2014/main" id="{49D8B3D1-8B05-4CFC-FCDD-1F290CA9DA99}"/>
              </a:ext>
            </a:extLst>
          </p:cNvPr>
          <p:cNvSpPr>
            <a:spLocks noChangeArrowheads="1"/>
          </p:cNvSpPr>
          <p:nvPr userDrawn="1"/>
        </p:nvSpPr>
        <p:spPr bwMode="auto">
          <a:xfrm>
            <a:off x="5995744" y="4710965"/>
            <a:ext cx="192277" cy="189529"/>
          </a:xfrm>
          <a:custGeom>
            <a:avLst/>
            <a:gdLst>
              <a:gd name="T0" fmla="*/ 153 w 307"/>
              <a:gd name="T1" fmla="*/ 0 h 306"/>
              <a:gd name="T2" fmla="*/ 153 w 307"/>
              <a:gd name="T3" fmla="*/ 0 h 306"/>
              <a:gd name="T4" fmla="*/ 306 w 307"/>
              <a:gd name="T5" fmla="*/ 152 h 306"/>
              <a:gd name="T6" fmla="*/ 306 w 307"/>
              <a:gd name="T7" fmla="*/ 152 h 306"/>
              <a:gd name="T8" fmla="*/ 153 w 307"/>
              <a:gd name="T9" fmla="*/ 305 h 306"/>
              <a:gd name="T10" fmla="*/ 153 w 307"/>
              <a:gd name="T11" fmla="*/ 305 h 306"/>
              <a:gd name="T12" fmla="*/ 0 w 307"/>
              <a:gd name="T13" fmla="*/ 152 h 306"/>
              <a:gd name="T14" fmla="*/ 0 w 307"/>
              <a:gd name="T15" fmla="*/ 152 h 306"/>
              <a:gd name="T16" fmla="*/ 153 w 307"/>
              <a:gd name="T1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306">
                <a:moveTo>
                  <a:pt x="153" y="0"/>
                </a:moveTo>
                <a:lnTo>
                  <a:pt x="153" y="0"/>
                </a:lnTo>
                <a:cubicBezTo>
                  <a:pt x="238" y="0"/>
                  <a:pt x="306" y="68"/>
                  <a:pt x="306" y="152"/>
                </a:cubicBezTo>
                <a:lnTo>
                  <a:pt x="306" y="152"/>
                </a:lnTo>
                <a:cubicBezTo>
                  <a:pt x="306" y="237"/>
                  <a:pt x="238" y="305"/>
                  <a:pt x="153" y="305"/>
                </a:cubicBezTo>
                <a:lnTo>
                  <a:pt x="153" y="305"/>
                </a:lnTo>
                <a:cubicBezTo>
                  <a:pt x="68" y="305"/>
                  <a:pt x="0" y="237"/>
                  <a:pt x="0" y="152"/>
                </a:cubicBezTo>
                <a:lnTo>
                  <a:pt x="0" y="152"/>
                </a:lnTo>
                <a:cubicBezTo>
                  <a:pt x="0" y="68"/>
                  <a:pt x="68" y="0"/>
                  <a:pt x="153" y="0"/>
                </a:cubicBezTo>
              </a:path>
            </a:pathLst>
          </a:custGeom>
          <a:solidFill>
            <a:schemeClr val="accent3"/>
          </a:solidFill>
          <a:ln>
            <a:noFill/>
          </a:ln>
          <a:effectLst/>
          <a:extLst>
            <a:ext uri="{91240B29-F687-4F45-9708-019B960494DF}">
              <a14:hiddenLine xmlns:a14="http://schemas.microsoft.com/office/drawing/2010/main" w="9525" cap="flat">
                <a:solidFill>
                  <a:srgbClr val="06D6A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a:latin typeface="+mj-lt"/>
            </a:endParaRPr>
          </a:p>
        </p:txBody>
      </p:sp>
      <p:sp>
        <p:nvSpPr>
          <p:cNvPr id="60" name="Freeform 1053">
            <a:extLst>
              <a:ext uri="{FF2B5EF4-FFF2-40B4-BE49-F238E27FC236}">
                <a16:creationId xmlns:a16="http://schemas.microsoft.com/office/drawing/2014/main" id="{25B6F19E-D2C1-44F0-0F2D-26A29F60BA23}"/>
              </a:ext>
            </a:extLst>
          </p:cNvPr>
          <p:cNvSpPr>
            <a:spLocks noChangeAspect="1" noChangeArrowheads="1"/>
          </p:cNvSpPr>
          <p:nvPr userDrawn="1"/>
        </p:nvSpPr>
        <p:spPr bwMode="auto">
          <a:xfrm>
            <a:off x="8080547" y="3593859"/>
            <a:ext cx="362536" cy="363631"/>
          </a:xfrm>
          <a:custGeom>
            <a:avLst/>
            <a:gdLst>
              <a:gd name="T0" fmla="*/ 50512908 w 290150"/>
              <a:gd name="T1" fmla="*/ 112216769 h 290153"/>
              <a:gd name="T2" fmla="*/ 71643929 w 290150"/>
              <a:gd name="T3" fmla="*/ 112216769 h 290153"/>
              <a:gd name="T4" fmla="*/ 72851536 w 290150"/>
              <a:gd name="T5" fmla="*/ 104874323 h 290153"/>
              <a:gd name="T6" fmla="*/ 73303909 w 290150"/>
              <a:gd name="T7" fmla="*/ 125807186 h 290153"/>
              <a:gd name="T8" fmla="*/ 47041501 w 290150"/>
              <a:gd name="T9" fmla="*/ 112216769 h 290153"/>
              <a:gd name="T10" fmla="*/ 60928191 w 290150"/>
              <a:gd name="T11" fmla="*/ 92618361 h 290153"/>
              <a:gd name="T12" fmla="*/ 65299099 w 290150"/>
              <a:gd name="T13" fmla="*/ 96900809 h 290153"/>
              <a:gd name="T14" fmla="*/ 69067784 w 290150"/>
              <a:gd name="T15" fmla="*/ 96900809 h 290153"/>
              <a:gd name="T16" fmla="*/ 60928191 w 290150"/>
              <a:gd name="T17" fmla="*/ 88794158 h 290153"/>
              <a:gd name="T18" fmla="*/ 97925242 w 290150"/>
              <a:gd name="T19" fmla="*/ 95540301 h 290153"/>
              <a:gd name="T20" fmla="*/ 119137542 w 290150"/>
              <a:gd name="T21" fmla="*/ 95540301 h 290153"/>
              <a:gd name="T22" fmla="*/ 120521184 w 290150"/>
              <a:gd name="T23" fmla="*/ 88354753 h 290153"/>
              <a:gd name="T24" fmla="*/ 120982084 w 290150"/>
              <a:gd name="T25" fmla="*/ 109287812 h 290153"/>
              <a:gd name="T26" fmla="*/ 94083017 w 290150"/>
              <a:gd name="T27" fmla="*/ 95540301 h 290153"/>
              <a:gd name="T28" fmla="*/ 5225161 w 290150"/>
              <a:gd name="T29" fmla="*/ 88198331 h 290153"/>
              <a:gd name="T30" fmla="*/ 3841671 w 290150"/>
              <a:gd name="T31" fmla="*/ 105538387 h 290153"/>
              <a:gd name="T32" fmla="*/ 23210418 w 290150"/>
              <a:gd name="T33" fmla="*/ 90854292 h 290153"/>
              <a:gd name="T34" fmla="*/ 28743105 w 290150"/>
              <a:gd name="T35" fmla="*/ 95540301 h 290153"/>
              <a:gd name="T36" fmla="*/ 1843151 w 290150"/>
              <a:gd name="T37" fmla="*/ 109287812 h 290153"/>
              <a:gd name="T38" fmla="*/ 2613370 w 290150"/>
              <a:gd name="T39" fmla="*/ 88354753 h 290153"/>
              <a:gd name="T40" fmla="*/ 103749164 w 290150"/>
              <a:gd name="T41" fmla="*/ 80534003 h 290153"/>
              <a:gd name="T42" fmla="*/ 108120542 w 290150"/>
              <a:gd name="T43" fmla="*/ 76170591 h 290153"/>
              <a:gd name="T44" fmla="*/ 14113170 w 290150"/>
              <a:gd name="T45" fmla="*/ 84897974 h 290153"/>
              <a:gd name="T46" fmla="*/ 108120542 w 290150"/>
              <a:gd name="T47" fmla="*/ 72274450 h 290153"/>
              <a:gd name="T48" fmla="*/ 100131720 w 290150"/>
              <a:gd name="T49" fmla="*/ 80534003 h 290153"/>
              <a:gd name="T50" fmla="*/ 22026811 w 290150"/>
              <a:gd name="T51" fmla="*/ 80534003 h 290153"/>
              <a:gd name="T52" fmla="*/ 14113170 w 290150"/>
              <a:gd name="T53" fmla="*/ 72274450 h 290153"/>
              <a:gd name="T54" fmla="*/ 63008703 w 290150"/>
              <a:gd name="T55" fmla="*/ 80412125 h 290153"/>
              <a:gd name="T56" fmla="*/ 59137589 w 290150"/>
              <a:gd name="T57" fmla="*/ 62603942 h 290153"/>
              <a:gd name="T58" fmla="*/ 80256690 w 290150"/>
              <a:gd name="T59" fmla="*/ 57099948 h 290153"/>
              <a:gd name="T60" fmla="*/ 93931211 w 290150"/>
              <a:gd name="T61" fmla="*/ 80409045 h 290153"/>
              <a:gd name="T62" fmla="*/ 76610144 w 290150"/>
              <a:gd name="T63" fmla="*/ 80409045 h 290153"/>
              <a:gd name="T64" fmla="*/ 43722759 w 290150"/>
              <a:gd name="T65" fmla="*/ 55066252 h 290153"/>
              <a:gd name="T66" fmla="*/ 43722759 w 290150"/>
              <a:gd name="T67" fmla="*/ 82442127 h 290153"/>
              <a:gd name="T68" fmla="*/ 30048198 w 290150"/>
              <a:gd name="T69" fmla="*/ 78531644 h 290153"/>
              <a:gd name="T70" fmla="*/ 43722759 w 290150"/>
              <a:gd name="T71" fmla="*/ 55066252 h 290153"/>
              <a:gd name="T72" fmla="*/ 63252607 w 290150"/>
              <a:gd name="T73" fmla="*/ 25159684 h 290153"/>
              <a:gd name="T74" fmla="*/ 72601980 w 290150"/>
              <a:gd name="T75" fmla="*/ 29060761 h 290153"/>
              <a:gd name="T76" fmla="*/ 61566426 w 290150"/>
              <a:gd name="T77" fmla="*/ 40455101 h 290153"/>
              <a:gd name="T78" fmla="*/ 50225094 w 290150"/>
              <a:gd name="T79" fmla="*/ 29060761 h 290153"/>
              <a:gd name="T80" fmla="*/ 59574112 w 290150"/>
              <a:gd name="T81" fmla="*/ 25159684 h 290153"/>
              <a:gd name="T82" fmla="*/ 61230865 w 290150"/>
              <a:gd name="T83" fmla="*/ 3765819 h 290153"/>
              <a:gd name="T84" fmla="*/ 84052482 w 290150"/>
              <a:gd name="T85" fmla="*/ 27296629 h 290153"/>
              <a:gd name="T86" fmla="*/ 87881874 w 290150"/>
              <a:gd name="T87" fmla="*/ 27296629 h 290153"/>
              <a:gd name="T88" fmla="*/ 61230865 w 290150"/>
              <a:gd name="T89" fmla="*/ 0 h 2901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90150" h="290153">
                <a:moveTo>
                  <a:pt x="122891" y="241515"/>
                </a:moveTo>
                <a:cubicBezTo>
                  <a:pt x="124674" y="242596"/>
                  <a:pt x="125030" y="245478"/>
                  <a:pt x="123604" y="247639"/>
                </a:cubicBezTo>
                <a:cubicBezTo>
                  <a:pt x="121108" y="250882"/>
                  <a:pt x="119325" y="254485"/>
                  <a:pt x="119325" y="258808"/>
                </a:cubicBezTo>
                <a:lnTo>
                  <a:pt x="119325" y="281506"/>
                </a:lnTo>
                <a:lnTo>
                  <a:pt x="169243" y="281506"/>
                </a:lnTo>
                <a:lnTo>
                  <a:pt x="169243" y="258808"/>
                </a:lnTo>
                <a:cubicBezTo>
                  <a:pt x="169243" y="254485"/>
                  <a:pt x="167460" y="250882"/>
                  <a:pt x="164964" y="247639"/>
                </a:cubicBezTo>
                <a:cubicBezTo>
                  <a:pt x="163538" y="245478"/>
                  <a:pt x="163894" y="242596"/>
                  <a:pt x="166034" y="241515"/>
                </a:cubicBezTo>
                <a:cubicBezTo>
                  <a:pt x="167460" y="239713"/>
                  <a:pt x="170312" y="239713"/>
                  <a:pt x="172095" y="241875"/>
                </a:cubicBezTo>
                <a:cubicBezTo>
                  <a:pt x="175660" y="246919"/>
                  <a:pt x="177443" y="252683"/>
                  <a:pt x="177443" y="258808"/>
                </a:cubicBezTo>
                <a:lnTo>
                  <a:pt x="177443" y="285469"/>
                </a:lnTo>
                <a:cubicBezTo>
                  <a:pt x="177443" y="288352"/>
                  <a:pt x="175660" y="290153"/>
                  <a:pt x="173165" y="290153"/>
                </a:cubicBezTo>
                <a:lnTo>
                  <a:pt x="115047" y="290153"/>
                </a:lnTo>
                <a:cubicBezTo>
                  <a:pt x="112908" y="290153"/>
                  <a:pt x="111125" y="288352"/>
                  <a:pt x="111125" y="285469"/>
                </a:cubicBezTo>
                <a:lnTo>
                  <a:pt x="111125" y="258808"/>
                </a:lnTo>
                <a:cubicBezTo>
                  <a:pt x="111125" y="252683"/>
                  <a:pt x="112908" y="246919"/>
                  <a:pt x="116830" y="241875"/>
                </a:cubicBezTo>
                <a:cubicBezTo>
                  <a:pt x="118256" y="239713"/>
                  <a:pt x="121108" y="239713"/>
                  <a:pt x="122891" y="241515"/>
                </a:cubicBezTo>
                <a:close/>
                <a:moveTo>
                  <a:pt x="143929" y="213608"/>
                </a:moveTo>
                <a:cubicBezTo>
                  <a:pt x="138944" y="213608"/>
                  <a:pt x="134315" y="218194"/>
                  <a:pt x="134315" y="223485"/>
                </a:cubicBezTo>
                <a:cubicBezTo>
                  <a:pt x="134315" y="229483"/>
                  <a:pt x="138944" y="234069"/>
                  <a:pt x="143929" y="234069"/>
                </a:cubicBezTo>
                <a:cubicBezTo>
                  <a:pt x="149626" y="234069"/>
                  <a:pt x="154255" y="229483"/>
                  <a:pt x="154255" y="223485"/>
                </a:cubicBezTo>
                <a:cubicBezTo>
                  <a:pt x="154255" y="218194"/>
                  <a:pt x="149626" y="213608"/>
                  <a:pt x="143929" y="213608"/>
                </a:cubicBezTo>
                <a:close/>
                <a:moveTo>
                  <a:pt x="143929" y="204788"/>
                </a:moveTo>
                <a:cubicBezTo>
                  <a:pt x="154611" y="204788"/>
                  <a:pt x="163157" y="213608"/>
                  <a:pt x="163157" y="223485"/>
                </a:cubicBezTo>
                <a:cubicBezTo>
                  <a:pt x="163157" y="234069"/>
                  <a:pt x="154611" y="242535"/>
                  <a:pt x="143929" y="242535"/>
                </a:cubicBezTo>
                <a:cubicBezTo>
                  <a:pt x="133959" y="242535"/>
                  <a:pt x="125413" y="234069"/>
                  <a:pt x="125413" y="223485"/>
                </a:cubicBezTo>
                <a:cubicBezTo>
                  <a:pt x="125413" y="213608"/>
                  <a:pt x="133959" y="204788"/>
                  <a:pt x="143929" y="204788"/>
                </a:cubicBezTo>
                <a:close/>
                <a:moveTo>
                  <a:pt x="234596" y="203415"/>
                </a:moveTo>
                <a:cubicBezTo>
                  <a:pt x="236411" y="204856"/>
                  <a:pt x="236411" y="207378"/>
                  <a:pt x="235322" y="209539"/>
                </a:cubicBezTo>
                <a:cubicBezTo>
                  <a:pt x="232417" y="212782"/>
                  <a:pt x="231328" y="216385"/>
                  <a:pt x="231328" y="220348"/>
                </a:cubicBezTo>
                <a:lnTo>
                  <a:pt x="231328" y="243406"/>
                </a:lnTo>
                <a:lnTo>
                  <a:pt x="281436" y="243406"/>
                </a:lnTo>
                <a:lnTo>
                  <a:pt x="281436" y="220348"/>
                </a:lnTo>
                <a:cubicBezTo>
                  <a:pt x="281436" y="216385"/>
                  <a:pt x="279983" y="212782"/>
                  <a:pt x="277079" y="209539"/>
                </a:cubicBezTo>
                <a:cubicBezTo>
                  <a:pt x="275989" y="207378"/>
                  <a:pt x="276352" y="204856"/>
                  <a:pt x="278168" y="203415"/>
                </a:cubicBezTo>
                <a:cubicBezTo>
                  <a:pt x="279983" y="201613"/>
                  <a:pt x="282525" y="201974"/>
                  <a:pt x="284704" y="203775"/>
                </a:cubicBezTo>
                <a:cubicBezTo>
                  <a:pt x="288335" y="208459"/>
                  <a:pt x="290150" y="214223"/>
                  <a:pt x="290150" y="220348"/>
                </a:cubicBezTo>
                <a:lnTo>
                  <a:pt x="290150" y="247730"/>
                </a:lnTo>
                <a:cubicBezTo>
                  <a:pt x="290150" y="250252"/>
                  <a:pt x="288335" y="252053"/>
                  <a:pt x="285793" y="252053"/>
                </a:cubicBezTo>
                <a:lnTo>
                  <a:pt x="226607" y="252053"/>
                </a:lnTo>
                <a:cubicBezTo>
                  <a:pt x="224066" y="252053"/>
                  <a:pt x="222250" y="250252"/>
                  <a:pt x="222250" y="247730"/>
                </a:cubicBezTo>
                <a:lnTo>
                  <a:pt x="222250" y="220348"/>
                </a:lnTo>
                <a:cubicBezTo>
                  <a:pt x="222250" y="214223"/>
                  <a:pt x="224066" y="208459"/>
                  <a:pt x="228423" y="203775"/>
                </a:cubicBezTo>
                <a:cubicBezTo>
                  <a:pt x="229875" y="201974"/>
                  <a:pt x="232417" y="201613"/>
                  <a:pt x="234596" y="203415"/>
                </a:cubicBezTo>
                <a:close/>
                <a:moveTo>
                  <a:pt x="12345" y="203415"/>
                </a:moveTo>
                <a:cubicBezTo>
                  <a:pt x="13798" y="204856"/>
                  <a:pt x="14161" y="207378"/>
                  <a:pt x="12708" y="209539"/>
                </a:cubicBezTo>
                <a:cubicBezTo>
                  <a:pt x="10167" y="212782"/>
                  <a:pt x="9077" y="216385"/>
                  <a:pt x="9077" y="220348"/>
                </a:cubicBezTo>
                <a:lnTo>
                  <a:pt x="9077" y="243406"/>
                </a:lnTo>
                <a:lnTo>
                  <a:pt x="59185" y="243406"/>
                </a:lnTo>
                <a:lnTo>
                  <a:pt x="59185" y="220348"/>
                </a:lnTo>
                <a:cubicBezTo>
                  <a:pt x="59185" y="216385"/>
                  <a:pt x="57733" y="212782"/>
                  <a:pt x="54828" y="209539"/>
                </a:cubicBezTo>
                <a:cubicBezTo>
                  <a:pt x="53739" y="207378"/>
                  <a:pt x="53739" y="204856"/>
                  <a:pt x="55917" y="203415"/>
                </a:cubicBezTo>
                <a:cubicBezTo>
                  <a:pt x="57733" y="201613"/>
                  <a:pt x="60275" y="201974"/>
                  <a:pt x="62090" y="203775"/>
                </a:cubicBezTo>
                <a:cubicBezTo>
                  <a:pt x="66084" y="208459"/>
                  <a:pt x="67900" y="214223"/>
                  <a:pt x="67900" y="220348"/>
                </a:cubicBezTo>
                <a:lnTo>
                  <a:pt x="67900" y="247730"/>
                </a:lnTo>
                <a:cubicBezTo>
                  <a:pt x="67900" y="250252"/>
                  <a:pt x="66084" y="252053"/>
                  <a:pt x="63542" y="252053"/>
                </a:cubicBezTo>
                <a:lnTo>
                  <a:pt x="4357" y="252053"/>
                </a:lnTo>
                <a:cubicBezTo>
                  <a:pt x="1815" y="252053"/>
                  <a:pt x="0" y="250252"/>
                  <a:pt x="0" y="247730"/>
                </a:cubicBezTo>
                <a:lnTo>
                  <a:pt x="0" y="220348"/>
                </a:lnTo>
                <a:cubicBezTo>
                  <a:pt x="0" y="214223"/>
                  <a:pt x="2178" y="208459"/>
                  <a:pt x="6172" y="203775"/>
                </a:cubicBezTo>
                <a:cubicBezTo>
                  <a:pt x="7625" y="201974"/>
                  <a:pt x="10167" y="201613"/>
                  <a:pt x="12345" y="203415"/>
                </a:cubicBezTo>
                <a:close/>
                <a:moveTo>
                  <a:pt x="255410" y="175674"/>
                </a:moveTo>
                <a:cubicBezTo>
                  <a:pt x="249713" y="175674"/>
                  <a:pt x="245084" y="179987"/>
                  <a:pt x="245084" y="185738"/>
                </a:cubicBezTo>
                <a:cubicBezTo>
                  <a:pt x="245084" y="191130"/>
                  <a:pt x="249713" y="195802"/>
                  <a:pt x="255410" y="195802"/>
                </a:cubicBezTo>
                <a:cubicBezTo>
                  <a:pt x="260751" y="195802"/>
                  <a:pt x="265380" y="191130"/>
                  <a:pt x="265380" y="185738"/>
                </a:cubicBezTo>
                <a:cubicBezTo>
                  <a:pt x="265380" y="179987"/>
                  <a:pt x="260751" y="175674"/>
                  <a:pt x="255410" y="175674"/>
                </a:cubicBezTo>
                <a:close/>
                <a:moveTo>
                  <a:pt x="33338" y="175674"/>
                </a:moveTo>
                <a:cubicBezTo>
                  <a:pt x="27693" y="175674"/>
                  <a:pt x="23107" y="179987"/>
                  <a:pt x="23107" y="185738"/>
                </a:cubicBezTo>
                <a:cubicBezTo>
                  <a:pt x="23107" y="191130"/>
                  <a:pt x="27693" y="195802"/>
                  <a:pt x="33338" y="195802"/>
                </a:cubicBezTo>
                <a:cubicBezTo>
                  <a:pt x="38629" y="195802"/>
                  <a:pt x="43216" y="191130"/>
                  <a:pt x="43216" y="185738"/>
                </a:cubicBezTo>
                <a:cubicBezTo>
                  <a:pt x="43216" y="179987"/>
                  <a:pt x="38629" y="175674"/>
                  <a:pt x="33338" y="175674"/>
                </a:cubicBezTo>
                <a:close/>
                <a:moveTo>
                  <a:pt x="255410" y="166688"/>
                </a:moveTo>
                <a:cubicBezTo>
                  <a:pt x="265736" y="166688"/>
                  <a:pt x="274282" y="175315"/>
                  <a:pt x="274282" y="185738"/>
                </a:cubicBezTo>
                <a:cubicBezTo>
                  <a:pt x="274282" y="196521"/>
                  <a:pt x="265736" y="204429"/>
                  <a:pt x="255410" y="204429"/>
                </a:cubicBezTo>
                <a:cubicBezTo>
                  <a:pt x="244728" y="204429"/>
                  <a:pt x="236538" y="196521"/>
                  <a:pt x="236538" y="185738"/>
                </a:cubicBezTo>
                <a:cubicBezTo>
                  <a:pt x="236538" y="175315"/>
                  <a:pt x="244728" y="166688"/>
                  <a:pt x="255410" y="166688"/>
                </a:cubicBezTo>
                <a:close/>
                <a:moveTo>
                  <a:pt x="33338" y="166688"/>
                </a:moveTo>
                <a:cubicBezTo>
                  <a:pt x="43568" y="166688"/>
                  <a:pt x="52035" y="175315"/>
                  <a:pt x="52035" y="185738"/>
                </a:cubicBezTo>
                <a:cubicBezTo>
                  <a:pt x="52035" y="196521"/>
                  <a:pt x="43568" y="204429"/>
                  <a:pt x="33338" y="204429"/>
                </a:cubicBezTo>
                <a:cubicBezTo>
                  <a:pt x="22754" y="204429"/>
                  <a:pt x="14288" y="196521"/>
                  <a:pt x="14288" y="185738"/>
                </a:cubicBezTo>
                <a:cubicBezTo>
                  <a:pt x="14288" y="175315"/>
                  <a:pt x="22754" y="166688"/>
                  <a:pt x="33338" y="166688"/>
                </a:cubicBezTo>
                <a:close/>
                <a:moveTo>
                  <a:pt x="143891" y="139700"/>
                </a:moveTo>
                <a:cubicBezTo>
                  <a:pt x="146939" y="139700"/>
                  <a:pt x="148844" y="141862"/>
                  <a:pt x="148844" y="144384"/>
                </a:cubicBezTo>
                <a:lnTo>
                  <a:pt x="148844" y="185456"/>
                </a:lnTo>
                <a:cubicBezTo>
                  <a:pt x="148844" y="187978"/>
                  <a:pt x="146939" y="190140"/>
                  <a:pt x="143891" y="190140"/>
                </a:cubicBezTo>
                <a:cubicBezTo>
                  <a:pt x="141605" y="190140"/>
                  <a:pt x="139700" y="187978"/>
                  <a:pt x="139700" y="185456"/>
                </a:cubicBezTo>
                <a:lnTo>
                  <a:pt x="139700" y="144384"/>
                </a:lnTo>
                <a:cubicBezTo>
                  <a:pt x="139700" y="141862"/>
                  <a:pt x="141605" y="139700"/>
                  <a:pt x="143891" y="139700"/>
                </a:cubicBezTo>
                <a:close/>
                <a:moveTo>
                  <a:pt x="185282" y="127000"/>
                </a:moveTo>
                <a:cubicBezTo>
                  <a:pt x="188154" y="127000"/>
                  <a:pt x="189589" y="128804"/>
                  <a:pt x="189589" y="131691"/>
                </a:cubicBezTo>
                <a:lnTo>
                  <a:pt x="189589" y="181120"/>
                </a:lnTo>
                <a:lnTo>
                  <a:pt x="217225" y="181120"/>
                </a:lnTo>
                <a:cubicBezTo>
                  <a:pt x="219738" y="181120"/>
                  <a:pt x="221891" y="182924"/>
                  <a:pt x="221891" y="185449"/>
                </a:cubicBezTo>
                <a:cubicBezTo>
                  <a:pt x="221891" y="187975"/>
                  <a:pt x="219738" y="190139"/>
                  <a:pt x="217225" y="190139"/>
                </a:cubicBezTo>
                <a:lnTo>
                  <a:pt x="185282" y="190139"/>
                </a:lnTo>
                <a:cubicBezTo>
                  <a:pt x="182770" y="190139"/>
                  <a:pt x="180975" y="187975"/>
                  <a:pt x="180975" y="185449"/>
                </a:cubicBezTo>
                <a:lnTo>
                  <a:pt x="180975" y="131691"/>
                </a:lnTo>
                <a:cubicBezTo>
                  <a:pt x="180975" y="128804"/>
                  <a:pt x="182770" y="127000"/>
                  <a:pt x="185282" y="127000"/>
                </a:cubicBezTo>
                <a:close/>
                <a:moveTo>
                  <a:pt x="103284" y="127000"/>
                </a:moveTo>
                <a:cubicBezTo>
                  <a:pt x="105796" y="127000"/>
                  <a:pt x="107591" y="128804"/>
                  <a:pt x="107591" y="131691"/>
                </a:cubicBezTo>
                <a:lnTo>
                  <a:pt x="107591" y="185449"/>
                </a:lnTo>
                <a:cubicBezTo>
                  <a:pt x="107591" y="187975"/>
                  <a:pt x="105796" y="190139"/>
                  <a:pt x="103284" y="190139"/>
                </a:cubicBezTo>
                <a:lnTo>
                  <a:pt x="70982" y="190139"/>
                </a:lnTo>
                <a:cubicBezTo>
                  <a:pt x="68828" y="190139"/>
                  <a:pt x="66675" y="187975"/>
                  <a:pt x="66675" y="185449"/>
                </a:cubicBezTo>
                <a:cubicBezTo>
                  <a:pt x="66675" y="182924"/>
                  <a:pt x="68828" y="181120"/>
                  <a:pt x="70982" y="181120"/>
                </a:cubicBezTo>
                <a:lnTo>
                  <a:pt x="98977" y="181120"/>
                </a:lnTo>
                <a:lnTo>
                  <a:pt x="98977" y="131691"/>
                </a:lnTo>
                <a:cubicBezTo>
                  <a:pt x="98977" y="128804"/>
                  <a:pt x="101130" y="127000"/>
                  <a:pt x="103284" y="127000"/>
                </a:cubicBezTo>
                <a:close/>
                <a:moveTo>
                  <a:pt x="145437" y="31750"/>
                </a:moveTo>
                <a:cubicBezTo>
                  <a:pt x="147610" y="31750"/>
                  <a:pt x="149420" y="33550"/>
                  <a:pt x="149420" y="36429"/>
                </a:cubicBezTo>
                <a:lnTo>
                  <a:pt x="149420" y="58027"/>
                </a:lnTo>
                <a:lnTo>
                  <a:pt x="171506" y="58027"/>
                </a:lnTo>
                <a:cubicBezTo>
                  <a:pt x="174040" y="58027"/>
                  <a:pt x="175851" y="60546"/>
                  <a:pt x="175851" y="62346"/>
                </a:cubicBezTo>
                <a:cubicBezTo>
                  <a:pt x="175851" y="65226"/>
                  <a:pt x="174040" y="67026"/>
                  <a:pt x="171506" y="67026"/>
                </a:cubicBezTo>
                <a:lnTo>
                  <a:pt x="149420" y="67026"/>
                </a:lnTo>
                <a:lnTo>
                  <a:pt x="149420" y="88983"/>
                </a:lnTo>
                <a:cubicBezTo>
                  <a:pt x="149420" y="91503"/>
                  <a:pt x="147610" y="93303"/>
                  <a:pt x="145437" y="93303"/>
                </a:cubicBezTo>
                <a:cubicBezTo>
                  <a:pt x="142541" y="93303"/>
                  <a:pt x="140730" y="91503"/>
                  <a:pt x="140730" y="88983"/>
                </a:cubicBezTo>
                <a:lnTo>
                  <a:pt x="140730" y="67026"/>
                </a:lnTo>
                <a:lnTo>
                  <a:pt x="118645" y="67026"/>
                </a:lnTo>
                <a:cubicBezTo>
                  <a:pt x="116110" y="67026"/>
                  <a:pt x="114300" y="65226"/>
                  <a:pt x="114300" y="62346"/>
                </a:cubicBezTo>
                <a:cubicBezTo>
                  <a:pt x="114300" y="60546"/>
                  <a:pt x="116110" y="58027"/>
                  <a:pt x="118645" y="58027"/>
                </a:cubicBezTo>
                <a:lnTo>
                  <a:pt x="140730" y="58027"/>
                </a:lnTo>
                <a:lnTo>
                  <a:pt x="140730" y="36429"/>
                </a:lnTo>
                <a:cubicBezTo>
                  <a:pt x="140730" y="33550"/>
                  <a:pt x="142541" y="31750"/>
                  <a:pt x="145437" y="31750"/>
                </a:cubicBezTo>
                <a:close/>
                <a:moveTo>
                  <a:pt x="144644" y="8684"/>
                </a:moveTo>
                <a:cubicBezTo>
                  <a:pt x="114251" y="8684"/>
                  <a:pt x="89647" y="33288"/>
                  <a:pt x="89647" y="62957"/>
                </a:cubicBezTo>
                <a:cubicBezTo>
                  <a:pt x="89647" y="93350"/>
                  <a:pt x="114251" y="117954"/>
                  <a:pt x="144644" y="117954"/>
                </a:cubicBezTo>
                <a:cubicBezTo>
                  <a:pt x="174313" y="117954"/>
                  <a:pt x="198556" y="93350"/>
                  <a:pt x="198556" y="62957"/>
                </a:cubicBezTo>
                <a:cubicBezTo>
                  <a:pt x="198556" y="33288"/>
                  <a:pt x="174313" y="8684"/>
                  <a:pt x="144644" y="8684"/>
                </a:cubicBezTo>
                <a:close/>
                <a:moveTo>
                  <a:pt x="144644" y="0"/>
                </a:moveTo>
                <a:cubicBezTo>
                  <a:pt x="179379" y="0"/>
                  <a:pt x="207601" y="28222"/>
                  <a:pt x="207601" y="62957"/>
                </a:cubicBezTo>
                <a:cubicBezTo>
                  <a:pt x="207601" y="98416"/>
                  <a:pt x="179379" y="126638"/>
                  <a:pt x="144644" y="126638"/>
                </a:cubicBezTo>
                <a:cubicBezTo>
                  <a:pt x="109185" y="126638"/>
                  <a:pt x="80963" y="98416"/>
                  <a:pt x="80963" y="62957"/>
                </a:cubicBezTo>
                <a:cubicBezTo>
                  <a:pt x="80963" y="28222"/>
                  <a:pt x="109185" y="0"/>
                  <a:pt x="144644" y="0"/>
                </a:cubicBezTo>
                <a:close/>
              </a:path>
            </a:pathLst>
          </a:custGeom>
          <a:solidFill>
            <a:schemeClr val="tx2"/>
          </a:solidFill>
          <a:ln>
            <a:noFill/>
          </a:ln>
          <a:effectLst/>
        </p:spPr>
        <p:txBody>
          <a:bodyPr anchor="ctr"/>
          <a:lstStyle/>
          <a:p>
            <a:endParaRPr lang="en-US" sz="900">
              <a:latin typeface="+mj-lt"/>
            </a:endParaRPr>
          </a:p>
        </p:txBody>
      </p:sp>
      <p:sp>
        <p:nvSpPr>
          <p:cNvPr id="61" name="Freeform 1061">
            <a:extLst>
              <a:ext uri="{FF2B5EF4-FFF2-40B4-BE49-F238E27FC236}">
                <a16:creationId xmlns:a16="http://schemas.microsoft.com/office/drawing/2014/main" id="{C3B371AC-0139-64A0-8424-750E2F235504}"/>
              </a:ext>
            </a:extLst>
          </p:cNvPr>
          <p:cNvSpPr>
            <a:spLocks noChangeAspect="1" noChangeArrowheads="1"/>
          </p:cNvSpPr>
          <p:nvPr userDrawn="1"/>
        </p:nvSpPr>
        <p:spPr bwMode="auto">
          <a:xfrm>
            <a:off x="5913089" y="2515739"/>
            <a:ext cx="365821" cy="363630"/>
          </a:xfrm>
          <a:custGeom>
            <a:avLst/>
            <a:gdLst>
              <a:gd name="T0" fmla="*/ 6381463 w 291074"/>
              <a:gd name="T1" fmla="*/ 118260728 h 290436"/>
              <a:gd name="T2" fmla="*/ 117329382 w 291074"/>
              <a:gd name="T3" fmla="*/ 103178766 h 290436"/>
              <a:gd name="T4" fmla="*/ 127248536 w 291074"/>
              <a:gd name="T5" fmla="*/ 112881339 h 290436"/>
              <a:gd name="T6" fmla="*/ 99326893 w 291074"/>
              <a:gd name="T7" fmla="*/ 104121746 h 290436"/>
              <a:gd name="T8" fmla="*/ 111246539 w 291074"/>
              <a:gd name="T9" fmla="*/ 100893816 h 290436"/>
              <a:gd name="T10" fmla="*/ 20587701 w 291074"/>
              <a:gd name="T11" fmla="*/ 99970716 h 290436"/>
              <a:gd name="T12" fmla="*/ 25976383 w 291074"/>
              <a:gd name="T13" fmla="*/ 104888675 h 290436"/>
              <a:gd name="T14" fmla="*/ 112063241 w 291074"/>
              <a:gd name="T15" fmla="*/ 74148473 h 290436"/>
              <a:gd name="T16" fmla="*/ 114185614 w 291074"/>
              <a:gd name="T17" fmla="*/ 98279943 h 290436"/>
              <a:gd name="T18" fmla="*/ 127575500 w 291074"/>
              <a:gd name="T19" fmla="*/ 120873984 h 290436"/>
              <a:gd name="T20" fmla="*/ 103735349 w 291074"/>
              <a:gd name="T21" fmla="*/ 108269985 h 290436"/>
              <a:gd name="T22" fmla="*/ 82018180 w 291074"/>
              <a:gd name="T23" fmla="*/ 109960490 h 290436"/>
              <a:gd name="T24" fmla="*/ 84794463 w 291074"/>
              <a:gd name="T25" fmla="*/ 107195892 h 290436"/>
              <a:gd name="T26" fmla="*/ 114185614 w 291074"/>
              <a:gd name="T27" fmla="*/ 87367490 h 290436"/>
              <a:gd name="T28" fmla="*/ 19118593 w 291074"/>
              <a:gd name="T29" fmla="*/ 74148473 h 290436"/>
              <a:gd name="T30" fmla="*/ 16832540 w 291074"/>
              <a:gd name="T31" fmla="*/ 87367490 h 290436"/>
              <a:gd name="T32" fmla="*/ 46550735 w 291074"/>
              <a:gd name="T33" fmla="*/ 107195892 h 290436"/>
              <a:gd name="T34" fmla="*/ 49326661 w 291074"/>
              <a:gd name="T35" fmla="*/ 109960490 h 290436"/>
              <a:gd name="T36" fmla="*/ 27609146 w 291074"/>
              <a:gd name="T37" fmla="*/ 108269985 h 290436"/>
              <a:gd name="T38" fmla="*/ 3605544 w 291074"/>
              <a:gd name="T39" fmla="*/ 120873984 h 290436"/>
              <a:gd name="T40" fmla="*/ 16342408 w 291074"/>
              <a:gd name="T41" fmla="*/ 99663363 h 290436"/>
              <a:gd name="T42" fmla="*/ 15362259 w 291074"/>
              <a:gd name="T43" fmla="*/ 77684115 h 290436"/>
              <a:gd name="T44" fmla="*/ 103517169 w 291074"/>
              <a:gd name="T45" fmla="*/ 64213815 h 290436"/>
              <a:gd name="T46" fmla="*/ 90254916 w 291074"/>
              <a:gd name="T47" fmla="*/ 89822304 h 290436"/>
              <a:gd name="T48" fmla="*/ 40765357 w 291074"/>
              <a:gd name="T49" fmla="*/ 89822304 h 290436"/>
              <a:gd name="T50" fmla="*/ 27503865 w 291074"/>
              <a:gd name="T51" fmla="*/ 64213815 h 290436"/>
              <a:gd name="T52" fmla="*/ 93167027 w 291074"/>
              <a:gd name="T53" fmla="*/ 37532648 h 290436"/>
              <a:gd name="T54" fmla="*/ 37854342 w 291074"/>
              <a:gd name="T55" fmla="*/ 37532648 h 290436"/>
              <a:gd name="T56" fmla="*/ 67451366 w 291074"/>
              <a:gd name="T57" fmla="*/ 26338658 h 290436"/>
              <a:gd name="T58" fmla="*/ 67451366 w 291074"/>
              <a:gd name="T59" fmla="*/ 26338658 h 290436"/>
              <a:gd name="T60" fmla="*/ 63569847 w 291074"/>
              <a:gd name="T61" fmla="*/ 60534775 h 290436"/>
              <a:gd name="T62" fmla="*/ 65510590 w 291074"/>
              <a:gd name="T63" fmla="*/ 102396416 h 290436"/>
              <a:gd name="T64" fmla="*/ 105347701 w 291074"/>
              <a:gd name="T65" fmla="*/ 19545095 h 290436"/>
              <a:gd name="T66" fmla="*/ 111024396 w 291074"/>
              <a:gd name="T67" fmla="*/ 23400513 h 290436"/>
              <a:gd name="T68" fmla="*/ 22546907 w 291074"/>
              <a:gd name="T69" fmla="*/ 21445794 h 290436"/>
              <a:gd name="T70" fmla="*/ 31854966 w 291074"/>
              <a:gd name="T71" fmla="*/ 20209379 h 290436"/>
              <a:gd name="T72" fmla="*/ 111835813 w 291074"/>
              <a:gd name="T73" fmla="*/ 7210767 h 290436"/>
              <a:gd name="T74" fmla="*/ 124489747 w 291074"/>
              <a:gd name="T75" fmla="*/ 6133343 h 290436"/>
              <a:gd name="T76" fmla="*/ 6381463 w 291074"/>
              <a:gd name="T77" fmla="*/ 5976613 h 290436"/>
              <a:gd name="T78" fmla="*/ 18954381 w 291074"/>
              <a:gd name="T79" fmla="*/ 7057561 h 290436"/>
              <a:gd name="T80" fmla="*/ 126274243 w 291074"/>
              <a:gd name="T81" fmla="*/ 20779408 h 290436"/>
              <a:gd name="T82" fmla="*/ 114106565 w 291074"/>
              <a:gd name="T83" fmla="*/ 30799944 h 290436"/>
              <a:gd name="T84" fmla="*/ 110375232 w 291074"/>
              <a:gd name="T85" fmla="*/ 50841781 h 290436"/>
              <a:gd name="T86" fmla="*/ 113944458 w 291074"/>
              <a:gd name="T87" fmla="*/ 37274747 h 290436"/>
              <a:gd name="T88" fmla="*/ 84744057 w 291074"/>
              <a:gd name="T89" fmla="*/ 17233676 h 290436"/>
              <a:gd name="T90" fmla="*/ 77930966 w 291074"/>
              <a:gd name="T91" fmla="*/ 18157288 h 290436"/>
              <a:gd name="T92" fmla="*/ 103562180 w 291074"/>
              <a:gd name="T93" fmla="*/ 16153871 h 290436"/>
              <a:gd name="T94" fmla="*/ 118649116 w 291074"/>
              <a:gd name="T95" fmla="*/ 120409 h 290436"/>
              <a:gd name="T96" fmla="*/ 27445716 w 291074"/>
              <a:gd name="T97" fmla="*/ 16031862 h 290436"/>
              <a:gd name="T98" fmla="*/ 53082351 w 291074"/>
              <a:gd name="T99" fmla="*/ 18042582 h 290436"/>
              <a:gd name="T100" fmla="*/ 46550735 w 291074"/>
              <a:gd name="T101" fmla="*/ 17114714 h 290436"/>
              <a:gd name="T102" fmla="*/ 16832540 w 291074"/>
              <a:gd name="T103" fmla="*/ 37226834 h 290436"/>
              <a:gd name="T104" fmla="*/ 20587701 w 291074"/>
              <a:gd name="T105" fmla="*/ 50841697 h 290436"/>
              <a:gd name="T106" fmla="*/ 16832540 w 291074"/>
              <a:gd name="T107" fmla="*/ 30728957 h 290436"/>
              <a:gd name="T108" fmla="*/ 4585657 w 291074"/>
              <a:gd name="T109" fmla="*/ 20673549 h 2904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91074" h="290436">
                <a:moveTo>
                  <a:pt x="31551" y="241515"/>
                </a:moveTo>
                <a:cubicBezTo>
                  <a:pt x="26841" y="241515"/>
                  <a:pt x="21406" y="243674"/>
                  <a:pt x="16334" y="248710"/>
                </a:cubicBezTo>
                <a:cubicBezTo>
                  <a:pt x="11986" y="253386"/>
                  <a:pt x="9088" y="258781"/>
                  <a:pt x="8726" y="264177"/>
                </a:cubicBezTo>
                <a:cubicBezTo>
                  <a:pt x="8726" y="268493"/>
                  <a:pt x="10899" y="273170"/>
                  <a:pt x="14160" y="276767"/>
                </a:cubicBezTo>
                <a:cubicBezTo>
                  <a:pt x="21769" y="284321"/>
                  <a:pt x="33000" y="283601"/>
                  <a:pt x="42058" y="274249"/>
                </a:cubicBezTo>
                <a:cubicBezTo>
                  <a:pt x="51478" y="264896"/>
                  <a:pt x="52204" y="255184"/>
                  <a:pt x="43870" y="246911"/>
                </a:cubicBezTo>
                <a:cubicBezTo>
                  <a:pt x="40247" y="243314"/>
                  <a:pt x="36261" y="241515"/>
                  <a:pt x="31551" y="241515"/>
                </a:cubicBezTo>
                <a:close/>
                <a:moveTo>
                  <a:pt x="260338" y="241470"/>
                </a:moveTo>
                <a:cubicBezTo>
                  <a:pt x="255718" y="241156"/>
                  <a:pt x="251189" y="242954"/>
                  <a:pt x="247204" y="246911"/>
                </a:cubicBezTo>
                <a:cubicBezTo>
                  <a:pt x="238871" y="255184"/>
                  <a:pt x="239595" y="264896"/>
                  <a:pt x="248653" y="274249"/>
                </a:cubicBezTo>
                <a:cubicBezTo>
                  <a:pt x="258073" y="283601"/>
                  <a:pt x="269305" y="284321"/>
                  <a:pt x="276913" y="276767"/>
                </a:cubicBezTo>
                <a:cubicBezTo>
                  <a:pt x="280899" y="273170"/>
                  <a:pt x="282348" y="268493"/>
                  <a:pt x="282348" y="264177"/>
                </a:cubicBezTo>
                <a:cubicBezTo>
                  <a:pt x="281986" y="258781"/>
                  <a:pt x="279450" y="253386"/>
                  <a:pt x="274015" y="248710"/>
                </a:cubicBezTo>
                <a:cubicBezTo>
                  <a:pt x="269667" y="244213"/>
                  <a:pt x="264957" y="241785"/>
                  <a:pt x="260338" y="241470"/>
                </a:cubicBezTo>
                <a:close/>
                <a:moveTo>
                  <a:pt x="243943" y="220652"/>
                </a:moveTo>
                <a:cubicBezTo>
                  <a:pt x="232349" y="223530"/>
                  <a:pt x="223291" y="231803"/>
                  <a:pt x="220393" y="243674"/>
                </a:cubicBezTo>
                <a:cubicBezTo>
                  <a:pt x="225103" y="242595"/>
                  <a:pt x="229451" y="242954"/>
                  <a:pt x="234523" y="245472"/>
                </a:cubicBezTo>
                <a:lnTo>
                  <a:pt x="236334" y="246551"/>
                </a:lnTo>
                <a:cubicBezTo>
                  <a:pt x="237784" y="244753"/>
                  <a:pt x="238871" y="242595"/>
                  <a:pt x="241045" y="240796"/>
                </a:cubicBezTo>
                <a:cubicBezTo>
                  <a:pt x="242494" y="238997"/>
                  <a:pt x="244668" y="237199"/>
                  <a:pt x="246842" y="236120"/>
                </a:cubicBezTo>
                <a:lnTo>
                  <a:pt x="245392" y="233602"/>
                </a:lnTo>
                <a:cubicBezTo>
                  <a:pt x="243581" y="229645"/>
                  <a:pt x="242494" y="224609"/>
                  <a:pt x="243943" y="220652"/>
                </a:cubicBezTo>
                <a:close/>
                <a:moveTo>
                  <a:pt x="47131" y="220652"/>
                </a:moveTo>
                <a:cubicBezTo>
                  <a:pt x="48580" y="224609"/>
                  <a:pt x="47493" y="229645"/>
                  <a:pt x="45681" y="233962"/>
                </a:cubicBezTo>
                <a:lnTo>
                  <a:pt x="44232" y="236120"/>
                </a:lnTo>
                <a:cubicBezTo>
                  <a:pt x="46406" y="237199"/>
                  <a:pt x="48580" y="238997"/>
                  <a:pt x="50029" y="240796"/>
                </a:cubicBezTo>
                <a:cubicBezTo>
                  <a:pt x="52204" y="242595"/>
                  <a:pt x="53290" y="244753"/>
                  <a:pt x="54740" y="246551"/>
                </a:cubicBezTo>
                <a:lnTo>
                  <a:pt x="57638" y="245472"/>
                </a:lnTo>
                <a:cubicBezTo>
                  <a:pt x="61624" y="242954"/>
                  <a:pt x="65971" y="242595"/>
                  <a:pt x="70681" y="243674"/>
                </a:cubicBezTo>
                <a:cubicBezTo>
                  <a:pt x="67783" y="231803"/>
                  <a:pt x="59087" y="223530"/>
                  <a:pt x="47131" y="220652"/>
                </a:cubicBezTo>
                <a:close/>
                <a:moveTo>
                  <a:pt x="242494" y="173531"/>
                </a:moveTo>
                <a:cubicBezTo>
                  <a:pt x="244305" y="171732"/>
                  <a:pt x="247204" y="171732"/>
                  <a:pt x="248653" y="173531"/>
                </a:cubicBezTo>
                <a:lnTo>
                  <a:pt x="257349" y="181804"/>
                </a:lnTo>
                <a:cubicBezTo>
                  <a:pt x="265319" y="189718"/>
                  <a:pt x="266406" y="201588"/>
                  <a:pt x="260609" y="209501"/>
                </a:cubicBezTo>
                <a:lnTo>
                  <a:pt x="253725" y="219214"/>
                </a:lnTo>
                <a:cubicBezTo>
                  <a:pt x="251552" y="222091"/>
                  <a:pt x="251552" y="226408"/>
                  <a:pt x="253363" y="230005"/>
                </a:cubicBezTo>
                <a:lnTo>
                  <a:pt x="254812" y="233242"/>
                </a:lnTo>
                <a:cubicBezTo>
                  <a:pt x="263508" y="231444"/>
                  <a:pt x="272928" y="234321"/>
                  <a:pt x="280899" y="242595"/>
                </a:cubicBezTo>
                <a:cubicBezTo>
                  <a:pt x="287420" y="249069"/>
                  <a:pt x="290681" y="256263"/>
                  <a:pt x="291044" y="263817"/>
                </a:cubicBezTo>
                <a:cubicBezTo>
                  <a:pt x="291406" y="270652"/>
                  <a:pt x="288507" y="277486"/>
                  <a:pt x="283073" y="282882"/>
                </a:cubicBezTo>
                <a:cubicBezTo>
                  <a:pt x="278363" y="287918"/>
                  <a:pt x="272203" y="290436"/>
                  <a:pt x="264595" y="290436"/>
                </a:cubicBezTo>
                <a:cubicBezTo>
                  <a:pt x="257711" y="290436"/>
                  <a:pt x="250102" y="287918"/>
                  <a:pt x="242494" y="280364"/>
                </a:cubicBezTo>
                <a:cubicBezTo>
                  <a:pt x="234885" y="272450"/>
                  <a:pt x="231624" y="263458"/>
                  <a:pt x="232711" y="254825"/>
                </a:cubicBezTo>
                <a:lnTo>
                  <a:pt x="230175" y="253386"/>
                </a:lnTo>
                <a:cubicBezTo>
                  <a:pt x="226190" y="251587"/>
                  <a:pt x="222204" y="251587"/>
                  <a:pt x="219306" y="253386"/>
                </a:cubicBezTo>
                <a:lnTo>
                  <a:pt x="209523" y="260580"/>
                </a:lnTo>
                <a:cubicBezTo>
                  <a:pt x="206263" y="262738"/>
                  <a:pt x="201915" y="263817"/>
                  <a:pt x="198292" y="263817"/>
                </a:cubicBezTo>
                <a:cubicBezTo>
                  <a:pt x="192132" y="263817"/>
                  <a:pt x="186335" y="261659"/>
                  <a:pt x="181988" y="257342"/>
                </a:cubicBezTo>
                <a:lnTo>
                  <a:pt x="172930" y="248710"/>
                </a:lnTo>
                <a:cubicBezTo>
                  <a:pt x="171118" y="246911"/>
                  <a:pt x="171118" y="244033"/>
                  <a:pt x="172930" y="242595"/>
                </a:cubicBezTo>
                <a:cubicBezTo>
                  <a:pt x="174741" y="240796"/>
                  <a:pt x="178002" y="240796"/>
                  <a:pt x="179451" y="242595"/>
                </a:cubicBezTo>
                <a:lnTo>
                  <a:pt x="188147" y="250868"/>
                </a:lnTo>
                <a:cubicBezTo>
                  <a:pt x="192495" y="255544"/>
                  <a:pt x="199741" y="256263"/>
                  <a:pt x="204089" y="253386"/>
                </a:cubicBezTo>
                <a:lnTo>
                  <a:pt x="210610" y="248710"/>
                </a:lnTo>
                <a:cubicBezTo>
                  <a:pt x="211697" y="228206"/>
                  <a:pt x="228364" y="212019"/>
                  <a:pt x="248653" y="210940"/>
                </a:cubicBezTo>
                <a:lnTo>
                  <a:pt x="253363" y="204466"/>
                </a:lnTo>
                <a:cubicBezTo>
                  <a:pt x="256986" y="199789"/>
                  <a:pt x="255899" y="192955"/>
                  <a:pt x="251189" y="187919"/>
                </a:cubicBezTo>
                <a:lnTo>
                  <a:pt x="242494" y="180006"/>
                </a:lnTo>
                <a:cubicBezTo>
                  <a:pt x="240682" y="178207"/>
                  <a:pt x="240682" y="175329"/>
                  <a:pt x="242494" y="173531"/>
                </a:cubicBezTo>
                <a:close/>
                <a:moveTo>
                  <a:pt x="42421" y="173531"/>
                </a:moveTo>
                <a:cubicBezTo>
                  <a:pt x="43870" y="171732"/>
                  <a:pt x="46768" y="171732"/>
                  <a:pt x="48580" y="173531"/>
                </a:cubicBezTo>
                <a:cubicBezTo>
                  <a:pt x="50029" y="175329"/>
                  <a:pt x="50029" y="178207"/>
                  <a:pt x="48580" y="180006"/>
                </a:cubicBezTo>
                <a:lnTo>
                  <a:pt x="40247" y="187919"/>
                </a:lnTo>
                <a:cubicBezTo>
                  <a:pt x="35537" y="192955"/>
                  <a:pt x="34087" y="199789"/>
                  <a:pt x="37348" y="204466"/>
                </a:cubicBezTo>
                <a:lnTo>
                  <a:pt x="42058" y="210940"/>
                </a:lnTo>
                <a:cubicBezTo>
                  <a:pt x="62711" y="212019"/>
                  <a:pt x="79377" y="228206"/>
                  <a:pt x="80464" y="248710"/>
                </a:cubicBezTo>
                <a:lnTo>
                  <a:pt x="86986" y="253386"/>
                </a:lnTo>
                <a:cubicBezTo>
                  <a:pt x="91696" y="256263"/>
                  <a:pt x="98580" y="255544"/>
                  <a:pt x="103290" y="250868"/>
                </a:cubicBezTo>
                <a:lnTo>
                  <a:pt x="111623" y="242595"/>
                </a:lnTo>
                <a:cubicBezTo>
                  <a:pt x="113434" y="240796"/>
                  <a:pt x="115970" y="240796"/>
                  <a:pt x="117782" y="242595"/>
                </a:cubicBezTo>
                <a:cubicBezTo>
                  <a:pt x="119956" y="244033"/>
                  <a:pt x="119956" y="246911"/>
                  <a:pt x="117782" y="248710"/>
                </a:cubicBezTo>
                <a:lnTo>
                  <a:pt x="109449" y="257342"/>
                </a:lnTo>
                <a:cubicBezTo>
                  <a:pt x="104739" y="261659"/>
                  <a:pt x="98942" y="263817"/>
                  <a:pt x="93145" y="263817"/>
                </a:cubicBezTo>
                <a:cubicBezTo>
                  <a:pt x="89159" y="263817"/>
                  <a:pt x="85536" y="262738"/>
                  <a:pt x="82275" y="260580"/>
                </a:cubicBezTo>
                <a:lnTo>
                  <a:pt x="71768" y="253386"/>
                </a:lnTo>
                <a:cubicBezTo>
                  <a:pt x="68870" y="251587"/>
                  <a:pt x="64884" y="251227"/>
                  <a:pt x="61261" y="253386"/>
                </a:cubicBezTo>
                <a:lnTo>
                  <a:pt x="58001" y="254825"/>
                </a:lnTo>
                <a:cubicBezTo>
                  <a:pt x="59450" y="263458"/>
                  <a:pt x="56551" y="272450"/>
                  <a:pt x="48580" y="280364"/>
                </a:cubicBezTo>
                <a:cubicBezTo>
                  <a:pt x="40971" y="287918"/>
                  <a:pt x="33363" y="290436"/>
                  <a:pt x="26479" y="290436"/>
                </a:cubicBezTo>
                <a:cubicBezTo>
                  <a:pt x="18870" y="290436"/>
                  <a:pt x="12349" y="287918"/>
                  <a:pt x="8001" y="282882"/>
                </a:cubicBezTo>
                <a:cubicBezTo>
                  <a:pt x="2566" y="277486"/>
                  <a:pt x="-332" y="270652"/>
                  <a:pt x="30" y="263817"/>
                </a:cubicBezTo>
                <a:cubicBezTo>
                  <a:pt x="30" y="256263"/>
                  <a:pt x="3653" y="249069"/>
                  <a:pt x="10175" y="242595"/>
                </a:cubicBezTo>
                <a:cubicBezTo>
                  <a:pt x="17059" y="236120"/>
                  <a:pt x="24305" y="232882"/>
                  <a:pt x="31551" y="232882"/>
                </a:cubicBezTo>
                <a:cubicBezTo>
                  <a:pt x="33363" y="232882"/>
                  <a:pt x="34450" y="232882"/>
                  <a:pt x="36261" y="233242"/>
                </a:cubicBezTo>
                <a:lnTo>
                  <a:pt x="37348" y="230364"/>
                </a:lnTo>
                <a:cubicBezTo>
                  <a:pt x="39522" y="226408"/>
                  <a:pt x="39522" y="222091"/>
                  <a:pt x="37348" y="219214"/>
                </a:cubicBezTo>
                <a:lnTo>
                  <a:pt x="30464" y="209501"/>
                </a:lnTo>
                <a:cubicBezTo>
                  <a:pt x="24667" y="201588"/>
                  <a:pt x="25754" y="189718"/>
                  <a:pt x="34087" y="181804"/>
                </a:cubicBezTo>
                <a:lnTo>
                  <a:pt x="42421" y="173531"/>
                </a:lnTo>
                <a:close/>
                <a:moveTo>
                  <a:pt x="183399" y="150280"/>
                </a:moveTo>
                <a:cubicBezTo>
                  <a:pt x="184834" y="171094"/>
                  <a:pt x="192729" y="189755"/>
                  <a:pt x="206725" y="204109"/>
                </a:cubicBezTo>
                <a:cubicBezTo>
                  <a:pt x="220362" y="190114"/>
                  <a:pt x="228974" y="171453"/>
                  <a:pt x="229692" y="150280"/>
                </a:cubicBezTo>
                <a:lnTo>
                  <a:pt x="183399" y="150280"/>
                </a:lnTo>
                <a:close/>
                <a:moveTo>
                  <a:pt x="149666" y="150280"/>
                </a:moveTo>
                <a:lnTo>
                  <a:pt x="149666" y="230665"/>
                </a:lnTo>
                <a:cubicBezTo>
                  <a:pt x="169045" y="229588"/>
                  <a:pt x="186629" y="222052"/>
                  <a:pt x="200265" y="210210"/>
                </a:cubicBezTo>
                <a:cubicBezTo>
                  <a:pt x="184834" y="194061"/>
                  <a:pt x="175863" y="172888"/>
                  <a:pt x="174786" y="150280"/>
                </a:cubicBezTo>
                <a:lnTo>
                  <a:pt x="149666" y="150280"/>
                </a:lnTo>
                <a:close/>
                <a:moveTo>
                  <a:pt x="115574" y="150280"/>
                </a:moveTo>
                <a:cubicBezTo>
                  <a:pt x="114857" y="172888"/>
                  <a:pt x="105885" y="194061"/>
                  <a:pt x="90454" y="210210"/>
                </a:cubicBezTo>
                <a:cubicBezTo>
                  <a:pt x="104450" y="222052"/>
                  <a:pt x="121316" y="229588"/>
                  <a:pt x="141054" y="230665"/>
                </a:cubicBezTo>
                <a:lnTo>
                  <a:pt x="141054" y="150280"/>
                </a:lnTo>
                <a:lnTo>
                  <a:pt x="115574" y="150280"/>
                </a:lnTo>
                <a:close/>
                <a:moveTo>
                  <a:pt x="61028" y="150280"/>
                </a:moveTo>
                <a:cubicBezTo>
                  <a:pt x="62104" y="171453"/>
                  <a:pt x="70717" y="190114"/>
                  <a:pt x="83995" y="204109"/>
                </a:cubicBezTo>
                <a:cubicBezTo>
                  <a:pt x="97990" y="189755"/>
                  <a:pt x="105885" y="171094"/>
                  <a:pt x="107321" y="150280"/>
                </a:cubicBezTo>
                <a:lnTo>
                  <a:pt x="61028" y="150280"/>
                </a:lnTo>
                <a:close/>
                <a:moveTo>
                  <a:pt x="206725" y="87839"/>
                </a:moveTo>
                <a:cubicBezTo>
                  <a:pt x="192729" y="102911"/>
                  <a:pt x="184834" y="121571"/>
                  <a:pt x="183399" y="141668"/>
                </a:cubicBezTo>
                <a:lnTo>
                  <a:pt x="229692" y="141668"/>
                </a:lnTo>
                <a:cubicBezTo>
                  <a:pt x="228974" y="120854"/>
                  <a:pt x="220362" y="101834"/>
                  <a:pt x="206725" y="87839"/>
                </a:cubicBezTo>
                <a:close/>
                <a:moveTo>
                  <a:pt x="83995" y="87839"/>
                </a:moveTo>
                <a:cubicBezTo>
                  <a:pt x="70717" y="101834"/>
                  <a:pt x="62104" y="120854"/>
                  <a:pt x="61028" y="141668"/>
                </a:cubicBezTo>
                <a:lnTo>
                  <a:pt x="107321" y="141668"/>
                </a:lnTo>
                <a:cubicBezTo>
                  <a:pt x="105885" y="121571"/>
                  <a:pt x="97990" y="102911"/>
                  <a:pt x="83995" y="87839"/>
                </a:cubicBezTo>
                <a:close/>
                <a:moveTo>
                  <a:pt x="149666" y="61642"/>
                </a:moveTo>
                <a:lnTo>
                  <a:pt x="149666" y="141668"/>
                </a:lnTo>
                <a:lnTo>
                  <a:pt x="174786" y="141668"/>
                </a:lnTo>
                <a:cubicBezTo>
                  <a:pt x="175863" y="119059"/>
                  <a:pt x="184834" y="98245"/>
                  <a:pt x="200265" y="82097"/>
                </a:cubicBezTo>
                <a:cubicBezTo>
                  <a:pt x="186629" y="69896"/>
                  <a:pt x="169045" y="62718"/>
                  <a:pt x="149666" y="61642"/>
                </a:cubicBezTo>
                <a:close/>
                <a:moveTo>
                  <a:pt x="141054" y="61642"/>
                </a:moveTo>
                <a:cubicBezTo>
                  <a:pt x="121316" y="62718"/>
                  <a:pt x="104450" y="69896"/>
                  <a:pt x="90454" y="82097"/>
                </a:cubicBezTo>
                <a:cubicBezTo>
                  <a:pt x="105885" y="98245"/>
                  <a:pt x="114857" y="119059"/>
                  <a:pt x="115574" y="141668"/>
                </a:cubicBezTo>
                <a:lnTo>
                  <a:pt x="141054" y="141668"/>
                </a:lnTo>
                <a:lnTo>
                  <a:pt x="141054" y="61642"/>
                </a:lnTo>
                <a:close/>
                <a:moveTo>
                  <a:pt x="145360" y="52670"/>
                </a:moveTo>
                <a:cubicBezTo>
                  <a:pt x="197036" y="52670"/>
                  <a:pt x="239022" y="94657"/>
                  <a:pt x="239022" y="146333"/>
                </a:cubicBezTo>
                <a:cubicBezTo>
                  <a:pt x="239022" y="197650"/>
                  <a:pt x="197036" y="239636"/>
                  <a:pt x="145360" y="239636"/>
                </a:cubicBezTo>
                <a:cubicBezTo>
                  <a:pt x="93684" y="239636"/>
                  <a:pt x="52056" y="197650"/>
                  <a:pt x="52056" y="146333"/>
                </a:cubicBezTo>
                <a:cubicBezTo>
                  <a:pt x="52056" y="94657"/>
                  <a:pt x="93684" y="52670"/>
                  <a:pt x="145360" y="52670"/>
                </a:cubicBezTo>
                <a:close/>
                <a:moveTo>
                  <a:pt x="235910" y="44660"/>
                </a:moveTo>
                <a:lnTo>
                  <a:pt x="233751" y="45742"/>
                </a:lnTo>
                <a:cubicBezTo>
                  <a:pt x="229071" y="47907"/>
                  <a:pt x="224752" y="48268"/>
                  <a:pt x="220072" y="47546"/>
                </a:cubicBezTo>
                <a:cubicBezTo>
                  <a:pt x="222952" y="59092"/>
                  <a:pt x="231951" y="67751"/>
                  <a:pt x="243469" y="70638"/>
                </a:cubicBezTo>
                <a:cubicBezTo>
                  <a:pt x="242030" y="66308"/>
                  <a:pt x="243110" y="61257"/>
                  <a:pt x="245269" y="56927"/>
                </a:cubicBezTo>
                <a:lnTo>
                  <a:pt x="246349" y="54763"/>
                </a:lnTo>
                <a:cubicBezTo>
                  <a:pt x="244189" y="53680"/>
                  <a:pt x="242030" y="52237"/>
                  <a:pt x="240590" y="50433"/>
                </a:cubicBezTo>
                <a:cubicBezTo>
                  <a:pt x="238430" y="48629"/>
                  <a:pt x="237350" y="46825"/>
                  <a:pt x="235910" y="44660"/>
                </a:cubicBezTo>
                <a:close/>
                <a:moveTo>
                  <a:pt x="54740" y="44398"/>
                </a:moveTo>
                <a:cubicBezTo>
                  <a:pt x="53290" y="46570"/>
                  <a:pt x="52204" y="48381"/>
                  <a:pt x="50029" y="50191"/>
                </a:cubicBezTo>
                <a:cubicBezTo>
                  <a:pt x="48580" y="52001"/>
                  <a:pt x="46406" y="53450"/>
                  <a:pt x="44232" y="54536"/>
                </a:cubicBezTo>
                <a:lnTo>
                  <a:pt x="45681" y="57071"/>
                </a:lnTo>
                <a:cubicBezTo>
                  <a:pt x="47493" y="61053"/>
                  <a:pt x="48580" y="66122"/>
                  <a:pt x="47131" y="70467"/>
                </a:cubicBezTo>
                <a:cubicBezTo>
                  <a:pt x="59087" y="67570"/>
                  <a:pt x="67783" y="58881"/>
                  <a:pt x="70681" y="47295"/>
                </a:cubicBezTo>
                <a:cubicBezTo>
                  <a:pt x="65971" y="48019"/>
                  <a:pt x="61624" y="47657"/>
                  <a:pt x="56914" y="45122"/>
                </a:cubicBezTo>
                <a:lnTo>
                  <a:pt x="54740" y="44398"/>
                </a:lnTo>
                <a:close/>
                <a:moveTo>
                  <a:pt x="263627" y="9302"/>
                </a:moveTo>
                <a:cubicBezTo>
                  <a:pt x="258948" y="9662"/>
                  <a:pt x="253188" y="11827"/>
                  <a:pt x="248149" y="16878"/>
                </a:cubicBezTo>
                <a:cubicBezTo>
                  <a:pt x="243829" y="21930"/>
                  <a:pt x="240950" y="26620"/>
                  <a:pt x="240950" y="32032"/>
                </a:cubicBezTo>
                <a:cubicBezTo>
                  <a:pt x="240950" y="36001"/>
                  <a:pt x="243110" y="40691"/>
                  <a:pt x="246709" y="44299"/>
                </a:cubicBezTo>
                <a:cubicBezTo>
                  <a:pt x="254628" y="52237"/>
                  <a:pt x="264707" y="51515"/>
                  <a:pt x="273346" y="42495"/>
                </a:cubicBezTo>
                <a:cubicBezTo>
                  <a:pt x="283425" y="33114"/>
                  <a:pt x="284145" y="22290"/>
                  <a:pt x="276226" y="14353"/>
                </a:cubicBezTo>
                <a:cubicBezTo>
                  <a:pt x="272626" y="11106"/>
                  <a:pt x="268666" y="9302"/>
                  <a:pt x="264707" y="9302"/>
                </a:cubicBezTo>
                <a:cubicBezTo>
                  <a:pt x="263987" y="9302"/>
                  <a:pt x="263987" y="9302"/>
                  <a:pt x="263627" y="9302"/>
                </a:cubicBezTo>
                <a:close/>
                <a:moveTo>
                  <a:pt x="26479" y="8916"/>
                </a:moveTo>
                <a:cubicBezTo>
                  <a:pt x="21769" y="8916"/>
                  <a:pt x="17783" y="10364"/>
                  <a:pt x="14160" y="13985"/>
                </a:cubicBezTo>
                <a:cubicBezTo>
                  <a:pt x="10899" y="17605"/>
                  <a:pt x="8726" y="21950"/>
                  <a:pt x="8726" y="26657"/>
                </a:cubicBezTo>
                <a:cubicBezTo>
                  <a:pt x="9088" y="31726"/>
                  <a:pt x="11986" y="37157"/>
                  <a:pt x="16334" y="42226"/>
                </a:cubicBezTo>
                <a:cubicBezTo>
                  <a:pt x="25754" y="51277"/>
                  <a:pt x="35899" y="52001"/>
                  <a:pt x="43870" y="44036"/>
                </a:cubicBezTo>
                <a:cubicBezTo>
                  <a:pt x="52204" y="35709"/>
                  <a:pt x="51478" y="25933"/>
                  <a:pt x="42058" y="16519"/>
                </a:cubicBezTo>
                <a:cubicBezTo>
                  <a:pt x="36986" y="11088"/>
                  <a:pt x="31551" y="8916"/>
                  <a:pt x="26479" y="8916"/>
                </a:cubicBezTo>
                <a:close/>
                <a:moveTo>
                  <a:pt x="263267" y="282"/>
                </a:moveTo>
                <a:cubicBezTo>
                  <a:pt x="270826" y="282"/>
                  <a:pt x="277305" y="3168"/>
                  <a:pt x="282345" y="8219"/>
                </a:cubicBezTo>
                <a:cubicBezTo>
                  <a:pt x="291704" y="17600"/>
                  <a:pt x="294583" y="34197"/>
                  <a:pt x="280185" y="48629"/>
                </a:cubicBezTo>
                <a:cubicBezTo>
                  <a:pt x="273346" y="55123"/>
                  <a:pt x="266147" y="58371"/>
                  <a:pt x="258948" y="58371"/>
                </a:cubicBezTo>
                <a:cubicBezTo>
                  <a:pt x="257148" y="58371"/>
                  <a:pt x="256068" y="58371"/>
                  <a:pt x="254268" y="58010"/>
                </a:cubicBezTo>
                <a:lnTo>
                  <a:pt x="253188" y="60896"/>
                </a:lnTo>
                <a:cubicBezTo>
                  <a:pt x="251029" y="65226"/>
                  <a:pt x="251029" y="69194"/>
                  <a:pt x="253188" y="72081"/>
                </a:cubicBezTo>
                <a:lnTo>
                  <a:pt x="260027" y="81822"/>
                </a:lnTo>
                <a:cubicBezTo>
                  <a:pt x="266147" y="90121"/>
                  <a:pt x="264707" y="101305"/>
                  <a:pt x="256788" y="109604"/>
                </a:cubicBezTo>
                <a:lnTo>
                  <a:pt x="248149" y="117902"/>
                </a:lnTo>
                <a:cubicBezTo>
                  <a:pt x="247429" y="118624"/>
                  <a:pt x="246349" y="118984"/>
                  <a:pt x="244909" y="118984"/>
                </a:cubicBezTo>
                <a:cubicBezTo>
                  <a:pt x="244189" y="118984"/>
                  <a:pt x="243110" y="118624"/>
                  <a:pt x="242030" y="117902"/>
                </a:cubicBezTo>
                <a:cubicBezTo>
                  <a:pt x="240230" y="116098"/>
                  <a:pt x="240230" y="113572"/>
                  <a:pt x="242030" y="111769"/>
                </a:cubicBezTo>
                <a:lnTo>
                  <a:pt x="250669" y="103109"/>
                </a:lnTo>
                <a:cubicBezTo>
                  <a:pt x="255348" y="98419"/>
                  <a:pt x="256428" y="91564"/>
                  <a:pt x="252828" y="87234"/>
                </a:cubicBezTo>
                <a:lnTo>
                  <a:pt x="248149" y="80740"/>
                </a:lnTo>
                <a:cubicBezTo>
                  <a:pt x="227991" y="79297"/>
                  <a:pt x="211433" y="63061"/>
                  <a:pt x="210353" y="42495"/>
                </a:cubicBezTo>
                <a:lnTo>
                  <a:pt x="203874" y="37805"/>
                </a:lnTo>
                <a:cubicBezTo>
                  <a:pt x="199555" y="34557"/>
                  <a:pt x="192356" y="35640"/>
                  <a:pt x="188036" y="40330"/>
                </a:cubicBezTo>
                <a:lnTo>
                  <a:pt x="179397" y="48629"/>
                </a:lnTo>
                <a:cubicBezTo>
                  <a:pt x="178677" y="49711"/>
                  <a:pt x="177238" y="50072"/>
                  <a:pt x="176158" y="50072"/>
                </a:cubicBezTo>
                <a:cubicBezTo>
                  <a:pt x="175438" y="50072"/>
                  <a:pt x="173998" y="49711"/>
                  <a:pt x="172918" y="48629"/>
                </a:cubicBezTo>
                <a:cubicBezTo>
                  <a:pt x="171118" y="47185"/>
                  <a:pt x="171118" y="44299"/>
                  <a:pt x="172918" y="42495"/>
                </a:cubicBezTo>
                <a:lnTo>
                  <a:pt x="181917" y="34197"/>
                </a:lnTo>
                <a:cubicBezTo>
                  <a:pt x="189116" y="26259"/>
                  <a:pt x="200995" y="24816"/>
                  <a:pt x="209274" y="30228"/>
                </a:cubicBezTo>
                <a:lnTo>
                  <a:pt x="218992" y="37805"/>
                </a:lnTo>
                <a:cubicBezTo>
                  <a:pt x="221872" y="39609"/>
                  <a:pt x="225832" y="39609"/>
                  <a:pt x="229791" y="37805"/>
                </a:cubicBezTo>
                <a:lnTo>
                  <a:pt x="232311" y="36361"/>
                </a:lnTo>
                <a:cubicBezTo>
                  <a:pt x="232311" y="34918"/>
                  <a:pt x="231951" y="33114"/>
                  <a:pt x="231951" y="32032"/>
                </a:cubicBezTo>
                <a:cubicBezTo>
                  <a:pt x="231951" y="24094"/>
                  <a:pt x="235550" y="17239"/>
                  <a:pt x="242030" y="10745"/>
                </a:cubicBezTo>
                <a:cubicBezTo>
                  <a:pt x="248509" y="4251"/>
                  <a:pt x="256068" y="643"/>
                  <a:pt x="263267" y="282"/>
                </a:cubicBezTo>
                <a:close/>
                <a:moveTo>
                  <a:pt x="26253" y="0"/>
                </a:moveTo>
                <a:cubicBezTo>
                  <a:pt x="33363" y="-45"/>
                  <a:pt x="41153" y="2942"/>
                  <a:pt x="48580" y="10364"/>
                </a:cubicBezTo>
                <a:cubicBezTo>
                  <a:pt x="56551" y="18692"/>
                  <a:pt x="59450" y="27743"/>
                  <a:pt x="58001" y="36071"/>
                </a:cubicBezTo>
                <a:lnTo>
                  <a:pt x="60899" y="37519"/>
                </a:lnTo>
                <a:cubicBezTo>
                  <a:pt x="64884" y="39329"/>
                  <a:pt x="68870" y="39329"/>
                  <a:pt x="71768" y="37519"/>
                </a:cubicBezTo>
                <a:lnTo>
                  <a:pt x="82275" y="29916"/>
                </a:lnTo>
                <a:cubicBezTo>
                  <a:pt x="89884" y="24485"/>
                  <a:pt x="101840" y="25933"/>
                  <a:pt x="109449" y="33898"/>
                </a:cubicBezTo>
                <a:lnTo>
                  <a:pt x="117782" y="42226"/>
                </a:lnTo>
                <a:cubicBezTo>
                  <a:pt x="119956" y="44036"/>
                  <a:pt x="119956" y="46932"/>
                  <a:pt x="117782" y="48381"/>
                </a:cubicBezTo>
                <a:cubicBezTo>
                  <a:pt x="117057" y="49467"/>
                  <a:pt x="115970" y="49829"/>
                  <a:pt x="114884" y="49829"/>
                </a:cubicBezTo>
                <a:cubicBezTo>
                  <a:pt x="113797" y="49829"/>
                  <a:pt x="112710" y="49467"/>
                  <a:pt x="111623" y="48381"/>
                </a:cubicBezTo>
                <a:lnTo>
                  <a:pt x="103290" y="40053"/>
                </a:lnTo>
                <a:cubicBezTo>
                  <a:pt x="98580" y="35347"/>
                  <a:pt x="91696" y="34260"/>
                  <a:pt x="86986" y="37519"/>
                </a:cubicBezTo>
                <a:lnTo>
                  <a:pt x="80464" y="42226"/>
                </a:lnTo>
                <a:cubicBezTo>
                  <a:pt x="79377" y="62864"/>
                  <a:pt x="62711" y="79156"/>
                  <a:pt x="42058" y="80605"/>
                </a:cubicBezTo>
                <a:lnTo>
                  <a:pt x="37348" y="87122"/>
                </a:lnTo>
                <a:cubicBezTo>
                  <a:pt x="34087" y="91467"/>
                  <a:pt x="35537" y="98346"/>
                  <a:pt x="40247" y="103052"/>
                </a:cubicBezTo>
                <a:lnTo>
                  <a:pt x="48580" y="111742"/>
                </a:lnTo>
                <a:cubicBezTo>
                  <a:pt x="50029" y="113552"/>
                  <a:pt x="50029" y="116087"/>
                  <a:pt x="48580" y="117897"/>
                </a:cubicBezTo>
                <a:cubicBezTo>
                  <a:pt x="47493" y="118621"/>
                  <a:pt x="46768" y="118983"/>
                  <a:pt x="45681" y="118983"/>
                </a:cubicBezTo>
                <a:cubicBezTo>
                  <a:pt x="44232" y="118983"/>
                  <a:pt x="43145" y="118621"/>
                  <a:pt x="42421" y="117897"/>
                </a:cubicBezTo>
                <a:lnTo>
                  <a:pt x="34087" y="109570"/>
                </a:lnTo>
                <a:cubicBezTo>
                  <a:pt x="25754" y="101242"/>
                  <a:pt x="24667" y="90018"/>
                  <a:pt x="30464" y="81691"/>
                </a:cubicBezTo>
                <a:lnTo>
                  <a:pt x="37348" y="71915"/>
                </a:lnTo>
                <a:cubicBezTo>
                  <a:pt x="39522" y="69019"/>
                  <a:pt x="39522" y="65036"/>
                  <a:pt x="37348" y="60691"/>
                </a:cubicBezTo>
                <a:lnTo>
                  <a:pt x="36261" y="57795"/>
                </a:lnTo>
                <a:cubicBezTo>
                  <a:pt x="34450" y="58157"/>
                  <a:pt x="33363" y="58157"/>
                  <a:pt x="31551" y="58157"/>
                </a:cubicBezTo>
                <a:cubicBezTo>
                  <a:pt x="24667" y="58157"/>
                  <a:pt x="17059" y="54898"/>
                  <a:pt x="10175" y="48381"/>
                </a:cubicBezTo>
                <a:cubicBezTo>
                  <a:pt x="3653" y="41864"/>
                  <a:pt x="30" y="34622"/>
                  <a:pt x="30" y="27019"/>
                </a:cubicBezTo>
                <a:cubicBezTo>
                  <a:pt x="-332" y="19778"/>
                  <a:pt x="2566" y="13261"/>
                  <a:pt x="8001" y="7830"/>
                </a:cubicBezTo>
                <a:cubicBezTo>
                  <a:pt x="12711" y="3123"/>
                  <a:pt x="19142" y="46"/>
                  <a:pt x="26253" y="0"/>
                </a:cubicBezTo>
                <a:close/>
              </a:path>
            </a:pathLst>
          </a:custGeom>
          <a:solidFill>
            <a:schemeClr val="tx2"/>
          </a:solidFill>
          <a:ln>
            <a:noFill/>
          </a:ln>
          <a:effectLst/>
        </p:spPr>
        <p:txBody>
          <a:bodyPr anchor="ctr"/>
          <a:lstStyle/>
          <a:p>
            <a:endParaRPr lang="en-US" sz="900">
              <a:latin typeface="+mj-lt"/>
            </a:endParaRPr>
          </a:p>
        </p:txBody>
      </p:sp>
      <p:sp>
        <p:nvSpPr>
          <p:cNvPr id="62" name="Freeform 1059">
            <a:extLst>
              <a:ext uri="{FF2B5EF4-FFF2-40B4-BE49-F238E27FC236}">
                <a16:creationId xmlns:a16="http://schemas.microsoft.com/office/drawing/2014/main" id="{891940F7-6608-F36D-01F8-97C312727B0D}"/>
              </a:ext>
            </a:extLst>
          </p:cNvPr>
          <p:cNvSpPr>
            <a:spLocks noChangeAspect="1" noChangeArrowheads="1"/>
          </p:cNvSpPr>
          <p:nvPr userDrawn="1"/>
        </p:nvSpPr>
        <p:spPr bwMode="auto">
          <a:xfrm>
            <a:off x="10247462" y="2515739"/>
            <a:ext cx="365821" cy="363630"/>
          </a:xfrm>
          <a:custGeom>
            <a:avLst/>
            <a:gdLst>
              <a:gd name="T0" fmla="*/ 89779237 w 291737"/>
              <a:gd name="T1" fmla="*/ 109284772 h 290153"/>
              <a:gd name="T2" fmla="*/ 102871663 w 291737"/>
              <a:gd name="T3" fmla="*/ 104718570 h 290153"/>
              <a:gd name="T4" fmla="*/ 123273045 w 291737"/>
              <a:gd name="T5" fmla="*/ 122214270 h 290153"/>
              <a:gd name="T6" fmla="*/ 124538682 w 291737"/>
              <a:gd name="T7" fmla="*/ 105031042 h 290153"/>
              <a:gd name="T8" fmla="*/ 99391902 w 291737"/>
              <a:gd name="T9" fmla="*/ 125807186 h 290153"/>
              <a:gd name="T10" fmla="*/ 102871663 w 291737"/>
              <a:gd name="T11" fmla="*/ 104718570 h 290153"/>
              <a:gd name="T12" fmla="*/ 3931849 w 291737"/>
              <a:gd name="T13" fmla="*/ 122214270 h 290153"/>
              <a:gd name="T14" fmla="*/ 24383897 w 291737"/>
              <a:gd name="T15" fmla="*/ 104718570 h 290153"/>
              <a:gd name="T16" fmla="*/ 27686387 w 291737"/>
              <a:gd name="T17" fmla="*/ 125807186 h 290153"/>
              <a:gd name="T18" fmla="*/ 2675210 w 291737"/>
              <a:gd name="T19" fmla="*/ 105031042 h 290153"/>
              <a:gd name="T20" fmla="*/ 111858698 w 291737"/>
              <a:gd name="T21" fmla="*/ 101300184 h 290153"/>
              <a:gd name="T22" fmla="*/ 10672229 w 291737"/>
              <a:gd name="T23" fmla="*/ 96976848 h 290153"/>
              <a:gd name="T24" fmla="*/ 111858698 w 291737"/>
              <a:gd name="T25" fmla="*/ 88794158 h 290153"/>
              <a:gd name="T26" fmla="*/ 111858698 w 291737"/>
              <a:gd name="T27" fmla="*/ 88794158 h 290153"/>
              <a:gd name="T28" fmla="*/ 6915088 w 291737"/>
              <a:gd name="T29" fmla="*/ 96976848 h 290153"/>
              <a:gd name="T30" fmla="*/ 99462300 w 291737"/>
              <a:gd name="T31" fmla="*/ 96153616 h 290153"/>
              <a:gd name="T32" fmla="*/ 82229262 w 291737"/>
              <a:gd name="T33" fmla="*/ 84875441 h 290153"/>
              <a:gd name="T34" fmla="*/ 44678279 w 291737"/>
              <a:gd name="T35" fmla="*/ 84875441 h 290153"/>
              <a:gd name="T36" fmla="*/ 27764580 w 291737"/>
              <a:gd name="T37" fmla="*/ 96153616 h 290153"/>
              <a:gd name="T38" fmla="*/ 52334178 w 291737"/>
              <a:gd name="T39" fmla="*/ 68852146 h 290153"/>
              <a:gd name="T40" fmla="*/ 72313118 w 291737"/>
              <a:gd name="T41" fmla="*/ 64165631 h 290153"/>
              <a:gd name="T42" fmla="*/ 77976585 w 291737"/>
              <a:gd name="T43" fmla="*/ 80724467 h 290153"/>
              <a:gd name="T44" fmla="*/ 48401249 w 291737"/>
              <a:gd name="T45" fmla="*/ 68852146 h 290153"/>
              <a:gd name="T46" fmla="*/ 59193458 w 291737"/>
              <a:gd name="T47" fmla="*/ 54222035 h 290153"/>
              <a:gd name="T48" fmla="*/ 63536008 w 291737"/>
              <a:gd name="T49" fmla="*/ 46117364 h 290153"/>
              <a:gd name="T50" fmla="*/ 63536008 w 291737"/>
              <a:gd name="T51" fmla="*/ 46117364 h 290153"/>
              <a:gd name="T52" fmla="*/ 111765453 w 291737"/>
              <a:gd name="T53" fmla="*/ 83819484 h 290153"/>
              <a:gd name="T54" fmla="*/ 15051580 w 291737"/>
              <a:gd name="T55" fmla="*/ 41987648 h 290153"/>
              <a:gd name="T56" fmla="*/ 13138120 w 291737"/>
              <a:gd name="T57" fmla="*/ 82102572 h 290153"/>
              <a:gd name="T58" fmla="*/ 91709610 w 291737"/>
              <a:gd name="T59" fmla="*/ 35208138 h 290153"/>
              <a:gd name="T60" fmla="*/ 77223386 w 291737"/>
              <a:gd name="T61" fmla="*/ 49457136 h 290153"/>
              <a:gd name="T62" fmla="*/ 37911938 w 291737"/>
              <a:gd name="T63" fmla="*/ 35208138 h 290153"/>
              <a:gd name="T64" fmla="*/ 46976875 w 291737"/>
              <a:gd name="T65" fmla="*/ 49457136 h 290153"/>
              <a:gd name="T66" fmla="*/ 89779237 w 291737"/>
              <a:gd name="T67" fmla="*/ 16518775 h 290153"/>
              <a:gd name="T68" fmla="*/ 34572388 w 291737"/>
              <a:gd name="T69" fmla="*/ 18502114 h 290153"/>
              <a:gd name="T70" fmla="*/ 101289900 w 291737"/>
              <a:gd name="T71" fmla="*/ 23421996 h 290153"/>
              <a:gd name="T72" fmla="*/ 121533257 w 291737"/>
              <a:gd name="T73" fmla="*/ 18424099 h 290153"/>
              <a:gd name="T74" fmla="*/ 127068263 w 291737"/>
              <a:gd name="T75" fmla="*/ 35139610 h 290153"/>
              <a:gd name="T76" fmla="*/ 97494406 w 291737"/>
              <a:gd name="T77" fmla="*/ 23421996 h 290153"/>
              <a:gd name="T78" fmla="*/ 5662450 w 291737"/>
              <a:gd name="T79" fmla="*/ 18424099 h 290153"/>
              <a:gd name="T80" fmla="*/ 25641957 w 291737"/>
              <a:gd name="T81" fmla="*/ 23421996 h 290153"/>
              <a:gd name="T82" fmla="*/ 29575230 w 291737"/>
              <a:gd name="T83" fmla="*/ 23421996 h 290153"/>
              <a:gd name="T84" fmla="*/ 0 w 291737"/>
              <a:gd name="T85" fmla="*/ 35139610 h 290153"/>
              <a:gd name="T86" fmla="*/ 111858698 w 291737"/>
              <a:gd name="T87" fmla="*/ 3859771 h 290153"/>
              <a:gd name="T88" fmla="*/ 111858698 w 291737"/>
              <a:gd name="T89" fmla="*/ 3859771 h 290153"/>
              <a:gd name="T90" fmla="*/ 19439297 w 291737"/>
              <a:gd name="T91" fmla="*/ 8182036 h 290153"/>
              <a:gd name="T92" fmla="*/ 111858698 w 291737"/>
              <a:gd name="T93" fmla="*/ 16365797 h 290153"/>
              <a:gd name="T94" fmla="*/ 23352569 w 291737"/>
              <a:gd name="T95" fmla="*/ 8182036 h 290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1737" h="290153">
                <a:moveTo>
                  <a:pt x="83671" y="242888"/>
                </a:moveTo>
                <a:lnTo>
                  <a:pt x="206125" y="242888"/>
                </a:lnTo>
                <a:cubicBezTo>
                  <a:pt x="208631" y="242888"/>
                  <a:pt x="210779" y="245086"/>
                  <a:pt x="210779" y="247651"/>
                </a:cubicBezTo>
                <a:cubicBezTo>
                  <a:pt x="210779" y="250215"/>
                  <a:pt x="208631" y="252047"/>
                  <a:pt x="206125" y="252047"/>
                </a:cubicBezTo>
                <a:lnTo>
                  <a:pt x="83671" y="252047"/>
                </a:lnTo>
                <a:cubicBezTo>
                  <a:pt x="81523" y="252047"/>
                  <a:pt x="79375" y="250215"/>
                  <a:pt x="79375" y="247651"/>
                </a:cubicBezTo>
                <a:cubicBezTo>
                  <a:pt x="79375" y="245086"/>
                  <a:pt x="81523" y="242888"/>
                  <a:pt x="83671" y="242888"/>
                </a:cubicBezTo>
                <a:close/>
                <a:moveTo>
                  <a:pt x="236183" y="241515"/>
                </a:moveTo>
                <a:cubicBezTo>
                  <a:pt x="237998" y="242956"/>
                  <a:pt x="238361" y="245838"/>
                  <a:pt x="236546" y="248000"/>
                </a:cubicBezTo>
                <a:cubicBezTo>
                  <a:pt x="233641" y="250882"/>
                  <a:pt x="232552" y="254845"/>
                  <a:pt x="232552" y="258808"/>
                </a:cubicBezTo>
                <a:lnTo>
                  <a:pt x="232552" y="281866"/>
                </a:lnTo>
                <a:lnTo>
                  <a:pt x="283023" y="281866"/>
                </a:lnTo>
                <a:lnTo>
                  <a:pt x="283023" y="258808"/>
                </a:lnTo>
                <a:cubicBezTo>
                  <a:pt x="283023" y="254845"/>
                  <a:pt x="281570" y="250882"/>
                  <a:pt x="279029" y="248000"/>
                </a:cubicBezTo>
                <a:cubicBezTo>
                  <a:pt x="277213" y="245838"/>
                  <a:pt x="277939" y="242956"/>
                  <a:pt x="279392" y="241515"/>
                </a:cubicBezTo>
                <a:cubicBezTo>
                  <a:pt x="281570" y="239713"/>
                  <a:pt x="284475" y="240074"/>
                  <a:pt x="285928" y="242235"/>
                </a:cubicBezTo>
                <a:cubicBezTo>
                  <a:pt x="289559" y="246559"/>
                  <a:pt x="291737" y="252683"/>
                  <a:pt x="291737" y="258808"/>
                </a:cubicBezTo>
                <a:lnTo>
                  <a:pt x="291737" y="285830"/>
                </a:lnTo>
                <a:cubicBezTo>
                  <a:pt x="291737" y="288712"/>
                  <a:pt x="289922" y="290153"/>
                  <a:pt x="287743" y="290153"/>
                </a:cubicBezTo>
                <a:lnTo>
                  <a:pt x="228194" y="290153"/>
                </a:lnTo>
                <a:cubicBezTo>
                  <a:pt x="226016" y="290153"/>
                  <a:pt x="223837" y="288712"/>
                  <a:pt x="223837" y="285830"/>
                </a:cubicBezTo>
                <a:lnTo>
                  <a:pt x="223837" y="258808"/>
                </a:lnTo>
                <a:cubicBezTo>
                  <a:pt x="223837" y="252683"/>
                  <a:pt x="226016" y="246559"/>
                  <a:pt x="229647" y="242235"/>
                </a:cubicBezTo>
                <a:cubicBezTo>
                  <a:pt x="231462" y="240074"/>
                  <a:pt x="234367" y="239713"/>
                  <a:pt x="236183" y="241515"/>
                </a:cubicBezTo>
                <a:close/>
                <a:moveTo>
                  <a:pt x="12280" y="241515"/>
                </a:moveTo>
                <a:cubicBezTo>
                  <a:pt x="14447" y="242956"/>
                  <a:pt x="14808" y="245838"/>
                  <a:pt x="13002" y="248000"/>
                </a:cubicBezTo>
                <a:cubicBezTo>
                  <a:pt x="10835" y="250882"/>
                  <a:pt x="9029" y="254845"/>
                  <a:pt x="9029" y="258808"/>
                </a:cubicBezTo>
                <a:lnTo>
                  <a:pt x="9029" y="281866"/>
                </a:lnTo>
                <a:lnTo>
                  <a:pt x="59232" y="281866"/>
                </a:lnTo>
                <a:lnTo>
                  <a:pt x="59232" y="258808"/>
                </a:lnTo>
                <a:cubicBezTo>
                  <a:pt x="59232" y="254845"/>
                  <a:pt x="57788" y="250882"/>
                  <a:pt x="55259" y="248000"/>
                </a:cubicBezTo>
                <a:cubicBezTo>
                  <a:pt x="53454" y="245838"/>
                  <a:pt x="54176" y="242956"/>
                  <a:pt x="55982" y="241515"/>
                </a:cubicBezTo>
                <a:cubicBezTo>
                  <a:pt x="57788" y="239713"/>
                  <a:pt x="60677" y="240074"/>
                  <a:pt x="61761" y="242235"/>
                </a:cubicBezTo>
                <a:cubicBezTo>
                  <a:pt x="65734" y="246559"/>
                  <a:pt x="67901" y="252683"/>
                  <a:pt x="67901" y="258808"/>
                </a:cubicBezTo>
                <a:lnTo>
                  <a:pt x="67901" y="285830"/>
                </a:lnTo>
                <a:cubicBezTo>
                  <a:pt x="67901" y="288712"/>
                  <a:pt x="65734" y="290153"/>
                  <a:pt x="63566" y="290153"/>
                </a:cubicBezTo>
                <a:lnTo>
                  <a:pt x="4695" y="290153"/>
                </a:lnTo>
                <a:cubicBezTo>
                  <a:pt x="2528" y="290153"/>
                  <a:pt x="0" y="288712"/>
                  <a:pt x="0" y="285830"/>
                </a:cubicBezTo>
                <a:lnTo>
                  <a:pt x="0" y="258808"/>
                </a:lnTo>
                <a:cubicBezTo>
                  <a:pt x="0" y="252683"/>
                  <a:pt x="2528" y="246559"/>
                  <a:pt x="6140" y="242235"/>
                </a:cubicBezTo>
                <a:cubicBezTo>
                  <a:pt x="7946" y="240074"/>
                  <a:pt x="10835" y="239713"/>
                  <a:pt x="12280" y="241515"/>
                </a:cubicBezTo>
                <a:close/>
                <a:moveTo>
                  <a:pt x="256816" y="213690"/>
                </a:moveTo>
                <a:cubicBezTo>
                  <a:pt x="251065" y="213690"/>
                  <a:pt x="246752" y="217963"/>
                  <a:pt x="246752" y="223660"/>
                </a:cubicBezTo>
                <a:cubicBezTo>
                  <a:pt x="246752" y="229357"/>
                  <a:pt x="251065" y="233630"/>
                  <a:pt x="256816" y="233630"/>
                </a:cubicBezTo>
                <a:cubicBezTo>
                  <a:pt x="262926" y="233630"/>
                  <a:pt x="267599" y="229357"/>
                  <a:pt x="267599" y="223660"/>
                </a:cubicBezTo>
                <a:cubicBezTo>
                  <a:pt x="267599" y="217963"/>
                  <a:pt x="262926" y="213690"/>
                  <a:pt x="256816" y="213690"/>
                </a:cubicBezTo>
                <a:close/>
                <a:moveTo>
                  <a:pt x="34565" y="213690"/>
                </a:moveTo>
                <a:cubicBezTo>
                  <a:pt x="29174" y="213690"/>
                  <a:pt x="24501" y="217963"/>
                  <a:pt x="24501" y="223660"/>
                </a:cubicBezTo>
                <a:cubicBezTo>
                  <a:pt x="24501" y="229357"/>
                  <a:pt x="29174" y="233630"/>
                  <a:pt x="34565" y="233630"/>
                </a:cubicBezTo>
                <a:cubicBezTo>
                  <a:pt x="40316" y="233630"/>
                  <a:pt x="44629" y="229357"/>
                  <a:pt x="44629" y="223660"/>
                </a:cubicBezTo>
                <a:cubicBezTo>
                  <a:pt x="44629" y="217963"/>
                  <a:pt x="40316" y="213690"/>
                  <a:pt x="34565" y="213690"/>
                </a:cubicBezTo>
                <a:close/>
                <a:moveTo>
                  <a:pt x="256816" y="204788"/>
                </a:moveTo>
                <a:cubicBezTo>
                  <a:pt x="267599" y="204788"/>
                  <a:pt x="275866" y="213334"/>
                  <a:pt x="275866" y="223660"/>
                </a:cubicBezTo>
                <a:cubicBezTo>
                  <a:pt x="275866" y="234342"/>
                  <a:pt x="267599" y="242532"/>
                  <a:pt x="256816" y="242532"/>
                </a:cubicBezTo>
                <a:cubicBezTo>
                  <a:pt x="246752" y="242532"/>
                  <a:pt x="238125" y="234342"/>
                  <a:pt x="238125" y="223660"/>
                </a:cubicBezTo>
                <a:cubicBezTo>
                  <a:pt x="238125" y="213334"/>
                  <a:pt x="246752" y="204788"/>
                  <a:pt x="256816" y="204788"/>
                </a:cubicBezTo>
                <a:close/>
                <a:moveTo>
                  <a:pt x="34565" y="204788"/>
                </a:moveTo>
                <a:cubicBezTo>
                  <a:pt x="45348" y="204788"/>
                  <a:pt x="53615" y="213334"/>
                  <a:pt x="53615" y="223660"/>
                </a:cubicBezTo>
                <a:cubicBezTo>
                  <a:pt x="53615" y="234342"/>
                  <a:pt x="45348" y="242532"/>
                  <a:pt x="34565" y="242532"/>
                </a:cubicBezTo>
                <a:cubicBezTo>
                  <a:pt x="24142" y="242532"/>
                  <a:pt x="15875" y="234342"/>
                  <a:pt x="15875" y="223660"/>
                </a:cubicBezTo>
                <a:cubicBezTo>
                  <a:pt x="15875" y="213334"/>
                  <a:pt x="24142" y="204788"/>
                  <a:pt x="34565" y="204788"/>
                </a:cubicBezTo>
                <a:close/>
                <a:moveTo>
                  <a:pt x="188791" y="189157"/>
                </a:moveTo>
                <a:cubicBezTo>
                  <a:pt x="190622" y="187325"/>
                  <a:pt x="193553" y="187325"/>
                  <a:pt x="195385" y="189157"/>
                </a:cubicBezTo>
                <a:lnTo>
                  <a:pt x="228356" y="221762"/>
                </a:lnTo>
                <a:cubicBezTo>
                  <a:pt x="229821" y="223960"/>
                  <a:pt x="229821" y="226891"/>
                  <a:pt x="228356" y="228356"/>
                </a:cubicBezTo>
                <a:cubicBezTo>
                  <a:pt x="226890" y="229089"/>
                  <a:pt x="226157" y="229822"/>
                  <a:pt x="225058" y="229822"/>
                </a:cubicBezTo>
                <a:cubicBezTo>
                  <a:pt x="223593" y="229822"/>
                  <a:pt x="222860" y="229089"/>
                  <a:pt x="222128" y="228356"/>
                </a:cubicBezTo>
                <a:lnTo>
                  <a:pt x="188791" y="195751"/>
                </a:lnTo>
                <a:cubicBezTo>
                  <a:pt x="187325" y="193553"/>
                  <a:pt x="187325" y="190622"/>
                  <a:pt x="188791" y="189157"/>
                </a:cubicBezTo>
                <a:close/>
                <a:moveTo>
                  <a:pt x="96349" y="189157"/>
                </a:moveTo>
                <a:cubicBezTo>
                  <a:pt x="98180" y="187325"/>
                  <a:pt x="100745" y="187325"/>
                  <a:pt x="102577" y="189157"/>
                </a:cubicBezTo>
                <a:cubicBezTo>
                  <a:pt x="104408" y="190622"/>
                  <a:pt x="104408" y="193553"/>
                  <a:pt x="102577" y="195751"/>
                </a:cubicBezTo>
                <a:lnTo>
                  <a:pt x="69971" y="228356"/>
                </a:lnTo>
                <a:cubicBezTo>
                  <a:pt x="68872" y="229089"/>
                  <a:pt x="67773" y="229822"/>
                  <a:pt x="66674" y="229822"/>
                </a:cubicBezTo>
                <a:cubicBezTo>
                  <a:pt x="65575" y="229822"/>
                  <a:pt x="64476" y="229089"/>
                  <a:pt x="63744" y="228356"/>
                </a:cubicBezTo>
                <a:cubicBezTo>
                  <a:pt x="61912" y="226891"/>
                  <a:pt x="61912" y="223960"/>
                  <a:pt x="63744" y="221762"/>
                </a:cubicBezTo>
                <a:lnTo>
                  <a:pt x="96349" y="189157"/>
                </a:lnTo>
                <a:close/>
                <a:moveTo>
                  <a:pt x="123405" y="141862"/>
                </a:moveTo>
                <a:cubicBezTo>
                  <a:pt x="125572" y="142943"/>
                  <a:pt x="125572" y="145825"/>
                  <a:pt x="123766" y="147987"/>
                </a:cubicBezTo>
                <a:cubicBezTo>
                  <a:pt x="121599" y="150509"/>
                  <a:pt x="120154" y="154832"/>
                  <a:pt x="120154" y="158795"/>
                </a:cubicBezTo>
                <a:lnTo>
                  <a:pt x="120154" y="181493"/>
                </a:lnTo>
                <a:lnTo>
                  <a:pt x="169996" y="181493"/>
                </a:lnTo>
                <a:lnTo>
                  <a:pt x="169996" y="158795"/>
                </a:lnTo>
                <a:cubicBezTo>
                  <a:pt x="169996" y="154832"/>
                  <a:pt x="168913" y="150509"/>
                  <a:pt x="166023" y="147987"/>
                </a:cubicBezTo>
                <a:cubicBezTo>
                  <a:pt x="164217" y="145825"/>
                  <a:pt x="164940" y="142943"/>
                  <a:pt x="166746" y="141862"/>
                </a:cubicBezTo>
                <a:cubicBezTo>
                  <a:pt x="168552" y="140061"/>
                  <a:pt x="171802" y="140421"/>
                  <a:pt x="172886" y="142222"/>
                </a:cubicBezTo>
                <a:cubicBezTo>
                  <a:pt x="176498" y="146546"/>
                  <a:pt x="179026" y="152670"/>
                  <a:pt x="179026" y="158795"/>
                </a:cubicBezTo>
                <a:lnTo>
                  <a:pt x="179026" y="186177"/>
                </a:lnTo>
                <a:cubicBezTo>
                  <a:pt x="179026" y="188699"/>
                  <a:pt x="176859" y="190140"/>
                  <a:pt x="174691" y="190140"/>
                </a:cubicBezTo>
                <a:lnTo>
                  <a:pt x="115820" y="190140"/>
                </a:lnTo>
                <a:cubicBezTo>
                  <a:pt x="113292" y="190140"/>
                  <a:pt x="111125" y="188699"/>
                  <a:pt x="111125" y="186177"/>
                </a:cubicBezTo>
                <a:lnTo>
                  <a:pt x="111125" y="158795"/>
                </a:lnTo>
                <a:cubicBezTo>
                  <a:pt x="111125" y="152670"/>
                  <a:pt x="113292" y="146546"/>
                  <a:pt x="117265" y="142222"/>
                </a:cubicBezTo>
                <a:cubicBezTo>
                  <a:pt x="118709" y="140421"/>
                  <a:pt x="121599" y="139700"/>
                  <a:pt x="123405" y="141862"/>
                </a:cubicBezTo>
                <a:close/>
                <a:moveTo>
                  <a:pt x="145872" y="114990"/>
                </a:moveTo>
                <a:cubicBezTo>
                  <a:pt x="140175" y="114990"/>
                  <a:pt x="135902" y="119662"/>
                  <a:pt x="135902" y="125054"/>
                </a:cubicBezTo>
                <a:cubicBezTo>
                  <a:pt x="135902" y="130805"/>
                  <a:pt x="140175" y="135118"/>
                  <a:pt x="145872" y="135118"/>
                </a:cubicBezTo>
                <a:cubicBezTo>
                  <a:pt x="151569" y="135118"/>
                  <a:pt x="155842" y="130805"/>
                  <a:pt x="155842" y="125054"/>
                </a:cubicBezTo>
                <a:cubicBezTo>
                  <a:pt x="155842" y="119662"/>
                  <a:pt x="151569" y="114990"/>
                  <a:pt x="145872" y="114990"/>
                </a:cubicBezTo>
                <a:close/>
                <a:moveTo>
                  <a:pt x="145872" y="106363"/>
                </a:moveTo>
                <a:cubicBezTo>
                  <a:pt x="156554" y="106363"/>
                  <a:pt x="164744" y="114271"/>
                  <a:pt x="164744" y="125054"/>
                </a:cubicBezTo>
                <a:cubicBezTo>
                  <a:pt x="164744" y="135477"/>
                  <a:pt x="156554" y="144104"/>
                  <a:pt x="145872" y="144104"/>
                </a:cubicBezTo>
                <a:cubicBezTo>
                  <a:pt x="135546" y="144104"/>
                  <a:pt x="127000" y="135477"/>
                  <a:pt x="127000" y="125054"/>
                </a:cubicBezTo>
                <a:cubicBezTo>
                  <a:pt x="127000" y="114271"/>
                  <a:pt x="135546" y="106363"/>
                  <a:pt x="145872" y="106363"/>
                </a:cubicBezTo>
                <a:close/>
                <a:moveTo>
                  <a:pt x="256603" y="96838"/>
                </a:moveTo>
                <a:cubicBezTo>
                  <a:pt x="259270" y="96838"/>
                  <a:pt x="261556" y="98998"/>
                  <a:pt x="261556" y="101158"/>
                </a:cubicBezTo>
                <a:lnTo>
                  <a:pt x="261556" y="189355"/>
                </a:lnTo>
                <a:cubicBezTo>
                  <a:pt x="261556" y="191875"/>
                  <a:pt x="259270" y="193315"/>
                  <a:pt x="256603" y="193315"/>
                </a:cubicBezTo>
                <a:cubicBezTo>
                  <a:pt x="254317" y="193315"/>
                  <a:pt x="252412" y="191875"/>
                  <a:pt x="252412" y="189355"/>
                </a:cubicBezTo>
                <a:lnTo>
                  <a:pt x="252412" y="101158"/>
                </a:lnTo>
                <a:cubicBezTo>
                  <a:pt x="252412" y="98998"/>
                  <a:pt x="254317" y="96838"/>
                  <a:pt x="256603" y="96838"/>
                </a:cubicBezTo>
                <a:close/>
                <a:moveTo>
                  <a:pt x="34558" y="96838"/>
                </a:moveTo>
                <a:cubicBezTo>
                  <a:pt x="37122" y="96838"/>
                  <a:pt x="39320" y="98998"/>
                  <a:pt x="39320" y="101158"/>
                </a:cubicBezTo>
                <a:lnTo>
                  <a:pt x="39320" y="189355"/>
                </a:lnTo>
                <a:cubicBezTo>
                  <a:pt x="39320" y="191875"/>
                  <a:pt x="37122" y="193315"/>
                  <a:pt x="34558" y="193315"/>
                </a:cubicBezTo>
                <a:cubicBezTo>
                  <a:pt x="31993" y="193315"/>
                  <a:pt x="30162" y="191875"/>
                  <a:pt x="30162" y="189355"/>
                </a:cubicBezTo>
                <a:lnTo>
                  <a:pt x="30162" y="101158"/>
                </a:lnTo>
                <a:cubicBezTo>
                  <a:pt x="30162" y="98998"/>
                  <a:pt x="31993" y="96838"/>
                  <a:pt x="34558" y="96838"/>
                </a:cubicBezTo>
                <a:close/>
                <a:moveTo>
                  <a:pt x="204410" y="81201"/>
                </a:moveTo>
                <a:cubicBezTo>
                  <a:pt x="206218" y="79375"/>
                  <a:pt x="208387" y="79375"/>
                  <a:pt x="210556" y="81201"/>
                </a:cubicBezTo>
                <a:cubicBezTo>
                  <a:pt x="212364" y="82661"/>
                  <a:pt x="212364" y="85582"/>
                  <a:pt x="210556" y="87408"/>
                </a:cubicBezTo>
                <a:lnTo>
                  <a:pt x="184166" y="114063"/>
                </a:lnTo>
                <a:cubicBezTo>
                  <a:pt x="183081" y="114793"/>
                  <a:pt x="181996" y="115523"/>
                  <a:pt x="180912" y="115523"/>
                </a:cubicBezTo>
                <a:cubicBezTo>
                  <a:pt x="179466" y="115523"/>
                  <a:pt x="178743" y="114793"/>
                  <a:pt x="177297" y="114063"/>
                </a:cubicBezTo>
                <a:cubicBezTo>
                  <a:pt x="176212" y="112602"/>
                  <a:pt x="176212" y="109681"/>
                  <a:pt x="177297" y="107855"/>
                </a:cubicBezTo>
                <a:lnTo>
                  <a:pt x="204410" y="81201"/>
                </a:lnTo>
                <a:close/>
                <a:moveTo>
                  <a:pt x="80835" y="81201"/>
                </a:moveTo>
                <a:cubicBezTo>
                  <a:pt x="82661" y="79375"/>
                  <a:pt x="85947" y="79375"/>
                  <a:pt x="87042" y="81201"/>
                </a:cubicBezTo>
                <a:lnTo>
                  <a:pt x="114061" y="107855"/>
                </a:lnTo>
                <a:cubicBezTo>
                  <a:pt x="115522" y="109681"/>
                  <a:pt x="115522" y="112602"/>
                  <a:pt x="114061" y="114063"/>
                </a:cubicBezTo>
                <a:cubicBezTo>
                  <a:pt x="113331" y="114793"/>
                  <a:pt x="111870" y="115523"/>
                  <a:pt x="111140" y="115523"/>
                </a:cubicBezTo>
                <a:cubicBezTo>
                  <a:pt x="109680" y="115523"/>
                  <a:pt x="108584" y="114793"/>
                  <a:pt x="107854" y="114063"/>
                </a:cubicBezTo>
                <a:lnTo>
                  <a:pt x="80835" y="87408"/>
                </a:lnTo>
                <a:cubicBezTo>
                  <a:pt x="79375" y="85582"/>
                  <a:pt x="79375" y="82661"/>
                  <a:pt x="80835" y="81201"/>
                </a:cubicBezTo>
                <a:close/>
                <a:moveTo>
                  <a:pt x="83671" y="38100"/>
                </a:moveTo>
                <a:lnTo>
                  <a:pt x="206125" y="38100"/>
                </a:lnTo>
                <a:cubicBezTo>
                  <a:pt x="208631" y="38100"/>
                  <a:pt x="210779" y="40386"/>
                  <a:pt x="210779" y="42672"/>
                </a:cubicBezTo>
                <a:cubicBezTo>
                  <a:pt x="210779" y="45339"/>
                  <a:pt x="208631" y="47244"/>
                  <a:pt x="206125" y="47244"/>
                </a:cubicBezTo>
                <a:lnTo>
                  <a:pt x="83671" y="47244"/>
                </a:lnTo>
                <a:cubicBezTo>
                  <a:pt x="81523" y="47244"/>
                  <a:pt x="79375" y="45339"/>
                  <a:pt x="79375" y="42672"/>
                </a:cubicBezTo>
                <a:cubicBezTo>
                  <a:pt x="79375" y="40386"/>
                  <a:pt x="81523" y="38100"/>
                  <a:pt x="83671" y="38100"/>
                </a:cubicBezTo>
                <a:close/>
                <a:moveTo>
                  <a:pt x="236183" y="36366"/>
                </a:moveTo>
                <a:cubicBezTo>
                  <a:pt x="237998" y="38167"/>
                  <a:pt x="238361" y="41050"/>
                  <a:pt x="236546" y="42491"/>
                </a:cubicBezTo>
                <a:cubicBezTo>
                  <a:pt x="233641" y="45733"/>
                  <a:pt x="232552" y="50057"/>
                  <a:pt x="232552" y="54020"/>
                </a:cubicBezTo>
                <a:lnTo>
                  <a:pt x="232552" y="76718"/>
                </a:lnTo>
                <a:lnTo>
                  <a:pt x="283023" y="76718"/>
                </a:lnTo>
                <a:lnTo>
                  <a:pt x="283023" y="54020"/>
                </a:lnTo>
                <a:cubicBezTo>
                  <a:pt x="283023" y="50057"/>
                  <a:pt x="281570" y="45733"/>
                  <a:pt x="279029" y="42491"/>
                </a:cubicBezTo>
                <a:cubicBezTo>
                  <a:pt x="277213" y="41050"/>
                  <a:pt x="277939" y="38167"/>
                  <a:pt x="279392" y="36366"/>
                </a:cubicBezTo>
                <a:cubicBezTo>
                  <a:pt x="281570" y="34925"/>
                  <a:pt x="284475" y="35285"/>
                  <a:pt x="285928" y="37447"/>
                </a:cubicBezTo>
                <a:cubicBezTo>
                  <a:pt x="289559" y="41770"/>
                  <a:pt x="291737" y="47895"/>
                  <a:pt x="291737" y="54020"/>
                </a:cubicBezTo>
                <a:lnTo>
                  <a:pt x="291737" y="81042"/>
                </a:lnTo>
                <a:cubicBezTo>
                  <a:pt x="291737" y="83924"/>
                  <a:pt x="289922" y="85365"/>
                  <a:pt x="287743" y="85365"/>
                </a:cubicBezTo>
                <a:lnTo>
                  <a:pt x="228194" y="85365"/>
                </a:lnTo>
                <a:cubicBezTo>
                  <a:pt x="226016" y="85365"/>
                  <a:pt x="223837" y="83924"/>
                  <a:pt x="223837" y="81042"/>
                </a:cubicBezTo>
                <a:lnTo>
                  <a:pt x="223837" y="54020"/>
                </a:lnTo>
                <a:cubicBezTo>
                  <a:pt x="223837" y="47895"/>
                  <a:pt x="226016" y="41770"/>
                  <a:pt x="229647" y="37447"/>
                </a:cubicBezTo>
                <a:cubicBezTo>
                  <a:pt x="231462" y="35285"/>
                  <a:pt x="234367" y="34925"/>
                  <a:pt x="236183" y="36366"/>
                </a:cubicBezTo>
                <a:close/>
                <a:moveTo>
                  <a:pt x="12280" y="36366"/>
                </a:moveTo>
                <a:cubicBezTo>
                  <a:pt x="14447" y="38167"/>
                  <a:pt x="14808" y="41050"/>
                  <a:pt x="13002" y="42491"/>
                </a:cubicBezTo>
                <a:cubicBezTo>
                  <a:pt x="10835" y="45733"/>
                  <a:pt x="9029" y="50057"/>
                  <a:pt x="9029" y="54020"/>
                </a:cubicBezTo>
                <a:lnTo>
                  <a:pt x="9029" y="76718"/>
                </a:lnTo>
                <a:lnTo>
                  <a:pt x="58871" y="76718"/>
                </a:lnTo>
                <a:lnTo>
                  <a:pt x="58871" y="54020"/>
                </a:lnTo>
                <a:cubicBezTo>
                  <a:pt x="58871" y="50057"/>
                  <a:pt x="57788" y="45733"/>
                  <a:pt x="55259" y="42491"/>
                </a:cubicBezTo>
                <a:cubicBezTo>
                  <a:pt x="53454" y="41050"/>
                  <a:pt x="54176" y="38167"/>
                  <a:pt x="55982" y="36366"/>
                </a:cubicBezTo>
                <a:cubicBezTo>
                  <a:pt x="57788" y="34925"/>
                  <a:pt x="60677" y="35285"/>
                  <a:pt x="61761" y="37447"/>
                </a:cubicBezTo>
                <a:cubicBezTo>
                  <a:pt x="65734" y="41770"/>
                  <a:pt x="67901" y="47895"/>
                  <a:pt x="67901" y="54020"/>
                </a:cubicBezTo>
                <a:lnTo>
                  <a:pt x="67901" y="81042"/>
                </a:lnTo>
                <a:cubicBezTo>
                  <a:pt x="67901" y="83924"/>
                  <a:pt x="65734" y="85365"/>
                  <a:pt x="63566" y="85365"/>
                </a:cubicBezTo>
                <a:lnTo>
                  <a:pt x="4695" y="85365"/>
                </a:lnTo>
                <a:cubicBezTo>
                  <a:pt x="2528" y="85365"/>
                  <a:pt x="0" y="83924"/>
                  <a:pt x="0" y="81042"/>
                </a:cubicBezTo>
                <a:lnTo>
                  <a:pt x="0" y="54020"/>
                </a:lnTo>
                <a:cubicBezTo>
                  <a:pt x="0" y="47895"/>
                  <a:pt x="2528" y="41770"/>
                  <a:pt x="6140" y="37447"/>
                </a:cubicBezTo>
                <a:cubicBezTo>
                  <a:pt x="7946" y="35285"/>
                  <a:pt x="10835" y="34925"/>
                  <a:pt x="12280" y="36366"/>
                </a:cubicBezTo>
                <a:close/>
                <a:moveTo>
                  <a:pt x="256816" y="8902"/>
                </a:moveTo>
                <a:cubicBezTo>
                  <a:pt x="251065" y="8902"/>
                  <a:pt x="246752" y="13175"/>
                  <a:pt x="246752" y="18872"/>
                </a:cubicBezTo>
                <a:cubicBezTo>
                  <a:pt x="246752" y="24569"/>
                  <a:pt x="251065" y="29198"/>
                  <a:pt x="256816" y="29198"/>
                </a:cubicBezTo>
                <a:cubicBezTo>
                  <a:pt x="262926" y="29198"/>
                  <a:pt x="267599" y="24569"/>
                  <a:pt x="267599" y="18872"/>
                </a:cubicBezTo>
                <a:cubicBezTo>
                  <a:pt x="267599" y="13175"/>
                  <a:pt x="262926" y="8902"/>
                  <a:pt x="256816" y="8902"/>
                </a:cubicBezTo>
                <a:close/>
                <a:moveTo>
                  <a:pt x="34565" y="8902"/>
                </a:moveTo>
                <a:cubicBezTo>
                  <a:pt x="29174" y="8902"/>
                  <a:pt x="24501" y="13175"/>
                  <a:pt x="24501" y="18872"/>
                </a:cubicBezTo>
                <a:cubicBezTo>
                  <a:pt x="24501" y="24569"/>
                  <a:pt x="29174" y="29198"/>
                  <a:pt x="34565" y="29198"/>
                </a:cubicBezTo>
                <a:cubicBezTo>
                  <a:pt x="40316" y="29198"/>
                  <a:pt x="44629" y="24569"/>
                  <a:pt x="44629" y="18872"/>
                </a:cubicBezTo>
                <a:cubicBezTo>
                  <a:pt x="44629" y="13175"/>
                  <a:pt x="40316" y="8902"/>
                  <a:pt x="34565" y="8902"/>
                </a:cubicBezTo>
                <a:close/>
                <a:moveTo>
                  <a:pt x="256816" y="0"/>
                </a:moveTo>
                <a:cubicBezTo>
                  <a:pt x="267599" y="0"/>
                  <a:pt x="275866" y="8189"/>
                  <a:pt x="275866" y="18872"/>
                </a:cubicBezTo>
                <a:cubicBezTo>
                  <a:pt x="275866" y="29198"/>
                  <a:pt x="267599" y="37744"/>
                  <a:pt x="256816" y="37744"/>
                </a:cubicBezTo>
                <a:cubicBezTo>
                  <a:pt x="246752" y="37744"/>
                  <a:pt x="238125" y="29198"/>
                  <a:pt x="238125" y="18872"/>
                </a:cubicBezTo>
                <a:cubicBezTo>
                  <a:pt x="238125" y="8189"/>
                  <a:pt x="246752" y="0"/>
                  <a:pt x="256816" y="0"/>
                </a:cubicBezTo>
                <a:close/>
                <a:moveTo>
                  <a:pt x="34565" y="0"/>
                </a:moveTo>
                <a:cubicBezTo>
                  <a:pt x="45348" y="0"/>
                  <a:pt x="53615" y="8189"/>
                  <a:pt x="53615" y="18872"/>
                </a:cubicBezTo>
                <a:cubicBezTo>
                  <a:pt x="53615" y="29198"/>
                  <a:pt x="45348" y="37744"/>
                  <a:pt x="34565" y="37744"/>
                </a:cubicBezTo>
                <a:cubicBezTo>
                  <a:pt x="24142" y="37744"/>
                  <a:pt x="15875" y="29198"/>
                  <a:pt x="15875" y="18872"/>
                </a:cubicBezTo>
                <a:cubicBezTo>
                  <a:pt x="15875" y="8189"/>
                  <a:pt x="24142" y="0"/>
                  <a:pt x="34565" y="0"/>
                </a:cubicBezTo>
                <a:close/>
              </a:path>
            </a:pathLst>
          </a:custGeom>
          <a:solidFill>
            <a:schemeClr val="tx2"/>
          </a:solidFill>
          <a:ln>
            <a:noFill/>
          </a:ln>
          <a:effectLst/>
        </p:spPr>
        <p:txBody>
          <a:bodyPr anchor="ctr"/>
          <a:lstStyle/>
          <a:p>
            <a:endParaRPr lang="en-US" sz="900">
              <a:latin typeface="+mj-lt"/>
            </a:endParaRPr>
          </a:p>
        </p:txBody>
      </p:sp>
      <p:sp>
        <p:nvSpPr>
          <p:cNvPr id="63" name="Freeform 1021">
            <a:extLst>
              <a:ext uri="{FF2B5EF4-FFF2-40B4-BE49-F238E27FC236}">
                <a16:creationId xmlns:a16="http://schemas.microsoft.com/office/drawing/2014/main" id="{06A022FE-8C2E-0B09-CA35-7CCA0A55627B}"/>
              </a:ext>
            </a:extLst>
          </p:cNvPr>
          <p:cNvSpPr>
            <a:spLocks noChangeAspect="1" noChangeArrowheads="1"/>
          </p:cNvSpPr>
          <p:nvPr userDrawn="1"/>
        </p:nvSpPr>
        <p:spPr bwMode="auto">
          <a:xfrm>
            <a:off x="3748649" y="3595234"/>
            <a:ext cx="363084" cy="363631"/>
          </a:xfrm>
          <a:custGeom>
            <a:avLst/>
            <a:gdLst>
              <a:gd name="T0" fmla="*/ 69401580 w 290150"/>
              <a:gd name="T1" fmla="*/ 121905821 h 290152"/>
              <a:gd name="T2" fmla="*/ 101735209 w 290150"/>
              <a:gd name="T3" fmla="*/ 104566787 h 290152"/>
              <a:gd name="T4" fmla="*/ 122048015 w 290150"/>
              <a:gd name="T5" fmla="*/ 121907862 h 290152"/>
              <a:gd name="T6" fmla="*/ 123308159 w 290150"/>
              <a:gd name="T7" fmla="*/ 104878861 h 290152"/>
              <a:gd name="T8" fmla="*/ 98428740 w 290150"/>
              <a:gd name="T9" fmla="*/ 125812788 h 290152"/>
              <a:gd name="T10" fmla="*/ 101735209 w 290150"/>
              <a:gd name="T11" fmla="*/ 104566787 h 290152"/>
              <a:gd name="T12" fmla="*/ 3711393 w 290150"/>
              <a:gd name="T13" fmla="*/ 121907862 h 290152"/>
              <a:gd name="T14" fmla="*/ 23657262 w 290150"/>
              <a:gd name="T15" fmla="*/ 104566787 h 290152"/>
              <a:gd name="T16" fmla="*/ 26904877 w 290150"/>
              <a:gd name="T17" fmla="*/ 125812788 h 290152"/>
              <a:gd name="T18" fmla="*/ 2629532 w 290150"/>
              <a:gd name="T19" fmla="*/ 104878861 h 290152"/>
              <a:gd name="T20" fmla="*/ 80814075 w 290150"/>
              <a:gd name="T21" fmla="*/ 110495926 h 290152"/>
              <a:gd name="T22" fmla="*/ 106318684 w 290150"/>
              <a:gd name="T23" fmla="*/ 97058230 h 290152"/>
              <a:gd name="T24" fmla="*/ 14300614 w 290150"/>
              <a:gd name="T25" fmla="*/ 92538574 h 290152"/>
              <a:gd name="T26" fmla="*/ 14300614 w 290150"/>
              <a:gd name="T27" fmla="*/ 92538574 h 290152"/>
              <a:gd name="T28" fmla="*/ 102577386 w 290150"/>
              <a:gd name="T29" fmla="*/ 97058230 h 290152"/>
              <a:gd name="T30" fmla="*/ 14300614 w 290150"/>
              <a:gd name="T31" fmla="*/ 105162994 h 290152"/>
              <a:gd name="T32" fmla="*/ 57207559 w 290150"/>
              <a:gd name="T33" fmla="*/ 99086212 h 290152"/>
              <a:gd name="T34" fmla="*/ 76124319 w 290150"/>
              <a:gd name="T35" fmla="*/ 71108083 h 290152"/>
              <a:gd name="T36" fmla="*/ 80032537 w 290150"/>
              <a:gd name="T37" fmla="*/ 74859260 h 290152"/>
              <a:gd name="T38" fmla="*/ 49547474 w 290150"/>
              <a:gd name="T39" fmla="*/ 78766754 h 290152"/>
              <a:gd name="T40" fmla="*/ 7803059 w 290150"/>
              <a:gd name="T41" fmla="*/ 43366069 h 290152"/>
              <a:gd name="T42" fmla="*/ 8874038 w 290150"/>
              <a:gd name="T43" fmla="*/ 85731906 h 290152"/>
              <a:gd name="T44" fmla="*/ 0 w 290150"/>
              <a:gd name="T45" fmla="*/ 51338760 h 290152"/>
              <a:gd name="T46" fmla="*/ 121572332 w 290150"/>
              <a:gd name="T47" fmla="*/ 75808223 h 290152"/>
              <a:gd name="T48" fmla="*/ 117848892 w 290150"/>
              <a:gd name="T49" fmla="*/ 74564562 h 290152"/>
              <a:gd name="T50" fmla="*/ 87807546 w 290150"/>
              <a:gd name="T51" fmla="*/ 58917106 h 290152"/>
              <a:gd name="T52" fmla="*/ 62460013 w 290150"/>
              <a:gd name="T53" fmla="*/ 41082802 h 290152"/>
              <a:gd name="T54" fmla="*/ 29224563 w 290150"/>
              <a:gd name="T55" fmla="*/ 62824121 h 290152"/>
              <a:gd name="T56" fmla="*/ 53456051 w 290150"/>
              <a:gd name="T57" fmla="*/ 82518084 h 290152"/>
              <a:gd name="T58" fmla="*/ 57207559 w 290150"/>
              <a:gd name="T59" fmla="*/ 74859260 h 290152"/>
              <a:gd name="T60" fmla="*/ 76124319 w 290150"/>
              <a:gd name="T61" fmla="*/ 67356844 h 290152"/>
              <a:gd name="T62" fmla="*/ 72372353 w 290150"/>
              <a:gd name="T63" fmla="*/ 99086212 h 290152"/>
              <a:gd name="T64" fmla="*/ 62835889 w 290150"/>
              <a:gd name="T65" fmla="*/ 29220374 h 290152"/>
              <a:gd name="T66" fmla="*/ 84722256 w 290150"/>
              <a:gd name="T67" fmla="*/ 101430210 h 290152"/>
              <a:gd name="T68" fmla="*/ 78938244 w 290150"/>
              <a:gd name="T69" fmla="*/ 116279211 h 290152"/>
              <a:gd name="T70" fmla="*/ 47203090 w 290150"/>
              <a:gd name="T71" fmla="*/ 114246758 h 290152"/>
              <a:gd name="T72" fmla="*/ 36415736 w 290150"/>
              <a:gd name="T73" fmla="*/ 89238866 h 290152"/>
              <a:gd name="T74" fmla="*/ 102050172 w 290150"/>
              <a:gd name="T75" fmla="*/ 18424697 h 290152"/>
              <a:gd name="T76" fmla="*/ 122048015 w 290150"/>
              <a:gd name="T77" fmla="*/ 23268009 h 290152"/>
              <a:gd name="T78" fmla="*/ 125826538 w 290150"/>
              <a:gd name="T79" fmla="*/ 23268009 h 290152"/>
              <a:gd name="T80" fmla="*/ 96381088 w 290150"/>
              <a:gd name="T81" fmla="*/ 35140894 h 290152"/>
              <a:gd name="T82" fmla="*/ 5103055 w 290150"/>
              <a:gd name="T83" fmla="*/ 15925338 h 290152"/>
              <a:gd name="T84" fmla="*/ 25048641 w 290150"/>
              <a:gd name="T85" fmla="*/ 33265548 h 290152"/>
              <a:gd name="T86" fmla="*/ 26285795 w 290150"/>
              <a:gd name="T87" fmla="*/ 16080347 h 290152"/>
              <a:gd name="T88" fmla="*/ 1854307 w 290150"/>
              <a:gd name="T89" fmla="*/ 37015182 h 290152"/>
              <a:gd name="T90" fmla="*/ 5103055 w 290150"/>
              <a:gd name="T91" fmla="*/ 15925338 h 290152"/>
              <a:gd name="T92" fmla="*/ 115203078 w 290150"/>
              <a:gd name="T93" fmla="*/ 8183128 h 290152"/>
              <a:gd name="T94" fmla="*/ 14300614 w 290150"/>
              <a:gd name="T95" fmla="*/ 12660410 h 290152"/>
              <a:gd name="T96" fmla="*/ 85475857 w 290150"/>
              <a:gd name="T97" fmla="*/ 7107584 h 290152"/>
              <a:gd name="T98" fmla="*/ 83908002 w 290150"/>
              <a:gd name="T99" fmla="*/ 10353978 h 290152"/>
              <a:gd name="T100" fmla="*/ 31389377 w 290150"/>
              <a:gd name="T101" fmla="*/ 11435744 h 290152"/>
              <a:gd name="T102" fmla="*/ 110839091 w 290150"/>
              <a:gd name="T103" fmla="*/ 16366151 h 290152"/>
              <a:gd name="T104" fmla="*/ 22561810 w 290150"/>
              <a:gd name="T105" fmla="*/ 8183128 h 2901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0" h="290152">
                <a:moveTo>
                  <a:pt x="117499" y="263478"/>
                </a:moveTo>
                <a:lnTo>
                  <a:pt x="117499" y="268164"/>
                </a:lnTo>
                <a:cubicBezTo>
                  <a:pt x="117499" y="275373"/>
                  <a:pt x="123627" y="281140"/>
                  <a:pt x="130837" y="281140"/>
                </a:cubicBezTo>
                <a:lnTo>
                  <a:pt x="160037" y="281140"/>
                </a:lnTo>
                <a:cubicBezTo>
                  <a:pt x="167247" y="281140"/>
                  <a:pt x="173015" y="275373"/>
                  <a:pt x="173015" y="268164"/>
                </a:cubicBezTo>
                <a:lnTo>
                  <a:pt x="173015" y="263478"/>
                </a:lnTo>
                <a:lnTo>
                  <a:pt x="117499" y="263478"/>
                </a:lnTo>
                <a:close/>
                <a:moveTo>
                  <a:pt x="234596" y="241153"/>
                </a:moveTo>
                <a:cubicBezTo>
                  <a:pt x="236774" y="242955"/>
                  <a:pt x="236774" y="245477"/>
                  <a:pt x="235322" y="247278"/>
                </a:cubicBezTo>
                <a:cubicBezTo>
                  <a:pt x="232417" y="250521"/>
                  <a:pt x="231328" y="254124"/>
                  <a:pt x="231328" y="258447"/>
                </a:cubicBezTo>
                <a:lnTo>
                  <a:pt x="231328" y="281145"/>
                </a:lnTo>
                <a:lnTo>
                  <a:pt x="281436" y="281145"/>
                </a:lnTo>
                <a:lnTo>
                  <a:pt x="281436" y="258447"/>
                </a:lnTo>
                <a:cubicBezTo>
                  <a:pt x="281436" y="254124"/>
                  <a:pt x="279983" y="250521"/>
                  <a:pt x="277442" y="247278"/>
                </a:cubicBezTo>
                <a:cubicBezTo>
                  <a:pt x="275626" y="245477"/>
                  <a:pt x="275989" y="242955"/>
                  <a:pt x="278168" y="241153"/>
                </a:cubicBezTo>
                <a:cubicBezTo>
                  <a:pt x="279983" y="239712"/>
                  <a:pt x="282525" y="239712"/>
                  <a:pt x="284341" y="241874"/>
                </a:cubicBezTo>
                <a:cubicBezTo>
                  <a:pt x="287972" y="246558"/>
                  <a:pt x="290150" y="252322"/>
                  <a:pt x="290150" y="258447"/>
                </a:cubicBezTo>
                <a:lnTo>
                  <a:pt x="290150" y="285829"/>
                </a:lnTo>
                <a:cubicBezTo>
                  <a:pt x="290150" y="287990"/>
                  <a:pt x="288335" y="290152"/>
                  <a:pt x="285793" y="290152"/>
                </a:cubicBezTo>
                <a:lnTo>
                  <a:pt x="226971" y="290152"/>
                </a:lnTo>
                <a:cubicBezTo>
                  <a:pt x="224429" y="290152"/>
                  <a:pt x="222250" y="287990"/>
                  <a:pt x="222250" y="285829"/>
                </a:cubicBezTo>
                <a:lnTo>
                  <a:pt x="222250" y="258447"/>
                </a:lnTo>
                <a:cubicBezTo>
                  <a:pt x="222250" y="252322"/>
                  <a:pt x="224429" y="246558"/>
                  <a:pt x="228423" y="241874"/>
                </a:cubicBezTo>
                <a:cubicBezTo>
                  <a:pt x="229875" y="239712"/>
                  <a:pt x="232780" y="239712"/>
                  <a:pt x="234596" y="241153"/>
                </a:cubicBezTo>
                <a:close/>
                <a:moveTo>
                  <a:pt x="11766" y="241153"/>
                </a:moveTo>
                <a:cubicBezTo>
                  <a:pt x="13905" y="242955"/>
                  <a:pt x="14262" y="245477"/>
                  <a:pt x="12479" y="247278"/>
                </a:cubicBezTo>
                <a:cubicBezTo>
                  <a:pt x="9983" y="250521"/>
                  <a:pt x="8557" y="254124"/>
                  <a:pt x="8557" y="258447"/>
                </a:cubicBezTo>
                <a:lnTo>
                  <a:pt x="8557" y="281145"/>
                </a:lnTo>
                <a:lnTo>
                  <a:pt x="57761" y="281145"/>
                </a:lnTo>
                <a:lnTo>
                  <a:pt x="57761" y="258447"/>
                </a:lnTo>
                <a:cubicBezTo>
                  <a:pt x="57761" y="254124"/>
                  <a:pt x="56335" y="250521"/>
                  <a:pt x="53839" y="247278"/>
                </a:cubicBezTo>
                <a:cubicBezTo>
                  <a:pt x="52413" y="245477"/>
                  <a:pt x="52413" y="242955"/>
                  <a:pt x="54552" y="241153"/>
                </a:cubicBezTo>
                <a:cubicBezTo>
                  <a:pt x="56335" y="239712"/>
                  <a:pt x="59188" y="239712"/>
                  <a:pt x="60614" y="241874"/>
                </a:cubicBezTo>
                <a:cubicBezTo>
                  <a:pt x="64179" y="246558"/>
                  <a:pt x="66319" y="252322"/>
                  <a:pt x="66319" y="258447"/>
                </a:cubicBezTo>
                <a:lnTo>
                  <a:pt x="66319" y="285829"/>
                </a:lnTo>
                <a:cubicBezTo>
                  <a:pt x="66319" y="287990"/>
                  <a:pt x="64536" y="290152"/>
                  <a:pt x="62040" y="290152"/>
                </a:cubicBezTo>
                <a:lnTo>
                  <a:pt x="4278" y="290152"/>
                </a:lnTo>
                <a:cubicBezTo>
                  <a:pt x="1783" y="290152"/>
                  <a:pt x="0" y="287990"/>
                  <a:pt x="0" y="285829"/>
                </a:cubicBezTo>
                <a:lnTo>
                  <a:pt x="0" y="258447"/>
                </a:lnTo>
                <a:cubicBezTo>
                  <a:pt x="0" y="252322"/>
                  <a:pt x="2139" y="246558"/>
                  <a:pt x="6061" y="241874"/>
                </a:cubicBezTo>
                <a:cubicBezTo>
                  <a:pt x="7487" y="239712"/>
                  <a:pt x="9983" y="239712"/>
                  <a:pt x="11766" y="241153"/>
                </a:cubicBezTo>
                <a:close/>
                <a:moveTo>
                  <a:pt x="104160" y="237525"/>
                </a:moveTo>
                <a:lnTo>
                  <a:pt x="104160" y="254827"/>
                </a:lnTo>
                <a:lnTo>
                  <a:pt x="186353" y="254827"/>
                </a:lnTo>
                <a:lnTo>
                  <a:pt x="186353" y="237525"/>
                </a:lnTo>
                <a:lnTo>
                  <a:pt x="104160" y="237525"/>
                </a:lnTo>
                <a:close/>
                <a:moveTo>
                  <a:pt x="255588" y="213414"/>
                </a:moveTo>
                <a:cubicBezTo>
                  <a:pt x="249837" y="213414"/>
                  <a:pt x="245165" y="218086"/>
                  <a:pt x="245165" y="223837"/>
                </a:cubicBezTo>
                <a:cubicBezTo>
                  <a:pt x="245165" y="229229"/>
                  <a:pt x="249837" y="233901"/>
                  <a:pt x="255588" y="233901"/>
                </a:cubicBezTo>
                <a:cubicBezTo>
                  <a:pt x="260980" y="233901"/>
                  <a:pt x="265652" y="229229"/>
                  <a:pt x="265652" y="223837"/>
                </a:cubicBezTo>
                <a:cubicBezTo>
                  <a:pt x="265652" y="218086"/>
                  <a:pt x="260980" y="213414"/>
                  <a:pt x="255588" y="213414"/>
                </a:cubicBezTo>
                <a:close/>
                <a:moveTo>
                  <a:pt x="32978" y="213414"/>
                </a:moveTo>
                <a:cubicBezTo>
                  <a:pt x="27587" y="213414"/>
                  <a:pt x="22914" y="218086"/>
                  <a:pt x="22914" y="223837"/>
                </a:cubicBezTo>
                <a:cubicBezTo>
                  <a:pt x="22914" y="229229"/>
                  <a:pt x="27587" y="233901"/>
                  <a:pt x="32978" y="233901"/>
                </a:cubicBezTo>
                <a:cubicBezTo>
                  <a:pt x="38729" y="233901"/>
                  <a:pt x="43402" y="229229"/>
                  <a:pt x="43402" y="223837"/>
                </a:cubicBezTo>
                <a:cubicBezTo>
                  <a:pt x="43402" y="218086"/>
                  <a:pt x="38729" y="213414"/>
                  <a:pt x="32978" y="213414"/>
                </a:cubicBezTo>
                <a:close/>
                <a:moveTo>
                  <a:pt x="255588" y="204787"/>
                </a:moveTo>
                <a:cubicBezTo>
                  <a:pt x="266012" y="204787"/>
                  <a:pt x="274279" y="213414"/>
                  <a:pt x="274279" y="223837"/>
                </a:cubicBezTo>
                <a:cubicBezTo>
                  <a:pt x="274279" y="234261"/>
                  <a:pt x="266012" y="242528"/>
                  <a:pt x="255588" y="242528"/>
                </a:cubicBezTo>
                <a:cubicBezTo>
                  <a:pt x="245165" y="242528"/>
                  <a:pt x="236538" y="234261"/>
                  <a:pt x="236538" y="223837"/>
                </a:cubicBezTo>
                <a:cubicBezTo>
                  <a:pt x="236538" y="213414"/>
                  <a:pt x="245165" y="204787"/>
                  <a:pt x="255588" y="204787"/>
                </a:cubicBezTo>
                <a:close/>
                <a:moveTo>
                  <a:pt x="32978" y="204787"/>
                </a:moveTo>
                <a:cubicBezTo>
                  <a:pt x="43402" y="204787"/>
                  <a:pt x="52028" y="213414"/>
                  <a:pt x="52028" y="223837"/>
                </a:cubicBezTo>
                <a:cubicBezTo>
                  <a:pt x="52028" y="234261"/>
                  <a:pt x="43402" y="242528"/>
                  <a:pt x="32978" y="242528"/>
                </a:cubicBezTo>
                <a:cubicBezTo>
                  <a:pt x="22555" y="242528"/>
                  <a:pt x="14288" y="234261"/>
                  <a:pt x="14288" y="223837"/>
                </a:cubicBezTo>
                <a:cubicBezTo>
                  <a:pt x="14288" y="213414"/>
                  <a:pt x="22555" y="204787"/>
                  <a:pt x="32978" y="204787"/>
                </a:cubicBezTo>
                <a:close/>
                <a:moveTo>
                  <a:pt x="131918" y="190305"/>
                </a:moveTo>
                <a:lnTo>
                  <a:pt x="131918" y="228513"/>
                </a:lnTo>
                <a:lnTo>
                  <a:pt x="158235" y="228513"/>
                </a:lnTo>
                <a:lnTo>
                  <a:pt x="158235" y="190305"/>
                </a:lnTo>
                <a:lnTo>
                  <a:pt x="131918" y="190305"/>
                </a:lnTo>
                <a:close/>
                <a:moveTo>
                  <a:pt x="175538" y="163991"/>
                </a:moveTo>
                <a:cubicBezTo>
                  <a:pt x="171212" y="163991"/>
                  <a:pt x="166886" y="168317"/>
                  <a:pt x="166886" y="172642"/>
                </a:cubicBezTo>
                <a:lnTo>
                  <a:pt x="166886" y="181654"/>
                </a:lnTo>
                <a:lnTo>
                  <a:pt x="175538" y="181654"/>
                </a:lnTo>
                <a:cubicBezTo>
                  <a:pt x="180585" y="181654"/>
                  <a:pt x="184551" y="177689"/>
                  <a:pt x="184551" y="172642"/>
                </a:cubicBezTo>
                <a:cubicBezTo>
                  <a:pt x="184551" y="168317"/>
                  <a:pt x="180585" y="163991"/>
                  <a:pt x="175538" y="163991"/>
                </a:cubicBezTo>
                <a:close/>
                <a:moveTo>
                  <a:pt x="114254" y="163991"/>
                </a:moveTo>
                <a:cubicBezTo>
                  <a:pt x="109568" y="163991"/>
                  <a:pt x="105602" y="168317"/>
                  <a:pt x="105602" y="172642"/>
                </a:cubicBezTo>
                <a:cubicBezTo>
                  <a:pt x="105602" y="177689"/>
                  <a:pt x="109568" y="181654"/>
                  <a:pt x="114254" y="181654"/>
                </a:cubicBezTo>
                <a:lnTo>
                  <a:pt x="123267" y="181654"/>
                </a:lnTo>
                <a:lnTo>
                  <a:pt x="123267" y="172642"/>
                </a:lnTo>
                <a:cubicBezTo>
                  <a:pt x="123267" y="168317"/>
                  <a:pt x="119301" y="163991"/>
                  <a:pt x="114254" y="163991"/>
                </a:cubicBezTo>
                <a:close/>
                <a:moveTo>
                  <a:pt x="17991" y="100012"/>
                </a:moveTo>
                <a:lnTo>
                  <a:pt x="25047" y="125249"/>
                </a:lnTo>
                <a:lnTo>
                  <a:pt x="16580" y="123086"/>
                </a:lnTo>
                <a:cubicBezTo>
                  <a:pt x="12700" y="146160"/>
                  <a:pt x="14816" y="169955"/>
                  <a:pt x="22930" y="191948"/>
                </a:cubicBezTo>
                <a:cubicBezTo>
                  <a:pt x="23636" y="194471"/>
                  <a:pt x="22578" y="196995"/>
                  <a:pt x="20461" y="197716"/>
                </a:cubicBezTo>
                <a:cubicBezTo>
                  <a:pt x="19755" y="198077"/>
                  <a:pt x="19403" y="198077"/>
                  <a:pt x="18697" y="198077"/>
                </a:cubicBezTo>
                <a:cubicBezTo>
                  <a:pt x="17286" y="198077"/>
                  <a:pt x="15522" y="196995"/>
                  <a:pt x="14816" y="195192"/>
                </a:cubicBezTo>
                <a:cubicBezTo>
                  <a:pt x="5997" y="171397"/>
                  <a:pt x="3880" y="145800"/>
                  <a:pt x="8114" y="120923"/>
                </a:cubicBezTo>
                <a:lnTo>
                  <a:pt x="0" y="118399"/>
                </a:lnTo>
                <a:lnTo>
                  <a:pt x="17991" y="100012"/>
                </a:lnTo>
                <a:close/>
                <a:moveTo>
                  <a:pt x="270322" y="95609"/>
                </a:moveTo>
                <a:cubicBezTo>
                  <a:pt x="272469" y="95250"/>
                  <a:pt x="274615" y="95967"/>
                  <a:pt x="275689" y="98476"/>
                </a:cubicBezTo>
                <a:cubicBezTo>
                  <a:pt x="284275" y="123211"/>
                  <a:pt x="285706" y="149020"/>
                  <a:pt x="280339" y="174830"/>
                </a:cubicBezTo>
                <a:lnTo>
                  <a:pt x="288568" y="176980"/>
                </a:lnTo>
                <a:lnTo>
                  <a:pt x="269249" y="194904"/>
                </a:lnTo>
                <a:lnTo>
                  <a:pt x="263525" y="169453"/>
                </a:lnTo>
                <a:lnTo>
                  <a:pt x="271753" y="171962"/>
                </a:lnTo>
                <a:cubicBezTo>
                  <a:pt x="276762" y="148662"/>
                  <a:pt x="275331" y="124286"/>
                  <a:pt x="267460" y="101344"/>
                </a:cubicBezTo>
                <a:cubicBezTo>
                  <a:pt x="266745" y="99193"/>
                  <a:pt x="267818" y="96326"/>
                  <a:pt x="270322" y="95609"/>
                </a:cubicBezTo>
                <a:close/>
                <a:moveTo>
                  <a:pt x="144030" y="85725"/>
                </a:moveTo>
                <a:cubicBezTo>
                  <a:pt x="173615" y="85725"/>
                  <a:pt x="197788" y="107012"/>
                  <a:pt x="202479" y="135875"/>
                </a:cubicBezTo>
                <a:cubicBezTo>
                  <a:pt x="202839" y="138401"/>
                  <a:pt x="201396" y="140205"/>
                  <a:pt x="198871" y="140926"/>
                </a:cubicBezTo>
                <a:cubicBezTo>
                  <a:pt x="198510" y="140926"/>
                  <a:pt x="198149" y="140926"/>
                  <a:pt x="198149" y="140926"/>
                </a:cubicBezTo>
                <a:cubicBezTo>
                  <a:pt x="195984" y="140926"/>
                  <a:pt x="194180" y="139483"/>
                  <a:pt x="193820" y="137319"/>
                </a:cubicBezTo>
                <a:cubicBezTo>
                  <a:pt x="190212" y="112785"/>
                  <a:pt x="168925" y="94745"/>
                  <a:pt x="144030" y="94745"/>
                </a:cubicBezTo>
                <a:cubicBezTo>
                  <a:pt x="141865" y="94745"/>
                  <a:pt x="139700" y="92580"/>
                  <a:pt x="139700" y="90416"/>
                </a:cubicBezTo>
                <a:cubicBezTo>
                  <a:pt x="139700" y="87890"/>
                  <a:pt x="141865" y="85725"/>
                  <a:pt x="144030" y="85725"/>
                </a:cubicBezTo>
                <a:close/>
                <a:moveTo>
                  <a:pt x="144896" y="67388"/>
                </a:moveTo>
                <a:cubicBezTo>
                  <a:pt x="102358" y="67388"/>
                  <a:pt x="67390" y="102353"/>
                  <a:pt x="67390" y="144887"/>
                </a:cubicBezTo>
                <a:cubicBezTo>
                  <a:pt x="67390" y="165433"/>
                  <a:pt x="75681" y="184898"/>
                  <a:pt x="89741" y="199677"/>
                </a:cubicBezTo>
                <a:cubicBezTo>
                  <a:pt x="97672" y="207607"/>
                  <a:pt x="102718" y="217700"/>
                  <a:pt x="103800" y="228513"/>
                </a:cubicBezTo>
                <a:lnTo>
                  <a:pt x="123267" y="228513"/>
                </a:lnTo>
                <a:lnTo>
                  <a:pt x="123267" y="190305"/>
                </a:lnTo>
                <a:lnTo>
                  <a:pt x="114254" y="190305"/>
                </a:lnTo>
                <a:cubicBezTo>
                  <a:pt x="104881" y="190305"/>
                  <a:pt x="96590" y="182375"/>
                  <a:pt x="96590" y="172642"/>
                </a:cubicBezTo>
                <a:cubicBezTo>
                  <a:pt x="96590" y="163270"/>
                  <a:pt x="104881" y="155340"/>
                  <a:pt x="114254" y="155340"/>
                </a:cubicBezTo>
                <a:cubicBezTo>
                  <a:pt x="123988" y="155340"/>
                  <a:pt x="131918" y="163270"/>
                  <a:pt x="131918" y="172642"/>
                </a:cubicBezTo>
                <a:lnTo>
                  <a:pt x="131918" y="181654"/>
                </a:lnTo>
                <a:lnTo>
                  <a:pt x="158235" y="181654"/>
                </a:lnTo>
                <a:lnTo>
                  <a:pt x="158235" y="172642"/>
                </a:lnTo>
                <a:cubicBezTo>
                  <a:pt x="158235" y="163270"/>
                  <a:pt x="166165" y="155340"/>
                  <a:pt x="175538" y="155340"/>
                </a:cubicBezTo>
                <a:cubicBezTo>
                  <a:pt x="185272" y="155340"/>
                  <a:pt x="193202" y="163270"/>
                  <a:pt x="193202" y="172642"/>
                </a:cubicBezTo>
                <a:cubicBezTo>
                  <a:pt x="193202" y="182375"/>
                  <a:pt x="185272" y="190305"/>
                  <a:pt x="175538" y="190305"/>
                </a:cubicBezTo>
                <a:lnTo>
                  <a:pt x="166886" y="190305"/>
                </a:lnTo>
                <a:lnTo>
                  <a:pt x="166886" y="228513"/>
                </a:lnTo>
                <a:lnTo>
                  <a:pt x="187074" y="228513"/>
                </a:lnTo>
                <a:cubicBezTo>
                  <a:pt x="187795" y="217339"/>
                  <a:pt x="192842" y="207246"/>
                  <a:pt x="200412" y="199316"/>
                </a:cubicBezTo>
                <a:cubicBezTo>
                  <a:pt x="214832" y="184537"/>
                  <a:pt x="222402" y="165433"/>
                  <a:pt x="222402" y="144887"/>
                </a:cubicBezTo>
                <a:cubicBezTo>
                  <a:pt x="222402" y="102353"/>
                  <a:pt x="187795" y="67388"/>
                  <a:pt x="144896" y="67388"/>
                </a:cubicBezTo>
                <a:close/>
                <a:moveTo>
                  <a:pt x="144896" y="58737"/>
                </a:moveTo>
                <a:cubicBezTo>
                  <a:pt x="192481" y="58737"/>
                  <a:pt x="231415" y="97306"/>
                  <a:pt x="231415" y="144887"/>
                </a:cubicBezTo>
                <a:cubicBezTo>
                  <a:pt x="231415" y="167596"/>
                  <a:pt x="222763" y="189223"/>
                  <a:pt x="206901" y="205444"/>
                </a:cubicBezTo>
                <a:cubicBezTo>
                  <a:pt x="199331" y="213014"/>
                  <a:pt x="195365" y="223106"/>
                  <a:pt x="195365" y="233920"/>
                </a:cubicBezTo>
                <a:lnTo>
                  <a:pt x="195365" y="254827"/>
                </a:lnTo>
                <a:cubicBezTo>
                  <a:pt x="195365" y="259513"/>
                  <a:pt x="191400" y="263478"/>
                  <a:pt x="186353" y="263478"/>
                </a:cubicBezTo>
                <a:lnTo>
                  <a:pt x="182027" y="263478"/>
                </a:lnTo>
                <a:lnTo>
                  <a:pt x="182027" y="268164"/>
                </a:lnTo>
                <a:cubicBezTo>
                  <a:pt x="182027" y="280059"/>
                  <a:pt x="171933" y="290152"/>
                  <a:pt x="160037" y="290152"/>
                </a:cubicBezTo>
                <a:lnTo>
                  <a:pt x="130837" y="290152"/>
                </a:lnTo>
                <a:cubicBezTo>
                  <a:pt x="118580" y="290152"/>
                  <a:pt x="108847" y="280059"/>
                  <a:pt x="108847" y="268164"/>
                </a:cubicBezTo>
                <a:lnTo>
                  <a:pt x="108847" y="263478"/>
                </a:lnTo>
                <a:lnTo>
                  <a:pt x="104521" y="263478"/>
                </a:lnTo>
                <a:cubicBezTo>
                  <a:pt x="99474" y="263478"/>
                  <a:pt x="95509" y="259513"/>
                  <a:pt x="95509" y="254827"/>
                </a:cubicBezTo>
                <a:lnTo>
                  <a:pt x="95509" y="234641"/>
                </a:lnTo>
                <a:cubicBezTo>
                  <a:pt x="95509" y="223467"/>
                  <a:pt x="91543" y="213374"/>
                  <a:pt x="83973" y="205804"/>
                </a:cubicBezTo>
                <a:cubicBezTo>
                  <a:pt x="67751" y="189584"/>
                  <a:pt x="58738" y="167956"/>
                  <a:pt x="58738" y="144887"/>
                </a:cubicBezTo>
                <a:cubicBezTo>
                  <a:pt x="58738" y="97306"/>
                  <a:pt x="97672" y="58737"/>
                  <a:pt x="144896" y="58737"/>
                </a:cubicBezTo>
                <a:close/>
                <a:moveTo>
                  <a:pt x="234596" y="36726"/>
                </a:moveTo>
                <a:cubicBezTo>
                  <a:pt x="236774" y="38167"/>
                  <a:pt x="236774" y="40689"/>
                  <a:pt x="235322" y="42491"/>
                </a:cubicBezTo>
                <a:cubicBezTo>
                  <a:pt x="232417" y="45733"/>
                  <a:pt x="231328" y="49696"/>
                  <a:pt x="231328" y="53660"/>
                </a:cubicBezTo>
                <a:lnTo>
                  <a:pt x="231328" y="76718"/>
                </a:lnTo>
                <a:lnTo>
                  <a:pt x="281436" y="76718"/>
                </a:lnTo>
                <a:lnTo>
                  <a:pt x="281436" y="53660"/>
                </a:lnTo>
                <a:cubicBezTo>
                  <a:pt x="281436" y="49696"/>
                  <a:pt x="279983" y="45733"/>
                  <a:pt x="277442" y="42491"/>
                </a:cubicBezTo>
                <a:cubicBezTo>
                  <a:pt x="275626" y="40689"/>
                  <a:pt x="275989" y="38167"/>
                  <a:pt x="278168" y="36726"/>
                </a:cubicBezTo>
                <a:cubicBezTo>
                  <a:pt x="279983" y="34925"/>
                  <a:pt x="282525" y="35285"/>
                  <a:pt x="284341" y="37086"/>
                </a:cubicBezTo>
                <a:cubicBezTo>
                  <a:pt x="287972" y="41770"/>
                  <a:pt x="290150" y="47895"/>
                  <a:pt x="290150" y="53660"/>
                </a:cubicBezTo>
                <a:lnTo>
                  <a:pt x="290150" y="81042"/>
                </a:lnTo>
                <a:cubicBezTo>
                  <a:pt x="290150" y="83203"/>
                  <a:pt x="288335" y="85365"/>
                  <a:pt x="285793" y="85365"/>
                </a:cubicBezTo>
                <a:lnTo>
                  <a:pt x="226971" y="85365"/>
                </a:lnTo>
                <a:cubicBezTo>
                  <a:pt x="224429" y="85365"/>
                  <a:pt x="222250" y="83203"/>
                  <a:pt x="222250" y="81042"/>
                </a:cubicBezTo>
                <a:lnTo>
                  <a:pt x="222250" y="53660"/>
                </a:lnTo>
                <a:cubicBezTo>
                  <a:pt x="222250" y="47895"/>
                  <a:pt x="224429" y="41770"/>
                  <a:pt x="228423" y="37086"/>
                </a:cubicBezTo>
                <a:cubicBezTo>
                  <a:pt x="229875" y="35285"/>
                  <a:pt x="232780" y="34925"/>
                  <a:pt x="234596" y="36726"/>
                </a:cubicBezTo>
                <a:close/>
                <a:moveTo>
                  <a:pt x="11766" y="36726"/>
                </a:moveTo>
                <a:cubicBezTo>
                  <a:pt x="13905" y="38167"/>
                  <a:pt x="14262" y="40689"/>
                  <a:pt x="12479" y="42491"/>
                </a:cubicBezTo>
                <a:cubicBezTo>
                  <a:pt x="9983" y="45733"/>
                  <a:pt x="8557" y="49696"/>
                  <a:pt x="8557" y="53660"/>
                </a:cubicBezTo>
                <a:lnTo>
                  <a:pt x="8557" y="76718"/>
                </a:lnTo>
                <a:lnTo>
                  <a:pt x="57761" y="76718"/>
                </a:lnTo>
                <a:lnTo>
                  <a:pt x="57761" y="53660"/>
                </a:lnTo>
                <a:cubicBezTo>
                  <a:pt x="57761" y="49696"/>
                  <a:pt x="56335" y="45733"/>
                  <a:pt x="53839" y="42491"/>
                </a:cubicBezTo>
                <a:cubicBezTo>
                  <a:pt x="52413" y="40689"/>
                  <a:pt x="52413" y="38167"/>
                  <a:pt x="54552" y="36726"/>
                </a:cubicBezTo>
                <a:cubicBezTo>
                  <a:pt x="56335" y="34925"/>
                  <a:pt x="59188" y="35285"/>
                  <a:pt x="60614" y="37086"/>
                </a:cubicBezTo>
                <a:cubicBezTo>
                  <a:pt x="64179" y="41770"/>
                  <a:pt x="66319" y="47895"/>
                  <a:pt x="66319" y="53660"/>
                </a:cubicBezTo>
                <a:lnTo>
                  <a:pt x="66319" y="81042"/>
                </a:lnTo>
                <a:cubicBezTo>
                  <a:pt x="66319" y="83203"/>
                  <a:pt x="64536" y="85365"/>
                  <a:pt x="62040" y="85365"/>
                </a:cubicBezTo>
                <a:lnTo>
                  <a:pt x="4278" y="85365"/>
                </a:lnTo>
                <a:cubicBezTo>
                  <a:pt x="1783" y="85365"/>
                  <a:pt x="0" y="83203"/>
                  <a:pt x="0" y="81042"/>
                </a:cubicBezTo>
                <a:lnTo>
                  <a:pt x="0" y="53660"/>
                </a:lnTo>
                <a:cubicBezTo>
                  <a:pt x="0" y="47895"/>
                  <a:pt x="2139" y="41770"/>
                  <a:pt x="6061" y="37086"/>
                </a:cubicBezTo>
                <a:cubicBezTo>
                  <a:pt x="7487" y="35285"/>
                  <a:pt x="9983" y="34925"/>
                  <a:pt x="11766" y="36726"/>
                </a:cubicBezTo>
                <a:close/>
                <a:moveTo>
                  <a:pt x="255588" y="8902"/>
                </a:moveTo>
                <a:cubicBezTo>
                  <a:pt x="249837" y="8902"/>
                  <a:pt x="245165" y="13531"/>
                  <a:pt x="245165" y="18872"/>
                </a:cubicBezTo>
                <a:cubicBezTo>
                  <a:pt x="245165" y="24569"/>
                  <a:pt x="249837" y="29198"/>
                  <a:pt x="255588" y="29198"/>
                </a:cubicBezTo>
                <a:cubicBezTo>
                  <a:pt x="260980" y="29198"/>
                  <a:pt x="265652" y="24569"/>
                  <a:pt x="265652" y="18872"/>
                </a:cubicBezTo>
                <a:cubicBezTo>
                  <a:pt x="265652" y="13531"/>
                  <a:pt x="260980" y="8902"/>
                  <a:pt x="255588" y="8902"/>
                </a:cubicBezTo>
                <a:close/>
                <a:moveTo>
                  <a:pt x="32978" y="8902"/>
                </a:moveTo>
                <a:cubicBezTo>
                  <a:pt x="27587" y="8902"/>
                  <a:pt x="22914" y="13531"/>
                  <a:pt x="22914" y="18872"/>
                </a:cubicBezTo>
                <a:cubicBezTo>
                  <a:pt x="22914" y="24569"/>
                  <a:pt x="27587" y="29198"/>
                  <a:pt x="32978" y="29198"/>
                </a:cubicBezTo>
                <a:cubicBezTo>
                  <a:pt x="38729" y="29198"/>
                  <a:pt x="43402" y="24569"/>
                  <a:pt x="43402" y="18872"/>
                </a:cubicBezTo>
                <a:cubicBezTo>
                  <a:pt x="43402" y="13531"/>
                  <a:pt x="38729" y="8902"/>
                  <a:pt x="32978" y="8902"/>
                </a:cubicBezTo>
                <a:close/>
                <a:moveTo>
                  <a:pt x="133521" y="6815"/>
                </a:moveTo>
                <a:cubicBezTo>
                  <a:pt x="154896" y="5078"/>
                  <a:pt x="176676" y="8197"/>
                  <a:pt x="197102" y="16393"/>
                </a:cubicBezTo>
                <a:lnTo>
                  <a:pt x="201078" y="8553"/>
                </a:lnTo>
                <a:lnTo>
                  <a:pt x="215539" y="30292"/>
                </a:lnTo>
                <a:lnTo>
                  <a:pt x="189149" y="31717"/>
                </a:lnTo>
                <a:lnTo>
                  <a:pt x="193487" y="23877"/>
                </a:lnTo>
                <a:cubicBezTo>
                  <a:pt x="155167" y="9266"/>
                  <a:pt x="112147" y="12829"/>
                  <a:pt x="77080" y="33856"/>
                </a:cubicBezTo>
                <a:cubicBezTo>
                  <a:pt x="76357" y="34212"/>
                  <a:pt x="75634" y="34568"/>
                  <a:pt x="74911" y="34568"/>
                </a:cubicBezTo>
                <a:cubicBezTo>
                  <a:pt x="73465" y="34568"/>
                  <a:pt x="72019" y="33856"/>
                  <a:pt x="70935" y="32430"/>
                </a:cubicBezTo>
                <a:cubicBezTo>
                  <a:pt x="69850" y="30292"/>
                  <a:pt x="70212" y="27441"/>
                  <a:pt x="72381" y="26372"/>
                </a:cubicBezTo>
                <a:cubicBezTo>
                  <a:pt x="91179" y="15146"/>
                  <a:pt x="112147" y="8553"/>
                  <a:pt x="133521" y="6815"/>
                </a:cubicBezTo>
                <a:close/>
                <a:moveTo>
                  <a:pt x="255588" y="0"/>
                </a:moveTo>
                <a:cubicBezTo>
                  <a:pt x="266012" y="0"/>
                  <a:pt x="274279" y="8546"/>
                  <a:pt x="274279" y="18872"/>
                </a:cubicBezTo>
                <a:cubicBezTo>
                  <a:pt x="274279" y="29198"/>
                  <a:pt x="266012" y="37744"/>
                  <a:pt x="255588" y="37744"/>
                </a:cubicBezTo>
                <a:cubicBezTo>
                  <a:pt x="245165" y="37744"/>
                  <a:pt x="236538" y="29198"/>
                  <a:pt x="236538" y="18872"/>
                </a:cubicBezTo>
                <a:cubicBezTo>
                  <a:pt x="236538" y="8546"/>
                  <a:pt x="245165" y="0"/>
                  <a:pt x="255588" y="0"/>
                </a:cubicBezTo>
                <a:close/>
                <a:moveTo>
                  <a:pt x="32978" y="0"/>
                </a:moveTo>
                <a:cubicBezTo>
                  <a:pt x="43402" y="0"/>
                  <a:pt x="52028" y="8546"/>
                  <a:pt x="52028" y="18872"/>
                </a:cubicBezTo>
                <a:cubicBezTo>
                  <a:pt x="52028" y="29198"/>
                  <a:pt x="43402" y="37744"/>
                  <a:pt x="32978" y="37744"/>
                </a:cubicBezTo>
                <a:cubicBezTo>
                  <a:pt x="22555" y="37744"/>
                  <a:pt x="14288" y="29198"/>
                  <a:pt x="14288" y="18872"/>
                </a:cubicBezTo>
                <a:cubicBezTo>
                  <a:pt x="14288" y="8546"/>
                  <a:pt x="22555" y="0"/>
                  <a:pt x="32978" y="0"/>
                </a:cubicBezTo>
                <a:close/>
              </a:path>
            </a:pathLst>
          </a:custGeom>
          <a:solidFill>
            <a:schemeClr val="tx2"/>
          </a:solidFill>
          <a:ln>
            <a:noFill/>
          </a:ln>
          <a:effectLst/>
        </p:spPr>
        <p:txBody>
          <a:bodyPr anchor="ctr"/>
          <a:lstStyle/>
          <a:p>
            <a:endParaRPr lang="en-US" sz="900">
              <a:latin typeface="+mj-lt"/>
            </a:endParaRPr>
          </a:p>
        </p:txBody>
      </p:sp>
      <p:sp>
        <p:nvSpPr>
          <p:cNvPr id="64" name="Freeform 1031">
            <a:extLst>
              <a:ext uri="{FF2B5EF4-FFF2-40B4-BE49-F238E27FC236}">
                <a16:creationId xmlns:a16="http://schemas.microsoft.com/office/drawing/2014/main" id="{AB83B7C8-1E6A-3308-660A-6BC89ED5C030}"/>
              </a:ext>
            </a:extLst>
          </p:cNvPr>
          <p:cNvSpPr>
            <a:spLocks noChangeAspect="1" noChangeArrowheads="1"/>
          </p:cNvSpPr>
          <p:nvPr userDrawn="1"/>
        </p:nvSpPr>
        <p:spPr bwMode="auto">
          <a:xfrm>
            <a:off x="1579545" y="2513822"/>
            <a:ext cx="366916" cy="367464"/>
          </a:xfrm>
          <a:custGeom>
            <a:avLst/>
            <a:gdLst>
              <a:gd name="T0" fmla="*/ 68774937 w 293328"/>
              <a:gd name="T1" fmla="*/ 119643747 h 293328"/>
              <a:gd name="T2" fmla="*/ 77985361 w 293328"/>
              <a:gd name="T3" fmla="*/ 119643747 h 293328"/>
              <a:gd name="T4" fmla="*/ 79828350 w 293328"/>
              <a:gd name="T5" fmla="*/ 88042880 h 293328"/>
              <a:gd name="T6" fmla="*/ 81670393 w 293328"/>
              <a:gd name="T7" fmla="*/ 119643747 h 293328"/>
              <a:gd name="T8" fmla="*/ 90880933 w 293328"/>
              <a:gd name="T9" fmla="*/ 119643747 h 293328"/>
              <a:gd name="T10" fmla="*/ 68774937 w 293328"/>
              <a:gd name="T11" fmla="*/ 83169438 h 293328"/>
              <a:gd name="T12" fmla="*/ 81769808 w 293328"/>
              <a:gd name="T13" fmla="*/ 72036662 h 293328"/>
              <a:gd name="T14" fmla="*/ 77869883 w 293328"/>
              <a:gd name="T15" fmla="*/ 72036662 h 293328"/>
              <a:gd name="T16" fmla="*/ 79820244 w 293328"/>
              <a:gd name="T17" fmla="*/ 61024530 h 293328"/>
              <a:gd name="T18" fmla="*/ 79820244 w 293328"/>
              <a:gd name="T19" fmla="*/ 65025693 h 293328"/>
              <a:gd name="T20" fmla="*/ 79820244 w 293328"/>
              <a:gd name="T21" fmla="*/ 61024530 h 293328"/>
              <a:gd name="T22" fmla="*/ 81769808 w 293328"/>
              <a:gd name="T23" fmla="*/ 53313538 h 293328"/>
              <a:gd name="T24" fmla="*/ 77869883 w 293328"/>
              <a:gd name="T25" fmla="*/ 53313538 h 293328"/>
              <a:gd name="T26" fmla="*/ 41142411 w 293328"/>
              <a:gd name="T27" fmla="*/ 25155529 h 293328"/>
              <a:gd name="T28" fmla="*/ 65551253 w 293328"/>
              <a:gd name="T29" fmla="*/ 55026678 h 293328"/>
              <a:gd name="T30" fmla="*/ 68774937 w 293328"/>
              <a:gd name="T31" fmla="*/ 79238482 h 293328"/>
              <a:gd name="T32" fmla="*/ 90880933 w 293328"/>
              <a:gd name="T33" fmla="*/ 56284742 h 293328"/>
              <a:gd name="T34" fmla="*/ 94719662 w 293328"/>
              <a:gd name="T35" fmla="*/ 56284742 h 293328"/>
              <a:gd name="T36" fmla="*/ 97943104 w 293328"/>
              <a:gd name="T37" fmla="*/ 84898726 h 293328"/>
              <a:gd name="T38" fmla="*/ 101166843 w 293328"/>
              <a:gd name="T39" fmla="*/ 54555247 h 293328"/>
              <a:gd name="T40" fmla="*/ 71077972 w 293328"/>
              <a:gd name="T41" fmla="*/ 46065160 h 293328"/>
              <a:gd name="T42" fmla="*/ 45594413 w 293328"/>
              <a:gd name="T43" fmla="*/ 25155529 h 293328"/>
              <a:gd name="T44" fmla="*/ 79900704 w 293328"/>
              <a:gd name="T45" fmla="*/ 19856664 h 293328"/>
              <a:gd name="T46" fmla="*/ 79900704 w 293328"/>
              <a:gd name="T47" fmla="*/ 34077248 h 293328"/>
              <a:gd name="T48" fmla="*/ 79900704 w 293328"/>
              <a:gd name="T49" fmla="*/ 19856664 h 293328"/>
              <a:gd name="T50" fmla="*/ 90582629 w 293328"/>
              <a:gd name="T51" fmla="*/ 26889373 h 293328"/>
              <a:gd name="T52" fmla="*/ 69066944 w 293328"/>
              <a:gd name="T53" fmla="*/ 26889373 h 293328"/>
              <a:gd name="T54" fmla="*/ 1841582 w 293328"/>
              <a:gd name="T55" fmla="*/ 0 h 293328"/>
              <a:gd name="T56" fmla="*/ 125114871 w 293328"/>
              <a:gd name="T57" fmla="*/ 2044476 h 293328"/>
              <a:gd name="T58" fmla="*/ 117592766 w 293328"/>
              <a:gd name="T59" fmla="*/ 3930422 h 293328"/>
              <a:gd name="T60" fmla="*/ 115597421 w 293328"/>
              <a:gd name="T61" fmla="*/ 73735681 h 293328"/>
              <a:gd name="T62" fmla="*/ 105004974 w 293328"/>
              <a:gd name="T63" fmla="*/ 81754117 h 293328"/>
              <a:gd name="T64" fmla="*/ 94719662 w 293328"/>
              <a:gd name="T65" fmla="*/ 88042880 h 293328"/>
              <a:gd name="T66" fmla="*/ 86275502 w 293328"/>
              <a:gd name="T67" fmla="*/ 128133161 h 293328"/>
              <a:gd name="T68" fmla="*/ 73380249 w 293328"/>
              <a:gd name="T69" fmla="*/ 128133161 h 293328"/>
              <a:gd name="T70" fmla="*/ 64937487 w 293328"/>
              <a:gd name="T71" fmla="*/ 62730148 h 293328"/>
              <a:gd name="T72" fmla="*/ 38379011 w 293328"/>
              <a:gd name="T73" fmla="*/ 32544374 h 293328"/>
              <a:gd name="T74" fmla="*/ 48357047 w 293328"/>
              <a:gd name="T75" fmla="*/ 22325141 h 293328"/>
              <a:gd name="T76" fmla="*/ 71077972 w 293328"/>
              <a:gd name="T77" fmla="*/ 42134862 h 293328"/>
              <a:gd name="T78" fmla="*/ 105004974 w 293328"/>
              <a:gd name="T79" fmla="*/ 54555247 h 293328"/>
              <a:gd name="T80" fmla="*/ 113755352 w 293328"/>
              <a:gd name="T81" fmla="*/ 69962757 h 293328"/>
              <a:gd name="T82" fmla="*/ 11360453 w 293328"/>
              <a:gd name="T83" fmla="*/ 3930422 h 293328"/>
              <a:gd name="T84" fmla="*/ 59103376 w 293328"/>
              <a:gd name="T85" fmla="*/ 69962757 h 293328"/>
              <a:gd name="T86" fmla="*/ 59103376 w 293328"/>
              <a:gd name="T87" fmla="*/ 73735681 h 293328"/>
              <a:gd name="T88" fmla="*/ 7522971 w 293328"/>
              <a:gd name="T89" fmla="*/ 71849273 h 293328"/>
              <a:gd name="T90" fmla="*/ 1841582 w 293328"/>
              <a:gd name="T91" fmla="*/ 3930422 h 293328"/>
              <a:gd name="T92" fmla="*/ 1841582 w 293328"/>
              <a:gd name="T93" fmla="*/ 0 h 2933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93328" h="293328">
                <a:moveTo>
                  <a:pt x="161240" y="190394"/>
                </a:moveTo>
                <a:lnTo>
                  <a:pt x="161240" y="273893"/>
                </a:lnTo>
                <a:cubicBezTo>
                  <a:pt x="161240" y="279652"/>
                  <a:pt x="165919" y="284690"/>
                  <a:pt x="172038" y="284690"/>
                </a:cubicBezTo>
                <a:cubicBezTo>
                  <a:pt x="177796" y="284690"/>
                  <a:pt x="182835" y="279652"/>
                  <a:pt x="182835" y="273893"/>
                </a:cubicBezTo>
                <a:lnTo>
                  <a:pt x="182835" y="205870"/>
                </a:lnTo>
                <a:cubicBezTo>
                  <a:pt x="182835" y="203350"/>
                  <a:pt x="184635" y="201551"/>
                  <a:pt x="187154" y="201551"/>
                </a:cubicBezTo>
                <a:cubicBezTo>
                  <a:pt x="189674" y="201551"/>
                  <a:pt x="191473" y="203350"/>
                  <a:pt x="191473" y="205870"/>
                </a:cubicBezTo>
                <a:lnTo>
                  <a:pt x="191473" y="273893"/>
                </a:lnTo>
                <a:cubicBezTo>
                  <a:pt x="191473" y="279652"/>
                  <a:pt x="196512" y="284690"/>
                  <a:pt x="202270" y="284690"/>
                </a:cubicBezTo>
                <a:cubicBezTo>
                  <a:pt x="208389" y="284690"/>
                  <a:pt x="213068" y="279652"/>
                  <a:pt x="213068" y="273893"/>
                </a:cubicBezTo>
                <a:lnTo>
                  <a:pt x="213068" y="190394"/>
                </a:lnTo>
                <a:lnTo>
                  <a:pt x="161240" y="190394"/>
                </a:lnTo>
                <a:close/>
                <a:moveTo>
                  <a:pt x="187135" y="160338"/>
                </a:moveTo>
                <a:cubicBezTo>
                  <a:pt x="189802" y="160338"/>
                  <a:pt x="191707" y="162624"/>
                  <a:pt x="191707" y="164910"/>
                </a:cubicBezTo>
                <a:cubicBezTo>
                  <a:pt x="191707" y="167577"/>
                  <a:pt x="189802" y="169482"/>
                  <a:pt x="187135" y="169482"/>
                </a:cubicBezTo>
                <a:cubicBezTo>
                  <a:pt x="184468" y="169482"/>
                  <a:pt x="182563" y="167577"/>
                  <a:pt x="182563" y="164910"/>
                </a:cubicBezTo>
                <a:cubicBezTo>
                  <a:pt x="182563" y="162243"/>
                  <a:pt x="184468" y="160338"/>
                  <a:pt x="187135" y="160338"/>
                </a:cubicBezTo>
                <a:close/>
                <a:moveTo>
                  <a:pt x="187135" y="139700"/>
                </a:moveTo>
                <a:cubicBezTo>
                  <a:pt x="189802" y="139700"/>
                  <a:pt x="191707" y="141532"/>
                  <a:pt x="191707" y="144096"/>
                </a:cubicBezTo>
                <a:cubicBezTo>
                  <a:pt x="191707" y="146661"/>
                  <a:pt x="189802" y="148859"/>
                  <a:pt x="187135" y="148859"/>
                </a:cubicBezTo>
                <a:cubicBezTo>
                  <a:pt x="184468" y="148859"/>
                  <a:pt x="182563" y="146661"/>
                  <a:pt x="182563" y="144096"/>
                </a:cubicBezTo>
                <a:cubicBezTo>
                  <a:pt x="182563" y="141532"/>
                  <a:pt x="184468" y="139700"/>
                  <a:pt x="187135" y="139700"/>
                </a:cubicBezTo>
                <a:close/>
                <a:moveTo>
                  <a:pt x="187135" y="117475"/>
                </a:moveTo>
                <a:cubicBezTo>
                  <a:pt x="189802" y="117475"/>
                  <a:pt x="191707" y="119761"/>
                  <a:pt x="191707" y="122047"/>
                </a:cubicBezTo>
                <a:cubicBezTo>
                  <a:pt x="191707" y="124714"/>
                  <a:pt x="189802" y="126619"/>
                  <a:pt x="187135" y="126619"/>
                </a:cubicBezTo>
                <a:cubicBezTo>
                  <a:pt x="184468" y="126619"/>
                  <a:pt x="182563" y="124714"/>
                  <a:pt x="182563" y="122047"/>
                </a:cubicBezTo>
                <a:cubicBezTo>
                  <a:pt x="182563" y="119761"/>
                  <a:pt x="184468" y="117475"/>
                  <a:pt x="187135" y="117475"/>
                </a:cubicBezTo>
                <a:close/>
                <a:moveTo>
                  <a:pt x="96456" y="57586"/>
                </a:moveTo>
                <a:cubicBezTo>
                  <a:pt x="93577" y="60465"/>
                  <a:pt x="93577" y="65144"/>
                  <a:pt x="96456" y="68023"/>
                </a:cubicBezTo>
                <a:lnTo>
                  <a:pt x="153682" y="125969"/>
                </a:lnTo>
                <a:cubicBezTo>
                  <a:pt x="158361" y="130648"/>
                  <a:pt x="161240" y="136767"/>
                  <a:pt x="161240" y="143605"/>
                </a:cubicBezTo>
                <a:lnTo>
                  <a:pt x="161240" y="181396"/>
                </a:lnTo>
                <a:lnTo>
                  <a:pt x="213068" y="181396"/>
                </a:lnTo>
                <a:lnTo>
                  <a:pt x="213068" y="128849"/>
                </a:lnTo>
                <a:cubicBezTo>
                  <a:pt x="213068" y="126329"/>
                  <a:pt x="215227" y="124530"/>
                  <a:pt x="217387" y="124530"/>
                </a:cubicBezTo>
                <a:cubicBezTo>
                  <a:pt x="219906" y="124530"/>
                  <a:pt x="222066" y="126329"/>
                  <a:pt x="222066" y="128849"/>
                </a:cubicBezTo>
                <a:lnTo>
                  <a:pt x="222066" y="187154"/>
                </a:lnTo>
                <a:cubicBezTo>
                  <a:pt x="222066" y="191113"/>
                  <a:pt x="225305" y="194353"/>
                  <a:pt x="229624" y="194353"/>
                </a:cubicBezTo>
                <a:cubicBezTo>
                  <a:pt x="233943" y="194353"/>
                  <a:pt x="237182" y="191113"/>
                  <a:pt x="237182" y="187154"/>
                </a:cubicBezTo>
                <a:lnTo>
                  <a:pt x="237182" y="124890"/>
                </a:lnTo>
                <a:cubicBezTo>
                  <a:pt x="237182" y="114092"/>
                  <a:pt x="228184" y="105454"/>
                  <a:pt x="217387" y="105454"/>
                </a:cubicBezTo>
                <a:lnTo>
                  <a:pt x="166639" y="105454"/>
                </a:lnTo>
                <a:cubicBezTo>
                  <a:pt x="159081" y="105454"/>
                  <a:pt x="151883" y="102575"/>
                  <a:pt x="146124" y="96816"/>
                </a:cubicBezTo>
                <a:lnTo>
                  <a:pt x="106894" y="57586"/>
                </a:lnTo>
                <a:cubicBezTo>
                  <a:pt x="104014" y="54706"/>
                  <a:pt x="98976" y="54706"/>
                  <a:pt x="96456" y="57586"/>
                </a:cubicBezTo>
                <a:close/>
                <a:moveTo>
                  <a:pt x="187325" y="45456"/>
                </a:moveTo>
                <a:cubicBezTo>
                  <a:pt x="178381" y="45456"/>
                  <a:pt x="170869" y="52611"/>
                  <a:pt x="170869" y="61555"/>
                </a:cubicBezTo>
                <a:cubicBezTo>
                  <a:pt x="170869" y="70856"/>
                  <a:pt x="178381" y="78011"/>
                  <a:pt x="187325" y="78011"/>
                </a:cubicBezTo>
                <a:cubicBezTo>
                  <a:pt x="196269" y="78011"/>
                  <a:pt x="203781" y="70856"/>
                  <a:pt x="203781" y="61555"/>
                </a:cubicBezTo>
                <a:cubicBezTo>
                  <a:pt x="203781" y="52611"/>
                  <a:pt x="196269" y="45456"/>
                  <a:pt x="187325" y="45456"/>
                </a:cubicBezTo>
                <a:close/>
                <a:moveTo>
                  <a:pt x="187325" y="36513"/>
                </a:moveTo>
                <a:cubicBezTo>
                  <a:pt x="201277" y="36513"/>
                  <a:pt x="212367" y="47961"/>
                  <a:pt x="212367" y="61555"/>
                </a:cubicBezTo>
                <a:cubicBezTo>
                  <a:pt x="212367" y="75507"/>
                  <a:pt x="201277" y="86955"/>
                  <a:pt x="187325" y="86955"/>
                </a:cubicBezTo>
                <a:cubicBezTo>
                  <a:pt x="173373" y="86955"/>
                  <a:pt x="161925" y="75507"/>
                  <a:pt x="161925" y="61555"/>
                </a:cubicBezTo>
                <a:cubicBezTo>
                  <a:pt x="161925" y="47961"/>
                  <a:pt x="173373" y="36513"/>
                  <a:pt x="187325" y="36513"/>
                </a:cubicBezTo>
                <a:close/>
                <a:moveTo>
                  <a:pt x="4319" y="0"/>
                </a:moveTo>
                <a:lnTo>
                  <a:pt x="289009" y="0"/>
                </a:lnTo>
                <a:cubicBezTo>
                  <a:pt x="291529" y="0"/>
                  <a:pt x="293328" y="1799"/>
                  <a:pt x="293328" y="4679"/>
                </a:cubicBezTo>
                <a:cubicBezTo>
                  <a:pt x="293328" y="6838"/>
                  <a:pt x="291529" y="8998"/>
                  <a:pt x="289009" y="8998"/>
                </a:cubicBezTo>
                <a:lnTo>
                  <a:pt x="275692" y="8998"/>
                </a:lnTo>
                <a:lnTo>
                  <a:pt x="275692" y="164480"/>
                </a:lnTo>
                <a:cubicBezTo>
                  <a:pt x="275692" y="166999"/>
                  <a:pt x="273893" y="168799"/>
                  <a:pt x="271014" y="168799"/>
                </a:cubicBezTo>
                <a:lnTo>
                  <a:pt x="246180" y="168799"/>
                </a:lnTo>
                <a:lnTo>
                  <a:pt x="246180" y="187154"/>
                </a:lnTo>
                <a:cubicBezTo>
                  <a:pt x="246180" y="196152"/>
                  <a:pt x="238622" y="203710"/>
                  <a:pt x="229624" y="203710"/>
                </a:cubicBezTo>
                <a:cubicBezTo>
                  <a:pt x="226744" y="203710"/>
                  <a:pt x="224225" y="202631"/>
                  <a:pt x="222066" y="201551"/>
                </a:cubicBezTo>
                <a:lnTo>
                  <a:pt x="222066" y="273893"/>
                </a:lnTo>
                <a:cubicBezTo>
                  <a:pt x="222066" y="284690"/>
                  <a:pt x="213068" y="293328"/>
                  <a:pt x="202270" y="293328"/>
                </a:cubicBezTo>
                <a:cubicBezTo>
                  <a:pt x="196152" y="293328"/>
                  <a:pt x="190753" y="290449"/>
                  <a:pt x="187154" y="286130"/>
                </a:cubicBezTo>
                <a:cubicBezTo>
                  <a:pt x="183555" y="290449"/>
                  <a:pt x="178156" y="293328"/>
                  <a:pt x="172038" y="293328"/>
                </a:cubicBezTo>
                <a:cubicBezTo>
                  <a:pt x="161240" y="293328"/>
                  <a:pt x="152243" y="284690"/>
                  <a:pt x="152243" y="273893"/>
                </a:cubicBezTo>
                <a:lnTo>
                  <a:pt x="152243" y="143605"/>
                </a:lnTo>
                <a:cubicBezTo>
                  <a:pt x="152243" y="139286"/>
                  <a:pt x="150443" y="135327"/>
                  <a:pt x="147204" y="132088"/>
                </a:cubicBezTo>
                <a:lnTo>
                  <a:pt x="89978" y="74501"/>
                </a:lnTo>
                <a:cubicBezTo>
                  <a:pt x="83859" y="68023"/>
                  <a:pt x="83859" y="57586"/>
                  <a:pt x="89978" y="51107"/>
                </a:cubicBezTo>
                <a:cubicBezTo>
                  <a:pt x="96456" y="44989"/>
                  <a:pt x="106894" y="44989"/>
                  <a:pt x="113372" y="51107"/>
                </a:cubicBezTo>
                <a:lnTo>
                  <a:pt x="152603" y="90698"/>
                </a:lnTo>
                <a:cubicBezTo>
                  <a:pt x="156562" y="94297"/>
                  <a:pt x="161600" y="96456"/>
                  <a:pt x="166639" y="96456"/>
                </a:cubicBezTo>
                <a:lnTo>
                  <a:pt x="217387" y="96456"/>
                </a:lnTo>
                <a:cubicBezTo>
                  <a:pt x="233223" y="96456"/>
                  <a:pt x="246180" y="109053"/>
                  <a:pt x="246180" y="124890"/>
                </a:cubicBezTo>
                <a:lnTo>
                  <a:pt x="246180" y="160161"/>
                </a:lnTo>
                <a:lnTo>
                  <a:pt x="266695" y="160161"/>
                </a:lnTo>
                <a:lnTo>
                  <a:pt x="266695" y="8998"/>
                </a:lnTo>
                <a:lnTo>
                  <a:pt x="26633" y="8998"/>
                </a:lnTo>
                <a:lnTo>
                  <a:pt x="26633" y="160161"/>
                </a:lnTo>
                <a:lnTo>
                  <a:pt x="138566" y="160161"/>
                </a:lnTo>
                <a:cubicBezTo>
                  <a:pt x="141085" y="160161"/>
                  <a:pt x="143245" y="161961"/>
                  <a:pt x="143245" y="164480"/>
                </a:cubicBezTo>
                <a:cubicBezTo>
                  <a:pt x="143245" y="166999"/>
                  <a:pt x="141085" y="168799"/>
                  <a:pt x="138566" y="168799"/>
                </a:cubicBezTo>
                <a:lnTo>
                  <a:pt x="22314" y="168799"/>
                </a:lnTo>
                <a:cubicBezTo>
                  <a:pt x="19795" y="168799"/>
                  <a:pt x="17636" y="166999"/>
                  <a:pt x="17636" y="164480"/>
                </a:cubicBezTo>
                <a:lnTo>
                  <a:pt x="17636" y="8998"/>
                </a:lnTo>
                <a:lnTo>
                  <a:pt x="4319" y="8998"/>
                </a:lnTo>
                <a:cubicBezTo>
                  <a:pt x="1799" y="8998"/>
                  <a:pt x="0" y="6838"/>
                  <a:pt x="0" y="4679"/>
                </a:cubicBezTo>
                <a:cubicBezTo>
                  <a:pt x="0" y="1799"/>
                  <a:pt x="1799" y="0"/>
                  <a:pt x="4319" y="0"/>
                </a:cubicBezTo>
                <a:close/>
              </a:path>
            </a:pathLst>
          </a:custGeom>
          <a:solidFill>
            <a:schemeClr val="tx2"/>
          </a:solidFill>
          <a:ln>
            <a:noFill/>
          </a:ln>
          <a:effectLst/>
        </p:spPr>
        <p:txBody>
          <a:bodyPr anchor="ctr"/>
          <a:lstStyle/>
          <a:p>
            <a:endParaRPr lang="en-US" sz="900">
              <a:latin typeface="+mj-lt"/>
            </a:endParaRPr>
          </a:p>
        </p:txBody>
      </p:sp>
      <p:sp>
        <p:nvSpPr>
          <p:cNvPr id="65" name="Title 1">
            <a:extLst>
              <a:ext uri="{FF2B5EF4-FFF2-40B4-BE49-F238E27FC236}">
                <a16:creationId xmlns:a16="http://schemas.microsoft.com/office/drawing/2014/main" id="{DF18D04E-1686-5000-9A85-E635818190A6}"/>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
        <p:nvSpPr>
          <p:cNvPr id="66" name="Text Placeholder 2">
            <a:extLst>
              <a:ext uri="{FF2B5EF4-FFF2-40B4-BE49-F238E27FC236}">
                <a16:creationId xmlns:a16="http://schemas.microsoft.com/office/drawing/2014/main" id="{6CA7E9D7-0D57-2AA4-47AE-68C6F8F5CE18}"/>
              </a:ext>
            </a:extLst>
          </p:cNvPr>
          <p:cNvSpPr>
            <a:spLocks noGrp="1"/>
          </p:cNvSpPr>
          <p:nvPr>
            <p:ph type="body" idx="61" hasCustomPrompt="1"/>
          </p:nvPr>
        </p:nvSpPr>
        <p:spPr>
          <a:xfrm>
            <a:off x="922998" y="5121460"/>
            <a:ext cx="1636060" cy="1107746"/>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67" name="Text Placeholder 2">
            <a:extLst>
              <a:ext uri="{FF2B5EF4-FFF2-40B4-BE49-F238E27FC236}">
                <a16:creationId xmlns:a16="http://schemas.microsoft.com/office/drawing/2014/main" id="{A5F522D7-13F0-6DEA-B010-A44DCBB1A2B5}"/>
              </a:ext>
            </a:extLst>
          </p:cNvPr>
          <p:cNvSpPr>
            <a:spLocks noGrp="1"/>
          </p:cNvSpPr>
          <p:nvPr>
            <p:ph type="body" idx="62" hasCustomPrompt="1"/>
          </p:nvPr>
        </p:nvSpPr>
        <p:spPr>
          <a:xfrm>
            <a:off x="3094304" y="5121460"/>
            <a:ext cx="1636060" cy="1107746"/>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68" name="Text Placeholder 2">
            <a:extLst>
              <a:ext uri="{FF2B5EF4-FFF2-40B4-BE49-F238E27FC236}">
                <a16:creationId xmlns:a16="http://schemas.microsoft.com/office/drawing/2014/main" id="{71A2125B-9454-128F-D603-435BF2036744}"/>
              </a:ext>
            </a:extLst>
          </p:cNvPr>
          <p:cNvSpPr>
            <a:spLocks noGrp="1"/>
          </p:cNvSpPr>
          <p:nvPr>
            <p:ph type="body" idx="63" hasCustomPrompt="1"/>
          </p:nvPr>
        </p:nvSpPr>
        <p:spPr>
          <a:xfrm>
            <a:off x="5265610" y="5121460"/>
            <a:ext cx="1636060" cy="1107746"/>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69" name="Text Placeholder 2">
            <a:extLst>
              <a:ext uri="{FF2B5EF4-FFF2-40B4-BE49-F238E27FC236}">
                <a16:creationId xmlns:a16="http://schemas.microsoft.com/office/drawing/2014/main" id="{A46A98D4-9C15-3B5C-0EC7-FBACEDB8B16B}"/>
              </a:ext>
            </a:extLst>
          </p:cNvPr>
          <p:cNvSpPr>
            <a:spLocks noGrp="1"/>
          </p:cNvSpPr>
          <p:nvPr>
            <p:ph type="body" idx="64" hasCustomPrompt="1"/>
          </p:nvPr>
        </p:nvSpPr>
        <p:spPr>
          <a:xfrm>
            <a:off x="7436916" y="5121460"/>
            <a:ext cx="1636060" cy="1107746"/>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70" name="Text Placeholder 2">
            <a:extLst>
              <a:ext uri="{FF2B5EF4-FFF2-40B4-BE49-F238E27FC236}">
                <a16:creationId xmlns:a16="http://schemas.microsoft.com/office/drawing/2014/main" id="{CFBE45C6-AAF1-70FD-1CF5-829C04B5EDF9}"/>
              </a:ext>
            </a:extLst>
          </p:cNvPr>
          <p:cNvSpPr>
            <a:spLocks noGrp="1"/>
          </p:cNvSpPr>
          <p:nvPr>
            <p:ph type="body" idx="65" hasCustomPrompt="1"/>
          </p:nvPr>
        </p:nvSpPr>
        <p:spPr>
          <a:xfrm>
            <a:off x="9608222" y="5121460"/>
            <a:ext cx="1636060" cy="1107746"/>
          </a:xfrm>
        </p:spPr>
        <p:txBody>
          <a:bodyP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76" name="Text Placeholder 35">
            <a:extLst>
              <a:ext uri="{FF2B5EF4-FFF2-40B4-BE49-F238E27FC236}">
                <a16:creationId xmlns:a16="http://schemas.microsoft.com/office/drawing/2014/main" id="{10A976BA-C691-C89E-7063-BACD2EBA85A8}"/>
              </a:ext>
            </a:extLst>
          </p:cNvPr>
          <p:cNvSpPr>
            <a:spLocks noGrp="1"/>
          </p:cNvSpPr>
          <p:nvPr>
            <p:ph type="body" sz="quarter" idx="56" hasCustomPrompt="1"/>
          </p:nvPr>
        </p:nvSpPr>
        <p:spPr>
          <a:xfrm>
            <a:off x="1157744" y="1672559"/>
            <a:ext cx="1254128" cy="331694"/>
          </a:xfrm>
        </p:spPr>
        <p:txBody>
          <a:bodyPr anchor="b">
            <a:noAutofit/>
          </a:bodyPr>
          <a:lstStyle>
            <a:lvl1pPr marL="0" indent="0" algn="ctr">
              <a:buNone/>
              <a:defRPr sz="18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YEAR</a:t>
            </a:r>
          </a:p>
        </p:txBody>
      </p:sp>
      <p:sp>
        <p:nvSpPr>
          <p:cNvPr id="77" name="Text Placeholder 35">
            <a:extLst>
              <a:ext uri="{FF2B5EF4-FFF2-40B4-BE49-F238E27FC236}">
                <a16:creationId xmlns:a16="http://schemas.microsoft.com/office/drawing/2014/main" id="{EC6CEB5C-4B30-3A44-C610-D036C2A9D4A2}"/>
              </a:ext>
            </a:extLst>
          </p:cNvPr>
          <p:cNvSpPr>
            <a:spLocks noGrp="1"/>
          </p:cNvSpPr>
          <p:nvPr>
            <p:ph type="body" sz="quarter" idx="57" hasCustomPrompt="1"/>
          </p:nvPr>
        </p:nvSpPr>
        <p:spPr>
          <a:xfrm>
            <a:off x="3316970" y="2747665"/>
            <a:ext cx="1254128" cy="331694"/>
          </a:xfrm>
        </p:spPr>
        <p:txBody>
          <a:bodyPr anchor="b">
            <a:noAutofit/>
          </a:bodyPr>
          <a:lstStyle>
            <a:lvl1pPr marL="0" indent="0" algn="ctr">
              <a:buNone/>
              <a:defRPr sz="18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YEAR</a:t>
            </a:r>
          </a:p>
        </p:txBody>
      </p:sp>
      <p:sp>
        <p:nvSpPr>
          <p:cNvPr id="78" name="Text Placeholder 35">
            <a:extLst>
              <a:ext uri="{FF2B5EF4-FFF2-40B4-BE49-F238E27FC236}">
                <a16:creationId xmlns:a16="http://schemas.microsoft.com/office/drawing/2014/main" id="{A9A84E6F-6E58-919D-D140-1DB7588BC09A}"/>
              </a:ext>
            </a:extLst>
          </p:cNvPr>
          <p:cNvSpPr>
            <a:spLocks noGrp="1"/>
          </p:cNvSpPr>
          <p:nvPr>
            <p:ph type="body" sz="quarter" idx="58" hasCustomPrompt="1"/>
          </p:nvPr>
        </p:nvSpPr>
        <p:spPr>
          <a:xfrm>
            <a:off x="5448335" y="1672559"/>
            <a:ext cx="1254128" cy="331694"/>
          </a:xfrm>
        </p:spPr>
        <p:txBody>
          <a:bodyPr anchor="b">
            <a:noAutofit/>
          </a:bodyPr>
          <a:lstStyle>
            <a:lvl1pPr marL="0" indent="0" algn="ctr">
              <a:buNone/>
              <a:defRPr sz="18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YEAR</a:t>
            </a:r>
          </a:p>
        </p:txBody>
      </p:sp>
      <p:sp>
        <p:nvSpPr>
          <p:cNvPr id="79" name="Text Placeholder 35">
            <a:extLst>
              <a:ext uri="{FF2B5EF4-FFF2-40B4-BE49-F238E27FC236}">
                <a16:creationId xmlns:a16="http://schemas.microsoft.com/office/drawing/2014/main" id="{54104E3A-3F6F-120F-6234-DD21B3DD882E}"/>
              </a:ext>
            </a:extLst>
          </p:cNvPr>
          <p:cNvSpPr>
            <a:spLocks noGrp="1"/>
          </p:cNvSpPr>
          <p:nvPr>
            <p:ph type="body" sz="quarter" idx="59" hasCustomPrompt="1"/>
          </p:nvPr>
        </p:nvSpPr>
        <p:spPr>
          <a:xfrm>
            <a:off x="7648483" y="2747104"/>
            <a:ext cx="1254128" cy="331694"/>
          </a:xfrm>
        </p:spPr>
        <p:txBody>
          <a:bodyPr anchor="b">
            <a:noAutofit/>
          </a:bodyPr>
          <a:lstStyle>
            <a:lvl1pPr marL="0" indent="0" algn="ctr">
              <a:buNone/>
              <a:defRPr sz="18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YEAR</a:t>
            </a:r>
          </a:p>
        </p:txBody>
      </p:sp>
      <p:sp>
        <p:nvSpPr>
          <p:cNvPr id="80" name="Text Placeholder 35">
            <a:extLst>
              <a:ext uri="{FF2B5EF4-FFF2-40B4-BE49-F238E27FC236}">
                <a16:creationId xmlns:a16="http://schemas.microsoft.com/office/drawing/2014/main" id="{4B7A5EA6-D69E-D687-C990-56938126FC50}"/>
              </a:ext>
            </a:extLst>
          </p:cNvPr>
          <p:cNvSpPr>
            <a:spLocks noGrp="1"/>
          </p:cNvSpPr>
          <p:nvPr>
            <p:ph type="body" sz="quarter" idx="60" hasCustomPrompt="1"/>
          </p:nvPr>
        </p:nvSpPr>
        <p:spPr>
          <a:xfrm>
            <a:off x="9799188" y="1672559"/>
            <a:ext cx="1254128" cy="331694"/>
          </a:xfrm>
        </p:spPr>
        <p:txBody>
          <a:bodyPr anchor="b">
            <a:noAutofit/>
          </a:bodyPr>
          <a:lstStyle>
            <a:lvl1pPr marL="0" indent="0" algn="ctr">
              <a:buNone/>
              <a:defRPr sz="18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YEAR</a:t>
            </a:r>
          </a:p>
        </p:txBody>
      </p:sp>
    </p:spTree>
    <p:extLst>
      <p:ext uri="{BB962C8B-B14F-4D97-AF65-F5344CB8AC3E}">
        <p14:creationId xmlns:p14="http://schemas.microsoft.com/office/powerpoint/2010/main" val="33903952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389398B-6117-8007-F6FE-0963996F6FD3}"/>
              </a:ext>
            </a:extLst>
          </p:cNvPr>
          <p:cNvSpPr>
            <a:spLocks noGrp="1"/>
          </p:cNvSpPr>
          <p:nvPr>
            <p:ph type="ctrTitle" hasCustomPrompt="1"/>
          </p:nvPr>
        </p:nvSpPr>
        <p:spPr>
          <a:xfrm>
            <a:off x="1087235" y="2534231"/>
            <a:ext cx="9144000" cy="1639953"/>
          </a:xfrm>
        </p:spPr>
        <p:txBody>
          <a:bodyPr anchor="b">
            <a:noAutofit/>
          </a:bodyPr>
          <a:lstStyle>
            <a:lvl1pPr algn="l">
              <a:defRPr sz="10000" b="1">
                <a:solidFill>
                  <a:schemeClr val="bg1"/>
                </a:solidFill>
              </a:defRPr>
            </a:lvl1pPr>
          </a:lstStyle>
          <a:p>
            <a:r>
              <a:rPr lang="en-US"/>
              <a:t>Thank You</a:t>
            </a:r>
          </a:p>
        </p:txBody>
      </p:sp>
      <p:pic>
        <p:nvPicPr>
          <p:cNvPr id="8" name="Picture 7">
            <a:extLst>
              <a:ext uri="{FF2B5EF4-FFF2-40B4-BE49-F238E27FC236}">
                <a16:creationId xmlns:a16="http://schemas.microsoft.com/office/drawing/2014/main" id="{D18BD4D8-F488-8B5E-1171-0F28C1BC07CE}"/>
              </a:ext>
            </a:extLst>
          </p:cNvPr>
          <p:cNvPicPr>
            <a:picLocks noChangeAspect="1"/>
          </p:cNvPicPr>
          <p:nvPr userDrawn="1"/>
        </p:nvPicPr>
        <p:blipFill>
          <a:blip r:embed="rId2"/>
          <a:stretch>
            <a:fillRect/>
          </a:stretch>
        </p:blipFill>
        <p:spPr>
          <a:xfrm>
            <a:off x="10121526" y="5913345"/>
            <a:ext cx="1684992" cy="584243"/>
          </a:xfrm>
          <a:prstGeom prst="rect">
            <a:avLst/>
          </a:prstGeom>
        </p:spPr>
      </p:pic>
    </p:spTree>
    <p:extLst>
      <p:ext uri="{BB962C8B-B14F-4D97-AF65-F5344CB8AC3E}">
        <p14:creationId xmlns:p14="http://schemas.microsoft.com/office/powerpoint/2010/main" val="103509926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Closing">
    <p:bg>
      <p:bgPr>
        <a:gradFill flip="none" rotWithShape="1">
          <a:gsLst>
            <a:gs pos="100000">
              <a:schemeClr val="accent1"/>
            </a:gs>
            <a:gs pos="8000">
              <a:schemeClr val="accent3"/>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C7000CA-19C6-E0DA-0139-94553C4EF09B}"/>
              </a:ext>
            </a:extLst>
          </p:cNvPr>
          <p:cNvPicPr>
            <a:picLocks noChangeAspect="1"/>
          </p:cNvPicPr>
          <p:nvPr userDrawn="1"/>
        </p:nvPicPr>
        <p:blipFill>
          <a:blip r:embed="rId2"/>
          <a:stretch>
            <a:fillRect/>
          </a:stretch>
        </p:blipFill>
        <p:spPr>
          <a:xfrm>
            <a:off x="3913316" y="2859954"/>
            <a:ext cx="3980406" cy="1380140"/>
          </a:xfrm>
          <a:prstGeom prst="rect">
            <a:avLst/>
          </a:prstGeom>
        </p:spPr>
      </p:pic>
    </p:spTree>
    <p:extLst>
      <p:ext uri="{BB962C8B-B14F-4D97-AF65-F5344CB8AC3E}">
        <p14:creationId xmlns:p14="http://schemas.microsoft.com/office/powerpoint/2010/main" val="21970828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mage">
    <p:bg>
      <p:bgPr>
        <a:solidFill>
          <a:schemeClr val="bg1"/>
        </a:solidFill>
        <a:effectLst/>
      </p:bgPr>
    </p:bg>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EDD6BE45-0A5D-0F3D-0FA0-942C69E6C3A5}"/>
              </a:ext>
            </a:extLst>
          </p:cNvPr>
          <p:cNvSpPr>
            <a:spLocks noGrp="1"/>
          </p:cNvSpPr>
          <p:nvPr>
            <p:ph type="pic" sz="quarter" idx="10" hasCustomPrompt="1"/>
          </p:nvPr>
        </p:nvSpPr>
        <p:spPr>
          <a:xfrm>
            <a:off x="0" y="0"/>
            <a:ext cx="12192000" cy="6858000"/>
          </a:xfrm>
        </p:spPr>
        <p:txBody>
          <a:bodyPr anchor="ctr">
            <a:normAutofit/>
          </a:bodyPr>
          <a:lstStyle>
            <a:lvl1pPr marL="0" indent="0" algn="ctr">
              <a:buNone/>
              <a:defRPr sz="2000" b="1">
                <a:solidFill>
                  <a:srgbClr val="22B990"/>
                </a:solidFill>
              </a:defRPr>
            </a:lvl1pPr>
          </a:lstStyle>
          <a:p>
            <a:r>
              <a:rPr lang="en-US"/>
              <a:t>Insert Full Bleed Image Here</a:t>
            </a:r>
          </a:p>
        </p:txBody>
      </p:sp>
    </p:spTree>
    <p:extLst>
      <p:ext uri="{BB962C8B-B14F-4D97-AF65-F5344CB8AC3E}">
        <p14:creationId xmlns:p14="http://schemas.microsoft.com/office/powerpoint/2010/main" val="8754684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ifi Island">
    <p:bg>
      <p:bgPr>
        <a:solidFill>
          <a:schemeClr val="tx2"/>
        </a:solidFill>
        <a:effectLst/>
      </p:bgPr>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0EA277E7-CB1C-E327-2A28-53C52A11A0C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itle 1">
            <a:extLst>
              <a:ext uri="{FF2B5EF4-FFF2-40B4-BE49-F238E27FC236}">
                <a16:creationId xmlns:a16="http://schemas.microsoft.com/office/drawing/2014/main" id="{D740F735-53C0-19D3-0C44-8DEF357AA49B}"/>
              </a:ext>
            </a:extLst>
          </p:cNvPr>
          <p:cNvSpPr>
            <a:spLocks noGrp="1"/>
          </p:cNvSpPr>
          <p:nvPr>
            <p:ph type="title" hasCustomPrompt="1"/>
          </p:nvPr>
        </p:nvSpPr>
        <p:spPr>
          <a:xfrm>
            <a:off x="5004284" y="4455157"/>
            <a:ext cx="6475414" cy="801577"/>
          </a:xfrm>
        </p:spPr>
        <p:txBody>
          <a:bodyPr anchor="b" anchorCtr="0">
            <a:noAutofit/>
          </a:bodyPr>
          <a:lstStyle>
            <a:lvl1pPr>
              <a:defRPr sz="4400">
                <a:solidFill>
                  <a:schemeClr val="bg1"/>
                </a:solidFill>
              </a:defRPr>
            </a:lvl1pPr>
          </a:lstStyle>
          <a:p>
            <a:r>
              <a:rPr lang="en-US"/>
              <a:t>Title Goes Here</a:t>
            </a:r>
          </a:p>
        </p:txBody>
      </p:sp>
      <p:sp>
        <p:nvSpPr>
          <p:cNvPr id="5" name="Text Placeholder 3">
            <a:extLst>
              <a:ext uri="{FF2B5EF4-FFF2-40B4-BE49-F238E27FC236}">
                <a16:creationId xmlns:a16="http://schemas.microsoft.com/office/drawing/2014/main" id="{60802E17-2773-41D5-9CAD-B9790B9A9F93}"/>
              </a:ext>
            </a:extLst>
          </p:cNvPr>
          <p:cNvSpPr>
            <a:spLocks noGrp="1"/>
          </p:cNvSpPr>
          <p:nvPr>
            <p:ph type="body" sz="quarter" idx="15" hasCustomPrompt="1"/>
          </p:nvPr>
        </p:nvSpPr>
        <p:spPr>
          <a:xfrm>
            <a:off x="5004282" y="5347254"/>
            <a:ext cx="6475413" cy="696639"/>
          </a:xfrm>
        </p:spPr>
        <p:txBody>
          <a:bodyPr>
            <a:normAutofit/>
          </a:bodyPr>
          <a:lstStyle>
            <a:lvl1pPr marL="0" indent="0">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Tree>
    <p:extLst>
      <p:ext uri="{BB962C8B-B14F-4D97-AF65-F5344CB8AC3E}">
        <p14:creationId xmlns:p14="http://schemas.microsoft.com/office/powerpoint/2010/main" val="11694937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Wave">
    <p:bg>
      <p:bgPr>
        <a:solidFill>
          <a:schemeClr val="bg1"/>
        </a:solidFill>
        <a:effectLst/>
      </p:bgPr>
    </p:bg>
    <p:spTree>
      <p:nvGrpSpPr>
        <p:cNvPr id="1" name=""/>
        <p:cNvGrpSpPr/>
        <p:nvPr/>
      </p:nvGrpSpPr>
      <p:grpSpPr>
        <a:xfrm>
          <a:off x="0" y="0"/>
          <a:ext cx="0" cy="0"/>
          <a:chOff x="0" y="0"/>
          <a:chExt cx="0" cy="0"/>
        </a:xfrm>
      </p:grpSpPr>
      <p:pic>
        <p:nvPicPr>
          <p:cNvPr id="8" name="Picture 7" descr="Icon&#10;&#10;Description automatically generated">
            <a:extLst>
              <a:ext uri="{FF2B5EF4-FFF2-40B4-BE49-F238E27FC236}">
                <a16:creationId xmlns:a16="http://schemas.microsoft.com/office/drawing/2014/main" id="{C80EA21B-B8E0-A69E-46EB-5A742288EAC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A04C74C5-614D-9D57-A04B-14EC19FF140A}"/>
              </a:ext>
            </a:extLst>
          </p:cNvPr>
          <p:cNvSpPr>
            <a:spLocks noGrp="1"/>
          </p:cNvSpPr>
          <p:nvPr>
            <p:ph type="title" hasCustomPrompt="1"/>
          </p:nvPr>
        </p:nvSpPr>
        <p:spPr>
          <a:xfrm>
            <a:off x="839788" y="4517675"/>
            <a:ext cx="6475414" cy="801577"/>
          </a:xfrm>
        </p:spPr>
        <p:txBody>
          <a:bodyPr anchor="b" anchorCtr="0">
            <a:noAutofit/>
          </a:bodyPr>
          <a:lstStyle>
            <a:lvl1pPr>
              <a:defRPr sz="4400">
                <a:solidFill>
                  <a:schemeClr val="bg1"/>
                </a:solidFill>
              </a:defRPr>
            </a:lvl1pPr>
          </a:lstStyle>
          <a:p>
            <a:r>
              <a:rPr lang="en-US"/>
              <a:t>Title Goes Here</a:t>
            </a:r>
          </a:p>
        </p:txBody>
      </p:sp>
      <p:sp>
        <p:nvSpPr>
          <p:cNvPr id="3" name="Text Placeholder 3">
            <a:extLst>
              <a:ext uri="{FF2B5EF4-FFF2-40B4-BE49-F238E27FC236}">
                <a16:creationId xmlns:a16="http://schemas.microsoft.com/office/drawing/2014/main" id="{7F6AC5A2-C7D0-B249-5D1A-85D6031500BA}"/>
              </a:ext>
            </a:extLst>
          </p:cNvPr>
          <p:cNvSpPr>
            <a:spLocks noGrp="1"/>
          </p:cNvSpPr>
          <p:nvPr>
            <p:ph type="body" sz="quarter" idx="15" hasCustomPrompt="1"/>
          </p:nvPr>
        </p:nvSpPr>
        <p:spPr>
          <a:xfrm>
            <a:off x="839786" y="5409772"/>
            <a:ext cx="6475413" cy="696639"/>
          </a:xfrm>
        </p:spPr>
        <p:txBody>
          <a:bodyPr>
            <a:normAutofit/>
          </a:bodyPr>
          <a:lstStyle>
            <a:lvl1pPr marL="0" indent="0">
              <a:buNone/>
              <a:defRPr sz="24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pic>
        <p:nvPicPr>
          <p:cNvPr id="6" name="Picture 5">
            <a:extLst>
              <a:ext uri="{FF2B5EF4-FFF2-40B4-BE49-F238E27FC236}">
                <a16:creationId xmlns:a16="http://schemas.microsoft.com/office/drawing/2014/main" id="{FF335CC9-41EE-1695-D765-3788F6935755}"/>
              </a:ext>
            </a:extLst>
          </p:cNvPr>
          <p:cNvPicPr>
            <a:picLocks noChangeAspect="1"/>
          </p:cNvPicPr>
          <p:nvPr userDrawn="1"/>
        </p:nvPicPr>
        <p:blipFill>
          <a:blip r:embed="rId3"/>
          <a:stretch>
            <a:fillRect/>
          </a:stretch>
        </p:blipFill>
        <p:spPr>
          <a:xfrm>
            <a:off x="10121526" y="5913345"/>
            <a:ext cx="1684992" cy="584243"/>
          </a:xfrm>
          <a:prstGeom prst="rect">
            <a:avLst/>
          </a:prstGeom>
        </p:spPr>
      </p:pic>
    </p:spTree>
    <p:extLst>
      <p:ext uri="{BB962C8B-B14F-4D97-AF65-F5344CB8AC3E}">
        <p14:creationId xmlns:p14="http://schemas.microsoft.com/office/powerpoint/2010/main" val="42722181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7_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DA2388B-7A29-E4D0-3987-575C66512504}"/>
              </a:ext>
            </a:extLst>
          </p:cNvPr>
          <p:cNvSpPr>
            <a:spLocks noGrp="1"/>
          </p:cNvSpPr>
          <p:nvPr>
            <p:ph type="title" hasCustomPrompt="1"/>
          </p:nvPr>
        </p:nvSpPr>
        <p:spPr>
          <a:xfrm>
            <a:off x="839788" y="788787"/>
            <a:ext cx="6475414" cy="801577"/>
          </a:xfrm>
        </p:spPr>
        <p:txBody>
          <a:bodyPr anchor="b" anchorCtr="0">
            <a:noAutofit/>
          </a:bodyPr>
          <a:lstStyle>
            <a:lvl1pPr>
              <a:defRPr sz="4400">
                <a:solidFill>
                  <a:schemeClr val="accent1"/>
                </a:solidFill>
              </a:defRPr>
            </a:lvl1pPr>
          </a:lstStyle>
          <a:p>
            <a:r>
              <a:rPr lang="en-US"/>
              <a:t>Title Goes Here</a:t>
            </a:r>
          </a:p>
        </p:txBody>
      </p:sp>
      <p:sp>
        <p:nvSpPr>
          <p:cNvPr id="8" name="Text Placeholder 3">
            <a:extLst>
              <a:ext uri="{FF2B5EF4-FFF2-40B4-BE49-F238E27FC236}">
                <a16:creationId xmlns:a16="http://schemas.microsoft.com/office/drawing/2014/main" id="{28F6DE54-DE7C-85BF-76EC-DDB2585ADE4C}"/>
              </a:ext>
            </a:extLst>
          </p:cNvPr>
          <p:cNvSpPr>
            <a:spLocks noGrp="1"/>
          </p:cNvSpPr>
          <p:nvPr>
            <p:ph type="body" sz="quarter" idx="15" hasCustomPrompt="1"/>
          </p:nvPr>
        </p:nvSpPr>
        <p:spPr>
          <a:xfrm>
            <a:off x="839786" y="1680884"/>
            <a:ext cx="6475413" cy="696639"/>
          </a:xfrm>
        </p:spPr>
        <p:txBody>
          <a:bodyPr>
            <a:normAutofit/>
          </a:bodyPr>
          <a:lstStyle>
            <a:lvl1pPr marL="0" indent="0">
              <a:buNone/>
              <a:defRPr sz="2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
        <p:nvSpPr>
          <p:cNvPr id="9" name="Text Placeholder 5">
            <a:extLst>
              <a:ext uri="{FF2B5EF4-FFF2-40B4-BE49-F238E27FC236}">
                <a16:creationId xmlns:a16="http://schemas.microsoft.com/office/drawing/2014/main" id="{30984675-EDEC-B40A-C3A6-6F835F416D0F}"/>
              </a:ext>
            </a:extLst>
          </p:cNvPr>
          <p:cNvSpPr>
            <a:spLocks noGrp="1"/>
          </p:cNvSpPr>
          <p:nvPr>
            <p:ph type="body" sz="quarter" idx="16"/>
          </p:nvPr>
        </p:nvSpPr>
        <p:spPr>
          <a:xfrm>
            <a:off x="839787" y="2550678"/>
            <a:ext cx="5877535" cy="1698592"/>
          </a:xfrm>
        </p:spPr>
        <p:txBody>
          <a:bodyPr>
            <a:normAutofit/>
          </a:bodyPr>
          <a:lstStyle>
            <a:lvl1pPr marL="0" indent="0">
              <a:buNone/>
              <a:defRPr sz="2400" b="1">
                <a:solidFill>
                  <a:schemeClr val="tx1"/>
                </a:solidFill>
              </a:defRPr>
            </a:lvl1pPr>
            <a:lvl2pPr marL="349250" marR="0"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marL="349250" marR="0" lvl="1"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Second level</a:t>
            </a:r>
          </a:p>
          <a:p>
            <a:pPr marL="349250" marR="0" lvl="1"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Second level</a:t>
            </a:r>
          </a:p>
        </p:txBody>
      </p:sp>
      <p:sp>
        <p:nvSpPr>
          <p:cNvPr id="10" name="Text Placeholder 5">
            <a:extLst>
              <a:ext uri="{FF2B5EF4-FFF2-40B4-BE49-F238E27FC236}">
                <a16:creationId xmlns:a16="http://schemas.microsoft.com/office/drawing/2014/main" id="{E51AB6F2-2EDC-3CDB-E263-DB37FD24C46E}"/>
              </a:ext>
            </a:extLst>
          </p:cNvPr>
          <p:cNvSpPr>
            <a:spLocks noGrp="1"/>
          </p:cNvSpPr>
          <p:nvPr>
            <p:ph type="body" sz="quarter" idx="17"/>
          </p:nvPr>
        </p:nvSpPr>
        <p:spPr>
          <a:xfrm>
            <a:off x="839787" y="4388270"/>
            <a:ext cx="5877535" cy="1698592"/>
          </a:xfrm>
        </p:spPr>
        <p:txBody>
          <a:bodyPr>
            <a:normAutofit/>
          </a:bodyPr>
          <a:lstStyle>
            <a:lvl1pPr marL="0" indent="0">
              <a:buNone/>
              <a:defRPr sz="2400" b="1">
                <a:solidFill>
                  <a:schemeClr val="tx1"/>
                </a:solidFill>
              </a:defRPr>
            </a:lvl1pPr>
            <a:lvl2pPr marL="349250" marR="0"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marL="349250" marR="0" lvl="1"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Second level</a:t>
            </a:r>
          </a:p>
          <a:p>
            <a:pPr marL="349250" marR="0" lvl="1"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Second level</a:t>
            </a:r>
          </a:p>
        </p:txBody>
      </p:sp>
    </p:spTree>
    <p:extLst>
      <p:ext uri="{BB962C8B-B14F-4D97-AF65-F5344CB8AC3E}">
        <p14:creationId xmlns:p14="http://schemas.microsoft.com/office/powerpoint/2010/main" val="28637610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_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403B6BA-D744-40B3-6A58-CDFFBA7697DD}"/>
              </a:ext>
            </a:extLst>
          </p:cNvPr>
          <p:cNvSpPr>
            <a:spLocks noGrp="1"/>
          </p:cNvSpPr>
          <p:nvPr>
            <p:ph type="ctrTitle" hasCustomPrompt="1"/>
          </p:nvPr>
        </p:nvSpPr>
        <p:spPr>
          <a:xfrm>
            <a:off x="914400" y="1325548"/>
            <a:ext cx="9144000" cy="2387600"/>
          </a:xfrm>
        </p:spPr>
        <p:txBody>
          <a:bodyPr anchor="b">
            <a:normAutofit/>
          </a:bodyPr>
          <a:lstStyle>
            <a:lvl1pPr algn="l">
              <a:defRPr sz="4400" b="1">
                <a:solidFill>
                  <a:schemeClr val="accent1"/>
                </a:solidFill>
              </a:defRPr>
            </a:lvl1pPr>
          </a:lstStyle>
          <a:p>
            <a:r>
              <a:rPr lang="en-US"/>
              <a:t>This is a quote, statement, or question for the viewer.</a:t>
            </a:r>
          </a:p>
        </p:txBody>
      </p:sp>
      <p:sp>
        <p:nvSpPr>
          <p:cNvPr id="10" name="Subtitle 2">
            <a:extLst>
              <a:ext uri="{FF2B5EF4-FFF2-40B4-BE49-F238E27FC236}">
                <a16:creationId xmlns:a16="http://schemas.microsoft.com/office/drawing/2014/main" id="{64BD3AB9-7B48-81D0-EF5A-725AA1540DC5}"/>
              </a:ext>
            </a:extLst>
          </p:cNvPr>
          <p:cNvSpPr>
            <a:spLocks noGrp="1"/>
          </p:cNvSpPr>
          <p:nvPr>
            <p:ph type="subTitle" idx="1" hasCustomPrompt="1"/>
          </p:nvPr>
        </p:nvSpPr>
        <p:spPr>
          <a:xfrm>
            <a:off x="914400" y="3990967"/>
            <a:ext cx="9144000"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is a source or subheading</a:t>
            </a:r>
          </a:p>
        </p:txBody>
      </p:sp>
    </p:spTree>
    <p:extLst>
      <p:ext uri="{BB962C8B-B14F-4D97-AF65-F5344CB8AC3E}">
        <p14:creationId xmlns:p14="http://schemas.microsoft.com/office/powerpoint/2010/main" val="7864814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Quot_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403B6BA-D744-40B3-6A58-CDFFBA7697DD}"/>
              </a:ext>
            </a:extLst>
          </p:cNvPr>
          <p:cNvSpPr>
            <a:spLocks noGrp="1"/>
          </p:cNvSpPr>
          <p:nvPr>
            <p:ph type="ctrTitle" hasCustomPrompt="1"/>
          </p:nvPr>
        </p:nvSpPr>
        <p:spPr>
          <a:xfrm>
            <a:off x="914400" y="1325548"/>
            <a:ext cx="9144000" cy="2387600"/>
          </a:xfrm>
        </p:spPr>
        <p:txBody>
          <a:bodyPr anchor="b">
            <a:normAutofit/>
          </a:bodyPr>
          <a:lstStyle>
            <a:lvl1pPr algn="l">
              <a:defRPr sz="4400" b="1">
                <a:solidFill>
                  <a:schemeClr val="accent1"/>
                </a:solidFill>
              </a:defRPr>
            </a:lvl1pPr>
          </a:lstStyle>
          <a:p>
            <a:r>
              <a:rPr lang="en-US"/>
              <a:t>This is a quote, statement, or question for the viewer.</a:t>
            </a:r>
          </a:p>
        </p:txBody>
      </p:sp>
      <p:sp>
        <p:nvSpPr>
          <p:cNvPr id="10" name="Subtitle 2">
            <a:extLst>
              <a:ext uri="{FF2B5EF4-FFF2-40B4-BE49-F238E27FC236}">
                <a16:creationId xmlns:a16="http://schemas.microsoft.com/office/drawing/2014/main" id="{64BD3AB9-7B48-81D0-EF5A-725AA1540DC5}"/>
              </a:ext>
            </a:extLst>
          </p:cNvPr>
          <p:cNvSpPr>
            <a:spLocks noGrp="1"/>
          </p:cNvSpPr>
          <p:nvPr>
            <p:ph type="subTitle" idx="1" hasCustomPrompt="1"/>
          </p:nvPr>
        </p:nvSpPr>
        <p:spPr>
          <a:xfrm>
            <a:off x="914400" y="3990967"/>
            <a:ext cx="9144000"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is a source or subheading</a:t>
            </a:r>
          </a:p>
        </p:txBody>
      </p:sp>
    </p:spTree>
    <p:extLst>
      <p:ext uri="{BB962C8B-B14F-4D97-AF65-F5344CB8AC3E}">
        <p14:creationId xmlns:p14="http://schemas.microsoft.com/office/powerpoint/2010/main" val="9658191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_2">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FCE075-531C-4791-7F61-9917541DD04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F7F713FF-ED99-558F-421D-76DD43CEE079}"/>
              </a:ext>
            </a:extLst>
          </p:cNvPr>
          <p:cNvSpPr>
            <a:spLocks noGrp="1"/>
          </p:cNvSpPr>
          <p:nvPr>
            <p:ph type="title"/>
          </p:nvPr>
        </p:nvSpPr>
        <p:spPr>
          <a:xfrm>
            <a:off x="1013011" y="1736785"/>
            <a:ext cx="5264150" cy="3361796"/>
          </a:xfrm>
        </p:spPr>
        <p:txBody>
          <a:bodyPr anchor="ctr" anchorCtr="0">
            <a:normAutofit/>
          </a:bodyPr>
          <a:lstStyle>
            <a:lvl1pPr algn="l">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7982989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_3">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CFF5A26-6A02-DF39-514F-805C1E3676F3}"/>
              </a:ext>
            </a:extLst>
          </p:cNvPr>
          <p:cNvSpPr>
            <a:spLocks noGrp="1"/>
          </p:cNvSpPr>
          <p:nvPr>
            <p:ph type="ctrTitle" hasCustomPrompt="1"/>
          </p:nvPr>
        </p:nvSpPr>
        <p:spPr>
          <a:xfrm>
            <a:off x="981634" y="1000125"/>
            <a:ext cx="8337177" cy="5043488"/>
          </a:xfrm>
        </p:spPr>
        <p:txBody>
          <a:bodyPr anchor="ctr" anchorCtr="0">
            <a:normAutofit/>
          </a:bodyPr>
          <a:lstStyle>
            <a:lvl1pPr algn="l">
              <a:defRPr sz="4400" b="1">
                <a:solidFill>
                  <a:schemeClr val="accent1"/>
                </a:solidFill>
              </a:defRPr>
            </a:lvl1pPr>
          </a:lstStyle>
          <a:p>
            <a:r>
              <a:rPr lang="en-US"/>
              <a:t>This is a quote, statement, or question for the viewer.</a:t>
            </a:r>
          </a:p>
        </p:txBody>
      </p:sp>
    </p:spTree>
    <p:extLst>
      <p:ext uri="{BB962C8B-B14F-4D97-AF65-F5344CB8AC3E}">
        <p14:creationId xmlns:p14="http://schemas.microsoft.com/office/powerpoint/2010/main" val="3881599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ight-Title+Sub+Tex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9C43533-7263-960C-2CB4-586AA97F3E41}"/>
              </a:ext>
            </a:extLst>
          </p:cNvPr>
          <p:cNvSpPr>
            <a:spLocks noGrp="1"/>
          </p:cNvSpPr>
          <p:nvPr>
            <p:ph type="title"/>
          </p:nvPr>
        </p:nvSpPr>
        <p:spPr>
          <a:xfrm>
            <a:off x="6799385" y="874061"/>
            <a:ext cx="4472354" cy="1585181"/>
          </a:xfrm>
        </p:spPr>
        <p:txBody>
          <a:bodyPr anchor="b" anchorCtr="0">
            <a:normAutofit/>
          </a:bodyPr>
          <a:lstStyle>
            <a:lvl1pPr>
              <a:defRPr sz="3600"/>
            </a:lvl1pPr>
          </a:lstStyle>
          <a:p>
            <a:endParaRPr lang="en-US"/>
          </a:p>
        </p:txBody>
      </p:sp>
      <p:sp>
        <p:nvSpPr>
          <p:cNvPr id="5" name="Content Placeholder 2">
            <a:extLst>
              <a:ext uri="{FF2B5EF4-FFF2-40B4-BE49-F238E27FC236}">
                <a16:creationId xmlns:a16="http://schemas.microsoft.com/office/drawing/2014/main" id="{C7482196-2C88-320D-8497-481FBB717C49}"/>
              </a:ext>
            </a:extLst>
          </p:cNvPr>
          <p:cNvSpPr>
            <a:spLocks noGrp="1"/>
          </p:cNvSpPr>
          <p:nvPr>
            <p:ph idx="1"/>
          </p:nvPr>
        </p:nvSpPr>
        <p:spPr>
          <a:xfrm>
            <a:off x="6799385" y="3128759"/>
            <a:ext cx="4472354" cy="28551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2">
            <a:extLst>
              <a:ext uri="{FF2B5EF4-FFF2-40B4-BE49-F238E27FC236}">
                <a16:creationId xmlns:a16="http://schemas.microsoft.com/office/drawing/2014/main" id="{68919125-92B2-AB53-BB88-F8E13F765C6C}"/>
              </a:ext>
            </a:extLst>
          </p:cNvPr>
          <p:cNvSpPr>
            <a:spLocks noGrp="1"/>
          </p:cNvSpPr>
          <p:nvPr>
            <p:ph idx="11" hasCustomPrompt="1"/>
          </p:nvPr>
        </p:nvSpPr>
        <p:spPr>
          <a:xfrm>
            <a:off x="6799385" y="2658535"/>
            <a:ext cx="4472354" cy="491066"/>
          </a:xfrm>
        </p:spPr>
        <p:txBody>
          <a:bodyPr>
            <a:noAutofit/>
          </a:bodyPr>
          <a:lstStyle>
            <a:lvl1pPr marL="0" indent="0">
              <a:buNone/>
              <a:defRPr sz="2200" b="1">
                <a:solidFill>
                  <a:schemeClr val="accent1"/>
                </a:solidFill>
              </a:defRPr>
            </a:lvl1pPr>
            <a:lvl2pPr>
              <a:defRPr sz="1800"/>
            </a:lvl2pPr>
            <a:lvl3pPr>
              <a:defRPr sz="1800"/>
            </a:lvl3pPr>
            <a:lvl4pPr>
              <a:defRPr sz="1800"/>
            </a:lvl4pPr>
            <a:lvl5pPr>
              <a:defRPr sz="1800"/>
            </a:lvl5pPr>
          </a:lstStyle>
          <a:p>
            <a:pPr lvl="0"/>
            <a:r>
              <a:rPr lang="en-US"/>
              <a:t>Subheading</a:t>
            </a:r>
          </a:p>
        </p:txBody>
      </p:sp>
      <p:sp>
        <p:nvSpPr>
          <p:cNvPr id="3" name="Picture Placeholder 2">
            <a:extLst>
              <a:ext uri="{FF2B5EF4-FFF2-40B4-BE49-F238E27FC236}">
                <a16:creationId xmlns:a16="http://schemas.microsoft.com/office/drawing/2014/main" id="{345594E3-BB39-0738-C313-A717517AE689}"/>
              </a:ext>
            </a:extLst>
          </p:cNvPr>
          <p:cNvSpPr>
            <a:spLocks noGrp="1"/>
          </p:cNvSpPr>
          <p:nvPr>
            <p:ph type="pic" idx="19" hasCustomPrompt="1"/>
          </p:nvPr>
        </p:nvSpPr>
        <p:spPr>
          <a:xfrm>
            <a:off x="0" y="0"/>
            <a:ext cx="5902960" cy="6858000"/>
          </a:xfrm>
        </p:spPr>
        <p:txBody>
          <a:bodyPr lIns="0" tIns="0" rIns="0" bIns="0" anchor="ctr" anchorCtr="0">
            <a:normAutofit/>
          </a:bodyPr>
          <a:lstStyle>
            <a:lvl1pPr marL="0" indent="0" algn="ctr">
              <a:buNone/>
              <a:defRPr sz="1800" b="1">
                <a:solidFill>
                  <a:srgbClr val="3EB1C8"/>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Tree>
    <p:extLst>
      <p:ext uri="{BB962C8B-B14F-4D97-AF65-F5344CB8AC3E}">
        <p14:creationId xmlns:p14="http://schemas.microsoft.com/office/powerpoint/2010/main" val="17729251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9B1F75-6FA1-AE94-C92A-2ED25A53C1D1}"/>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3" name="Footer Placeholder 2">
            <a:extLst>
              <a:ext uri="{FF2B5EF4-FFF2-40B4-BE49-F238E27FC236}">
                <a16:creationId xmlns:a16="http://schemas.microsoft.com/office/drawing/2014/main" id="{5B6C2B9B-A985-C40F-1222-22DDFD87A878}"/>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 name="Slide Number Placeholder 3">
            <a:extLst>
              <a:ext uri="{FF2B5EF4-FFF2-40B4-BE49-F238E27FC236}">
                <a16:creationId xmlns:a16="http://schemas.microsoft.com/office/drawing/2014/main" id="{F8F04EEA-081B-1985-CB21-C19C345D3230}"/>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6" name="Rectangle 5">
            <a:extLst>
              <a:ext uri="{FF2B5EF4-FFF2-40B4-BE49-F238E27FC236}">
                <a16:creationId xmlns:a16="http://schemas.microsoft.com/office/drawing/2014/main" id="{F09E79A5-657C-A07C-A924-7E95C2634A1F}"/>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1382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_BulkAcq">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BC7178CB-E340-EC07-42B3-EA0DE563965D}"/>
              </a:ext>
            </a:extLst>
          </p:cNvPr>
          <p:cNvSpPr>
            <a:spLocks noGrp="1"/>
          </p:cNvSpPr>
          <p:nvPr>
            <p:ph type="pic" sz="quarter" idx="16"/>
          </p:nvPr>
        </p:nvSpPr>
        <p:spPr>
          <a:xfrm>
            <a:off x="0" y="0"/>
            <a:ext cx="12192000" cy="6858000"/>
          </a:xfrm>
        </p:spPr>
        <p:txBody>
          <a:bodyPr anchor="ctr"/>
          <a:lstStyle>
            <a:lvl1pPr marL="0" indent="0" algn="ctr">
              <a:buNone/>
              <a:defRPr/>
            </a:lvl1pPr>
          </a:lstStyle>
          <a:p>
            <a:endParaRPr lang="en-US"/>
          </a:p>
        </p:txBody>
      </p:sp>
      <p:sp>
        <p:nvSpPr>
          <p:cNvPr id="2" name="Title 1">
            <a:extLst>
              <a:ext uri="{FF2B5EF4-FFF2-40B4-BE49-F238E27FC236}">
                <a16:creationId xmlns:a16="http://schemas.microsoft.com/office/drawing/2014/main" id="{E8A366D3-BE88-686B-E387-3A8405ADFF3B}"/>
              </a:ext>
            </a:extLst>
          </p:cNvPr>
          <p:cNvSpPr>
            <a:spLocks noGrp="1"/>
          </p:cNvSpPr>
          <p:nvPr>
            <p:ph type="title" hasCustomPrompt="1"/>
          </p:nvPr>
        </p:nvSpPr>
        <p:spPr>
          <a:xfrm>
            <a:off x="839788" y="479505"/>
            <a:ext cx="6475414" cy="801577"/>
          </a:xfrm>
        </p:spPr>
        <p:txBody>
          <a:bodyPr anchor="b" anchorCtr="0">
            <a:noAutofit/>
          </a:bodyPr>
          <a:lstStyle>
            <a:lvl1pPr>
              <a:defRPr sz="4400">
                <a:solidFill>
                  <a:srgbClr val="004161"/>
                </a:solidFill>
              </a:defRPr>
            </a:lvl1pPr>
          </a:lstStyle>
          <a:p>
            <a:r>
              <a:rPr lang="en-US"/>
              <a:t>Title Goes Here</a:t>
            </a:r>
          </a:p>
        </p:txBody>
      </p:sp>
      <p:sp>
        <p:nvSpPr>
          <p:cNvPr id="3" name="Text Placeholder 3">
            <a:extLst>
              <a:ext uri="{FF2B5EF4-FFF2-40B4-BE49-F238E27FC236}">
                <a16:creationId xmlns:a16="http://schemas.microsoft.com/office/drawing/2014/main" id="{6D072398-6AA4-838B-5E77-051BE8B8D8B6}"/>
              </a:ext>
            </a:extLst>
          </p:cNvPr>
          <p:cNvSpPr>
            <a:spLocks noGrp="1"/>
          </p:cNvSpPr>
          <p:nvPr>
            <p:ph type="body" sz="quarter" idx="15" hasCustomPrompt="1"/>
          </p:nvPr>
        </p:nvSpPr>
        <p:spPr>
          <a:xfrm>
            <a:off x="839786" y="1371602"/>
            <a:ext cx="6475413" cy="696639"/>
          </a:xfrm>
        </p:spPr>
        <p:txBody>
          <a:bodyPr>
            <a:normAutofit/>
          </a:bodyPr>
          <a:lstStyle>
            <a:lvl1pPr marL="0" indent="0">
              <a:buNone/>
              <a:defRPr sz="2400">
                <a:solidFill>
                  <a:srgbClr val="007DB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pic>
        <p:nvPicPr>
          <p:cNvPr id="8" name="Picture 7">
            <a:extLst>
              <a:ext uri="{FF2B5EF4-FFF2-40B4-BE49-F238E27FC236}">
                <a16:creationId xmlns:a16="http://schemas.microsoft.com/office/drawing/2014/main" id="{DA9DC93B-BCF1-0488-45D2-CE37DBC4C02C}"/>
              </a:ext>
            </a:extLst>
          </p:cNvPr>
          <p:cNvPicPr>
            <a:picLocks noChangeAspect="1"/>
          </p:cNvPicPr>
          <p:nvPr userDrawn="1"/>
        </p:nvPicPr>
        <p:blipFill rotWithShape="1">
          <a:blip r:embed="rId2">
            <a:alphaModFix amt="76000"/>
          </a:blip>
          <a:srcRect r="34694"/>
          <a:stretch/>
        </p:blipFill>
        <p:spPr>
          <a:xfrm>
            <a:off x="9712960" y="5376721"/>
            <a:ext cx="2479040" cy="1155863"/>
          </a:xfrm>
          <a:prstGeom prst="rect">
            <a:avLst/>
          </a:prstGeom>
        </p:spPr>
      </p:pic>
      <p:pic>
        <p:nvPicPr>
          <p:cNvPr id="9" name="Picture 8">
            <a:extLst>
              <a:ext uri="{FF2B5EF4-FFF2-40B4-BE49-F238E27FC236}">
                <a16:creationId xmlns:a16="http://schemas.microsoft.com/office/drawing/2014/main" id="{6B2A0DD8-3CD4-CA2E-C3FC-1B44AC077EDB}"/>
              </a:ext>
            </a:extLst>
          </p:cNvPr>
          <p:cNvPicPr>
            <a:picLocks noChangeAspect="1"/>
          </p:cNvPicPr>
          <p:nvPr userDrawn="1"/>
        </p:nvPicPr>
        <p:blipFill>
          <a:blip r:embed="rId3"/>
          <a:stretch>
            <a:fillRect/>
          </a:stretch>
        </p:blipFill>
        <p:spPr>
          <a:xfrm>
            <a:off x="10121526" y="5662710"/>
            <a:ext cx="1684992" cy="584243"/>
          </a:xfrm>
          <a:prstGeom prst="rect">
            <a:avLst/>
          </a:prstGeom>
        </p:spPr>
      </p:pic>
    </p:spTree>
    <p:extLst>
      <p:ext uri="{BB962C8B-B14F-4D97-AF65-F5344CB8AC3E}">
        <p14:creationId xmlns:p14="http://schemas.microsoft.com/office/powerpoint/2010/main" val="25898983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163F91-5CD2-88A5-6F45-0B9D02C1FEE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0408F5A-F364-8D3D-5EF3-8BB43397FE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solidFill>
                  <a:schemeClr val="accent2"/>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1"/>
            <a:r>
              <a:rPr lang="en-US"/>
              <a:t>Click to edit Master subtitle style</a:t>
            </a:r>
          </a:p>
        </p:txBody>
      </p:sp>
      <p:sp>
        <p:nvSpPr>
          <p:cNvPr id="4" name="Date Placeholder 3">
            <a:extLst>
              <a:ext uri="{FF2B5EF4-FFF2-40B4-BE49-F238E27FC236}">
                <a16:creationId xmlns:a16="http://schemas.microsoft.com/office/drawing/2014/main" id="{2231EE56-5C6D-9E89-3CBC-F81FC21909B5}"/>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5" name="Footer Placeholder 4">
            <a:extLst>
              <a:ext uri="{FF2B5EF4-FFF2-40B4-BE49-F238E27FC236}">
                <a16:creationId xmlns:a16="http://schemas.microsoft.com/office/drawing/2014/main" id="{D2B74E14-18E5-9BCD-821A-BEA7631436F3}"/>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 name="Slide Number Placeholder 5">
            <a:extLst>
              <a:ext uri="{FF2B5EF4-FFF2-40B4-BE49-F238E27FC236}">
                <a16:creationId xmlns:a16="http://schemas.microsoft.com/office/drawing/2014/main" id="{C86A3CEA-E2CD-438B-2BA2-268F46A7FD3D}"/>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7" name="Rectangle 6">
            <a:extLst>
              <a:ext uri="{FF2B5EF4-FFF2-40B4-BE49-F238E27FC236}">
                <a16:creationId xmlns:a16="http://schemas.microsoft.com/office/drawing/2014/main" id="{F8C89137-71C1-A066-5C7A-8EDC595D8A2C}"/>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9570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B5896-46E7-0B89-29B8-9CA76CE47A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C9CAD16-EA45-9EC1-6642-D2AE061D3E3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F2224400-7A98-7A52-005E-6C311229F977}"/>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2862E761-B1F3-1D59-4F2A-86F85BCFC1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07651" y="5991225"/>
            <a:ext cx="1463473" cy="561974"/>
          </a:xfrm>
          <a:prstGeom prst="rect">
            <a:avLst/>
          </a:prstGeom>
        </p:spPr>
      </p:pic>
    </p:spTree>
    <p:extLst>
      <p:ext uri="{BB962C8B-B14F-4D97-AF65-F5344CB8AC3E}">
        <p14:creationId xmlns:p14="http://schemas.microsoft.com/office/powerpoint/2010/main" val="2752971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B5896-46E7-0B89-29B8-9CA76CE47A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C9CAD16-EA45-9EC1-6642-D2AE061D3E3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F2224400-7A98-7A52-005E-6C311229F977}"/>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34670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198AA-9792-244E-B8E2-5654D2750CB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89C4F64-3F59-975F-A7EC-A8C1F30129AD}"/>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4" name="Footer Placeholder 3">
            <a:extLst>
              <a:ext uri="{FF2B5EF4-FFF2-40B4-BE49-F238E27FC236}">
                <a16:creationId xmlns:a16="http://schemas.microsoft.com/office/drawing/2014/main" id="{C75EC3AC-0904-7153-166F-4758B90EFED8}"/>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 name="Slide Number Placeholder 4">
            <a:extLst>
              <a:ext uri="{FF2B5EF4-FFF2-40B4-BE49-F238E27FC236}">
                <a16:creationId xmlns:a16="http://schemas.microsoft.com/office/drawing/2014/main" id="{20008491-34A6-AFC6-6AED-0E26209F2C66}"/>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7" name="Rectangle 6">
            <a:extLst>
              <a:ext uri="{FF2B5EF4-FFF2-40B4-BE49-F238E27FC236}">
                <a16:creationId xmlns:a16="http://schemas.microsoft.com/office/drawing/2014/main" id="{E056A2B4-428F-6C1F-69EF-994FF6FAACD8}"/>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2">
            <a:extLst>
              <a:ext uri="{FF2B5EF4-FFF2-40B4-BE49-F238E27FC236}">
                <a16:creationId xmlns:a16="http://schemas.microsoft.com/office/drawing/2014/main" id="{A1F6F68B-6FD8-4396-B45D-F90AF0295152}"/>
              </a:ext>
            </a:extLst>
          </p:cNvPr>
          <p:cNvSpPr>
            <a:spLocks noGrp="1"/>
          </p:cNvSpPr>
          <p:nvPr>
            <p:ph type="body" idx="1"/>
          </p:nvPr>
        </p:nvSpPr>
        <p:spPr>
          <a:xfrm>
            <a:off x="831850" y="1773238"/>
            <a:ext cx="10515600" cy="1500187"/>
          </a:xfrm>
        </p:spPr>
        <p:txBody>
          <a:bodyPr/>
          <a:lstStyle>
            <a:lvl1pPr marL="0" indent="0">
              <a:buNone/>
              <a:defRPr sz="24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821650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8378B-57E0-D1B7-0C39-EA7AC3003CC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832C171-5089-9C72-AF76-6733320F24B3}"/>
              </a:ext>
            </a:extLst>
          </p:cNvPr>
          <p:cNvSpPr>
            <a:spLocks noGrp="1"/>
          </p:cNvSpPr>
          <p:nvPr>
            <p:ph type="body" idx="1"/>
          </p:nvPr>
        </p:nvSpPr>
        <p:spPr>
          <a:xfrm>
            <a:off x="831850" y="4589463"/>
            <a:ext cx="10515600" cy="1500187"/>
          </a:xfrm>
        </p:spPr>
        <p:txBody>
          <a:bodyPr/>
          <a:lstStyle>
            <a:lvl1pPr marL="0" indent="0">
              <a:buNone/>
              <a:defRPr sz="24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B41121-FC11-70B2-185E-B05510EE08DD}"/>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5" name="Footer Placeholder 4">
            <a:extLst>
              <a:ext uri="{FF2B5EF4-FFF2-40B4-BE49-F238E27FC236}">
                <a16:creationId xmlns:a16="http://schemas.microsoft.com/office/drawing/2014/main" id="{16D10D6C-AF06-030D-3318-C043EAECCD4F}"/>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 name="Slide Number Placeholder 5">
            <a:extLst>
              <a:ext uri="{FF2B5EF4-FFF2-40B4-BE49-F238E27FC236}">
                <a16:creationId xmlns:a16="http://schemas.microsoft.com/office/drawing/2014/main" id="{864E0716-285E-99EF-608C-5822B1074319}"/>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8" name="Rectangle 7">
            <a:extLst>
              <a:ext uri="{FF2B5EF4-FFF2-40B4-BE49-F238E27FC236}">
                <a16:creationId xmlns:a16="http://schemas.microsoft.com/office/drawing/2014/main" id="{E2AFBECD-5A9B-865A-0C06-F4C5692C0F82}"/>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88634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B5896-46E7-0B89-29B8-9CA76CE47A49}"/>
              </a:ext>
            </a:extLst>
          </p:cNvPr>
          <p:cNvSpPr>
            <a:spLocks noGrp="1"/>
          </p:cNvSpPr>
          <p:nvPr>
            <p:ph type="title"/>
          </p:nvPr>
        </p:nvSpPr>
        <p:spPr/>
        <p:txBody>
          <a:bodyPr/>
          <a:lstStyle>
            <a:lvl1pPr>
              <a:defRPr>
                <a:solidFill>
                  <a:srgbClr val="00416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C9CAD16-EA45-9EC1-6642-D2AE061D3E31}"/>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B9F6CA-5C32-6E25-5593-5404EAF830C6}"/>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5" name="Footer Placeholder 4">
            <a:extLst>
              <a:ext uri="{FF2B5EF4-FFF2-40B4-BE49-F238E27FC236}">
                <a16:creationId xmlns:a16="http://schemas.microsoft.com/office/drawing/2014/main" id="{60415AE9-0A3F-F758-EAE4-3FEB699D3523}"/>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 name="Slide Number Placeholder 5">
            <a:extLst>
              <a:ext uri="{FF2B5EF4-FFF2-40B4-BE49-F238E27FC236}">
                <a16:creationId xmlns:a16="http://schemas.microsoft.com/office/drawing/2014/main" id="{A6598D03-5483-666F-4063-9A1F7CFCAF68}"/>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7" name="Rectangle 6">
            <a:extLst>
              <a:ext uri="{FF2B5EF4-FFF2-40B4-BE49-F238E27FC236}">
                <a16:creationId xmlns:a16="http://schemas.microsoft.com/office/drawing/2014/main" id="{FD6516D2-9E04-AFEF-122D-AF9CDA8E97C8}"/>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92825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NAV - Table of Conten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77C1C2-5212-46CA-A4CB-0C7B60E55265}"/>
              </a:ext>
            </a:extLst>
          </p:cNvPr>
          <p:cNvGraphicFramePr>
            <a:graphicFrameLocks noChangeAspect="1"/>
          </p:cNvGraphicFramePr>
          <p:nvPr userDrawn="1">
            <p:custDataLst>
              <p:tags r:id="rId1"/>
            </p:custDataLst>
            <p:extLst>
              <p:ext uri="{D42A27DB-BD31-4B8C-83A1-F6EECF244321}">
                <p14:modId xmlns:p14="http://schemas.microsoft.com/office/powerpoint/2010/main" val="1013971522"/>
              </p:ext>
            </p:extLst>
          </p:nvPr>
        </p:nvGraphicFramePr>
        <p:xfrm>
          <a:off x="1699" y="1702"/>
          <a:ext cx="1699" cy="1701"/>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3" name="Object 2" hidden="1">
                        <a:extLst>
                          <a:ext uri="{FF2B5EF4-FFF2-40B4-BE49-F238E27FC236}">
                            <a16:creationId xmlns:a16="http://schemas.microsoft.com/office/drawing/2014/main" id="{7877C1C2-5212-46CA-A4CB-0C7B60E55265}"/>
                          </a:ext>
                        </a:extLst>
                      </p:cNvPr>
                      <p:cNvPicPr/>
                      <p:nvPr/>
                    </p:nvPicPr>
                    <p:blipFill>
                      <a:blip r:embed="rId4"/>
                      <a:stretch>
                        <a:fillRect/>
                      </a:stretch>
                    </p:blipFill>
                    <p:spPr>
                      <a:xfrm>
                        <a:off x="1699" y="1702"/>
                        <a:ext cx="1699" cy="1701"/>
                      </a:xfrm>
                      <a:prstGeom prst="rect">
                        <a:avLst/>
                      </a:prstGeom>
                    </p:spPr>
                  </p:pic>
                </p:oleObj>
              </mc:Fallback>
            </mc:AlternateContent>
          </a:graphicData>
        </a:graphic>
      </p:graphicFrame>
      <p:sp>
        <p:nvSpPr>
          <p:cNvPr id="6" name="Table of Contents - Table"/>
          <p:cNvSpPr>
            <a:spLocks noGrp="1"/>
          </p:cNvSpPr>
          <p:nvPr>
            <p:ph type="tbl" sz="quarter" idx="10"/>
          </p:nvPr>
        </p:nvSpPr>
        <p:spPr>
          <a:xfrm>
            <a:off x="665020" y="1425039"/>
            <a:ext cx="10850880" cy="4518944"/>
          </a:xfrm>
        </p:spPr>
        <p:txBody>
          <a:bodyPr/>
          <a:lstStyle>
            <a:lvl1pPr>
              <a:defRPr>
                <a:latin typeface="Montserrat" pitchFamily="2" charset="77"/>
                <a:sym typeface="Century Gothic" panose="020B0502020202020204" pitchFamily="34" charset="0"/>
              </a:defRPr>
            </a:lvl1pPr>
          </a:lstStyle>
          <a:p>
            <a:r>
              <a:rPr lang="en-US"/>
              <a:t>Click icon to add table</a:t>
            </a:r>
          </a:p>
        </p:txBody>
      </p:sp>
      <p:sp>
        <p:nvSpPr>
          <p:cNvPr id="7" name="Slide - Page Number"/>
          <p:cNvSpPr>
            <a:spLocks noGrp="1"/>
          </p:cNvSpPr>
          <p:nvPr>
            <p:ph type="body" sz="quarter" idx="35" hasCustomPrompt="1"/>
          </p:nvPr>
        </p:nvSpPr>
        <p:spPr>
          <a:xfrm>
            <a:off x="11271134" y="6422318"/>
            <a:ext cx="277091" cy="112955"/>
          </a:xfrm>
        </p:spPr>
        <p:txBody>
          <a:bodyPr tIns="0" bIns="0" anchor="t" anchorCtr="0">
            <a:noAutofit/>
          </a:bodyPr>
          <a:lstStyle>
            <a:lvl1pPr marL="0" indent="0" algn="r">
              <a:buNone/>
              <a:defRPr sz="856">
                <a:latin typeface="Century Gothic" panose="020B0502020202020204" pitchFamily="34" charset="0"/>
                <a:sym typeface="Century Gothic" panose="020B0502020202020204" pitchFamily="34" charset="0"/>
              </a:defRPr>
            </a:lvl1pPr>
          </a:lstStyle>
          <a:p>
            <a:pPr lvl="0"/>
            <a:r>
              <a:rPr lang="en-US"/>
              <a:t>#</a:t>
            </a:r>
          </a:p>
        </p:txBody>
      </p:sp>
      <p:sp>
        <p:nvSpPr>
          <p:cNvPr id="5" name="Slide - Title"/>
          <p:cNvSpPr>
            <a:spLocks noGrp="1"/>
          </p:cNvSpPr>
          <p:nvPr>
            <p:ph type="title" hasCustomPrompt="1"/>
          </p:nvPr>
        </p:nvSpPr>
        <p:spPr>
          <a:xfrm>
            <a:off x="665020" y="385715"/>
            <a:ext cx="10861964" cy="723088"/>
          </a:xfrm>
          <a:prstGeom prst="rect">
            <a:avLst/>
          </a:prstGeom>
        </p:spPr>
        <p:txBody>
          <a:bodyPr vert="horz" lIns="0" tIns="45720" rIns="45720" bIns="0" rtlCol="0" anchor="t" anchorCtr="0">
            <a:normAutofit/>
          </a:bodyPr>
          <a:lstStyle>
            <a:lvl1pPr>
              <a:defRPr>
                <a:latin typeface="Montserrat" pitchFamily="2" charset="77"/>
                <a:sym typeface="Century Gothic" panose="020B0502020202020204" pitchFamily="34" charset="0"/>
              </a:defRPr>
            </a:lvl1pPr>
          </a:lstStyle>
          <a:p>
            <a:r>
              <a:rPr lang="en-US"/>
              <a:t>Slide Title</a:t>
            </a:r>
          </a:p>
        </p:txBody>
      </p:sp>
      <p:sp>
        <p:nvSpPr>
          <p:cNvPr id="2" name="Rectangle 1">
            <a:extLst>
              <a:ext uri="{FF2B5EF4-FFF2-40B4-BE49-F238E27FC236}">
                <a16:creationId xmlns:a16="http://schemas.microsoft.com/office/drawing/2014/main" id="{E4319F7D-EF29-FC9E-DE84-486F272B0910}"/>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0297995"/>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8DB46-9F97-D09E-3110-C62005865665}"/>
              </a:ext>
            </a:extLst>
          </p:cNvPr>
          <p:cNvSpPr>
            <a:spLocks noGrp="1"/>
          </p:cNvSpPr>
          <p:nvPr>
            <p:ph type="title" hasCustomPrompt="1"/>
          </p:nvPr>
        </p:nvSpPr>
        <p:spPr>
          <a:xfrm>
            <a:off x="6881446" y="1106285"/>
            <a:ext cx="4472354" cy="790249"/>
          </a:xfrm>
        </p:spPr>
        <p:txBody>
          <a:bodyPr>
            <a:normAutofit/>
          </a:bodyPr>
          <a:lstStyle>
            <a:lvl1pPr>
              <a:defRPr sz="3600"/>
            </a:lvl1pPr>
          </a:lstStyle>
          <a:p>
            <a:r>
              <a:rPr lang="en-US"/>
              <a:t>Agenda</a:t>
            </a:r>
          </a:p>
        </p:txBody>
      </p:sp>
      <p:sp>
        <p:nvSpPr>
          <p:cNvPr id="3" name="Content Placeholder 2">
            <a:extLst>
              <a:ext uri="{FF2B5EF4-FFF2-40B4-BE49-F238E27FC236}">
                <a16:creationId xmlns:a16="http://schemas.microsoft.com/office/drawing/2014/main" id="{1FD198F4-2C5D-F517-B8C2-83C0F0CB4BD1}"/>
              </a:ext>
            </a:extLst>
          </p:cNvPr>
          <p:cNvSpPr>
            <a:spLocks noGrp="1"/>
          </p:cNvSpPr>
          <p:nvPr>
            <p:ph idx="1" hasCustomPrompt="1"/>
          </p:nvPr>
        </p:nvSpPr>
        <p:spPr>
          <a:xfrm>
            <a:off x="6881446" y="2024919"/>
            <a:ext cx="4472354" cy="2580949"/>
          </a:xfrm>
        </p:spPr>
        <p:txBody>
          <a:bodyPr>
            <a:normAutofit/>
          </a:bodyPr>
          <a:lstStyle>
            <a:lvl1pPr marL="457200" indent="-457200">
              <a:lnSpc>
                <a:spcPct val="120000"/>
              </a:lnSpc>
              <a:spcBef>
                <a:spcPts val="0"/>
              </a:spcBef>
              <a:buFont typeface="Arial" panose="020B0604020202020204" pitchFamily="34" charset="0"/>
              <a:buChar char="•"/>
              <a:defRPr/>
            </a:lvl1pPr>
          </a:lstStyle>
          <a:p>
            <a:pPr marL="457200" indent="-457200">
              <a:lnSpc>
                <a:spcPct val="120000"/>
              </a:lnSpc>
              <a:buAutoNum type="arabicPeriod"/>
              <a:defRPr/>
            </a:pPr>
            <a:r>
              <a:rPr lang="en-US" sz="2800">
                <a:solidFill>
                  <a:schemeClr val="tx1">
                    <a:lumMod val="85000"/>
                    <a:lumOff val="15000"/>
                  </a:schemeClr>
                </a:solidFill>
                <a:latin typeface="Montserrat" charset="0"/>
                <a:ea typeface="Montserrat" charset="0"/>
                <a:cs typeface="Montserrat" charset="0"/>
              </a:rPr>
              <a:t>Item 1</a:t>
            </a:r>
          </a:p>
          <a:p>
            <a:pPr marL="457200" indent="-457200">
              <a:lnSpc>
                <a:spcPct val="120000"/>
              </a:lnSpc>
              <a:buAutoNum type="arabicPeriod"/>
              <a:defRPr/>
            </a:pPr>
            <a:r>
              <a:rPr lang="en-US" sz="2800">
                <a:solidFill>
                  <a:schemeClr val="tx1">
                    <a:lumMod val="85000"/>
                    <a:lumOff val="15000"/>
                  </a:schemeClr>
                </a:solidFill>
                <a:latin typeface="Montserrat" charset="0"/>
                <a:ea typeface="Montserrat" charset="0"/>
                <a:cs typeface="Montserrat" charset="0"/>
              </a:rPr>
              <a:t>Item 2</a:t>
            </a:r>
          </a:p>
          <a:p>
            <a:pPr marL="457200" indent="-457200">
              <a:lnSpc>
                <a:spcPct val="120000"/>
              </a:lnSpc>
              <a:buAutoNum type="arabicPeriod"/>
              <a:defRPr/>
            </a:pPr>
            <a:r>
              <a:rPr lang="en-US" sz="2800">
                <a:solidFill>
                  <a:schemeClr val="tx1">
                    <a:lumMod val="85000"/>
                    <a:lumOff val="15000"/>
                  </a:schemeClr>
                </a:solidFill>
                <a:latin typeface="Montserrat" charset="0"/>
                <a:ea typeface="Montserrat" charset="0"/>
                <a:cs typeface="Montserrat" charset="0"/>
              </a:rPr>
              <a:t>Item 3</a:t>
            </a:r>
          </a:p>
          <a:p>
            <a:pPr marL="457200" indent="-457200">
              <a:lnSpc>
                <a:spcPct val="120000"/>
              </a:lnSpc>
              <a:buAutoNum type="arabicPeriod"/>
              <a:defRPr/>
            </a:pPr>
            <a:r>
              <a:rPr lang="en-US" sz="2800">
                <a:solidFill>
                  <a:schemeClr val="tx1">
                    <a:lumMod val="85000"/>
                    <a:lumOff val="15000"/>
                  </a:schemeClr>
                </a:solidFill>
                <a:latin typeface="Montserrat" charset="0"/>
                <a:ea typeface="Montserrat" charset="0"/>
                <a:cs typeface="Montserrat" charset="0"/>
              </a:rPr>
              <a:t>Item 4</a:t>
            </a:r>
          </a:p>
        </p:txBody>
      </p:sp>
      <p:sp>
        <p:nvSpPr>
          <p:cNvPr id="12" name="Content Placeholder 2">
            <a:extLst>
              <a:ext uri="{FF2B5EF4-FFF2-40B4-BE49-F238E27FC236}">
                <a16:creationId xmlns:a16="http://schemas.microsoft.com/office/drawing/2014/main" id="{23F1E920-94A0-8540-E5EB-74B523E475CB}"/>
              </a:ext>
            </a:extLst>
          </p:cNvPr>
          <p:cNvSpPr>
            <a:spLocks noGrp="1"/>
          </p:cNvSpPr>
          <p:nvPr>
            <p:ph idx="11" hasCustomPrompt="1"/>
          </p:nvPr>
        </p:nvSpPr>
        <p:spPr>
          <a:xfrm>
            <a:off x="6881446" y="4920519"/>
            <a:ext cx="4345354" cy="1327881"/>
          </a:xfrm>
        </p:spPr>
        <p:txBody>
          <a:bodyPr>
            <a:noAutofit/>
          </a:bodyPr>
          <a:lstStyle>
            <a:lvl1pPr marL="0" indent="0">
              <a:lnSpc>
                <a:spcPct val="0"/>
              </a:lnSpc>
              <a:spcBef>
                <a:spcPts val="0"/>
              </a:spcBef>
              <a:buNone/>
              <a:defRPr sz="2000"/>
            </a:lvl1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schemeClr val="tx2"/>
                </a:solidFill>
                <a:effectLst/>
                <a:uLnTx/>
                <a:uFillTx/>
                <a:ea typeface="Montserrat" charset="0"/>
                <a:cs typeface="Montserrat" charset="0"/>
              </a:rPr>
              <a:t>Main Goal</a:t>
            </a:r>
            <a:endParaRPr kumimoji="0" lang="en-US" sz="2000" b="1" i="0" u="none" strike="noStrike" kern="1200" cap="none" spc="0" normalizeH="0" baseline="0" noProof="0">
              <a:ln>
                <a:noFill/>
              </a:ln>
              <a:solidFill>
                <a:schemeClr val="tx2"/>
              </a:solidFill>
              <a:effectLst/>
              <a:uLnTx/>
              <a:uFillTx/>
              <a:latin typeface="Montserrat" pitchFamily="2" charset="77"/>
              <a:ea typeface="Montserrat" charset="0"/>
              <a:cs typeface="Montserrat"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2800">
                <a:solidFill>
                  <a:schemeClr val="tx1">
                    <a:lumMod val="85000"/>
                    <a:lumOff val="15000"/>
                  </a:schemeClr>
                </a:solidFill>
                <a:latin typeface="Montserrat" charset="0"/>
                <a:ea typeface="Montserrat" charset="0"/>
                <a:cs typeface="Montserrat" charset="0"/>
              </a:rPr>
              <a:t>What’s this presentation about?</a:t>
            </a:r>
          </a:p>
        </p:txBody>
      </p:sp>
      <p:sp>
        <p:nvSpPr>
          <p:cNvPr id="5" name="Picture Placeholder 2">
            <a:extLst>
              <a:ext uri="{FF2B5EF4-FFF2-40B4-BE49-F238E27FC236}">
                <a16:creationId xmlns:a16="http://schemas.microsoft.com/office/drawing/2014/main" id="{B8FD99D0-3279-B919-2A92-1E8FFF9C5A8E}"/>
              </a:ext>
            </a:extLst>
          </p:cNvPr>
          <p:cNvSpPr>
            <a:spLocks noGrp="1"/>
          </p:cNvSpPr>
          <p:nvPr>
            <p:ph type="pic" idx="19" hasCustomPrompt="1"/>
          </p:nvPr>
        </p:nvSpPr>
        <p:spPr>
          <a:xfrm>
            <a:off x="0" y="0"/>
            <a:ext cx="6096000" cy="6858000"/>
          </a:xfrm>
        </p:spPr>
        <p:txBody>
          <a:bodyPr lIns="0" tIns="0" rIns="0" bIns="0" anchor="ctr" anchorCtr="0">
            <a:normAutofit/>
          </a:bodyPr>
          <a:lstStyle>
            <a:lvl1pPr marL="0" indent="0" algn="ctr">
              <a:buNone/>
              <a:defRPr sz="1800" b="1">
                <a:solidFill>
                  <a:srgbClr val="3EB1C8"/>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Tree>
    <p:extLst>
      <p:ext uri="{BB962C8B-B14F-4D97-AF65-F5344CB8AC3E}">
        <p14:creationId xmlns:p14="http://schemas.microsoft.com/office/powerpoint/2010/main" val="21614297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0E66D-36F4-8066-4E6D-64D8F45139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C5A189-82DD-FA43-6F33-78E5DB51C64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947DC6C-5590-4B9F-C286-81C1DDB129B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DBFAC39-AFED-DB9C-F31A-4B2F05EA2DC8}"/>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6" name="Footer Placeholder 5">
            <a:extLst>
              <a:ext uri="{FF2B5EF4-FFF2-40B4-BE49-F238E27FC236}">
                <a16:creationId xmlns:a16="http://schemas.microsoft.com/office/drawing/2014/main" id="{0A7B34AD-4C36-97DD-5851-DE8E205CAD67}"/>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 name="Slide Number Placeholder 6">
            <a:extLst>
              <a:ext uri="{FF2B5EF4-FFF2-40B4-BE49-F238E27FC236}">
                <a16:creationId xmlns:a16="http://schemas.microsoft.com/office/drawing/2014/main" id="{FB2F4372-49C4-B82A-2682-85D2582B1665}"/>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9" name="Rectangle 8">
            <a:extLst>
              <a:ext uri="{FF2B5EF4-FFF2-40B4-BE49-F238E27FC236}">
                <a16:creationId xmlns:a16="http://schemas.microsoft.com/office/drawing/2014/main" id="{DE36B929-0FDF-5C74-08D8-52AB90B5FBDB}"/>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787917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6_Picture with Caption">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E18CBFB3-5031-4B6A-F498-676AE0C0C796}"/>
              </a:ext>
            </a:extLst>
          </p:cNvPr>
          <p:cNvSpPr>
            <a:spLocks noGrp="1"/>
          </p:cNvSpPr>
          <p:nvPr>
            <p:ph type="title" hasCustomPrompt="1"/>
          </p:nvPr>
        </p:nvSpPr>
        <p:spPr>
          <a:xfrm>
            <a:off x="839788" y="479505"/>
            <a:ext cx="9741674" cy="801577"/>
          </a:xfrm>
        </p:spPr>
        <p:txBody>
          <a:bodyPr anchor="b" anchorCtr="0">
            <a:noAutofit/>
          </a:bodyPr>
          <a:lstStyle>
            <a:lvl1pPr>
              <a:defRPr sz="4400">
                <a:solidFill>
                  <a:schemeClr val="accent1"/>
                </a:solidFill>
              </a:defRPr>
            </a:lvl1pPr>
          </a:lstStyle>
          <a:p>
            <a:r>
              <a:rPr lang="en-US"/>
              <a:t>Title Goes Here</a:t>
            </a:r>
          </a:p>
        </p:txBody>
      </p:sp>
      <p:sp>
        <p:nvSpPr>
          <p:cNvPr id="9" name="Content Placeholder 2">
            <a:extLst>
              <a:ext uri="{FF2B5EF4-FFF2-40B4-BE49-F238E27FC236}">
                <a16:creationId xmlns:a16="http://schemas.microsoft.com/office/drawing/2014/main" id="{8B30CB28-3151-D8F3-342E-2379679917B8}"/>
              </a:ext>
            </a:extLst>
          </p:cNvPr>
          <p:cNvSpPr>
            <a:spLocks noGrp="1"/>
          </p:cNvSpPr>
          <p:nvPr>
            <p:ph sz="half" idx="18"/>
          </p:nvPr>
        </p:nvSpPr>
        <p:spPr>
          <a:xfrm>
            <a:off x="839788" y="1740880"/>
            <a:ext cx="4347673" cy="650629"/>
          </a:xfrm>
        </p:spPr>
        <p:txBody>
          <a:bodyPr>
            <a:normAutofit/>
          </a:bodyPr>
          <a:lstStyle>
            <a:lvl1pPr marL="0" indent="0" algn="ctr">
              <a:buNone/>
              <a:defRPr sz="2400" b="1">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a:t>
            </a:r>
          </a:p>
        </p:txBody>
      </p:sp>
      <p:sp>
        <p:nvSpPr>
          <p:cNvPr id="10" name="Picture Placeholder 2">
            <a:extLst>
              <a:ext uri="{FF2B5EF4-FFF2-40B4-BE49-F238E27FC236}">
                <a16:creationId xmlns:a16="http://schemas.microsoft.com/office/drawing/2014/main" id="{2CB59B3B-8858-126C-4548-D05E777F6A1F}"/>
              </a:ext>
            </a:extLst>
          </p:cNvPr>
          <p:cNvSpPr>
            <a:spLocks noGrp="1"/>
          </p:cNvSpPr>
          <p:nvPr>
            <p:ph type="pic" idx="19" hasCustomPrompt="1"/>
          </p:nvPr>
        </p:nvSpPr>
        <p:spPr>
          <a:xfrm>
            <a:off x="839788" y="2482029"/>
            <a:ext cx="4347673" cy="3509196"/>
          </a:xfrm>
        </p:spPr>
        <p:txBody>
          <a:bodyPr lIns="0" tIns="0" rIns="0" bIns="0" anchor="ctr" anchorCtr="0">
            <a:normAutofit/>
          </a:bodyPr>
          <a:lstStyle>
            <a:lvl1pPr marL="0" indent="0" algn="ctr">
              <a:buNone/>
              <a:defRPr sz="1800" b="1">
                <a:solidFill>
                  <a:schemeClr val="tx2">
                    <a:lumMod val="50000"/>
                    <a:lumOff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
        <p:nvSpPr>
          <p:cNvPr id="14" name="Content Placeholder 2">
            <a:extLst>
              <a:ext uri="{FF2B5EF4-FFF2-40B4-BE49-F238E27FC236}">
                <a16:creationId xmlns:a16="http://schemas.microsoft.com/office/drawing/2014/main" id="{3D97CCD4-F20B-63F6-3CD5-F176D4518553}"/>
              </a:ext>
            </a:extLst>
          </p:cNvPr>
          <p:cNvSpPr>
            <a:spLocks noGrp="1"/>
          </p:cNvSpPr>
          <p:nvPr>
            <p:ph sz="half" idx="20"/>
          </p:nvPr>
        </p:nvSpPr>
        <p:spPr>
          <a:xfrm>
            <a:off x="5596427" y="1740880"/>
            <a:ext cx="4347673" cy="650629"/>
          </a:xfrm>
        </p:spPr>
        <p:txBody>
          <a:bodyPr>
            <a:normAutofit/>
          </a:bodyPr>
          <a:lstStyle>
            <a:lvl1pPr marL="0" indent="0" algn="ctr">
              <a:buNone/>
              <a:defRPr sz="2400" b="1">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a:t>
            </a:r>
          </a:p>
        </p:txBody>
      </p:sp>
      <p:sp>
        <p:nvSpPr>
          <p:cNvPr id="15" name="Picture Placeholder 2">
            <a:extLst>
              <a:ext uri="{FF2B5EF4-FFF2-40B4-BE49-F238E27FC236}">
                <a16:creationId xmlns:a16="http://schemas.microsoft.com/office/drawing/2014/main" id="{ECC023DB-A00A-60C8-FD19-483AA9F8F77E}"/>
              </a:ext>
            </a:extLst>
          </p:cNvPr>
          <p:cNvSpPr>
            <a:spLocks noGrp="1"/>
          </p:cNvSpPr>
          <p:nvPr>
            <p:ph type="pic" idx="21" hasCustomPrompt="1"/>
          </p:nvPr>
        </p:nvSpPr>
        <p:spPr>
          <a:xfrm>
            <a:off x="5596427" y="2482029"/>
            <a:ext cx="4347673" cy="3509196"/>
          </a:xfrm>
        </p:spPr>
        <p:txBody>
          <a:bodyPr lIns="0" tIns="0" rIns="0" bIns="0" anchor="ctr" anchorCtr="0">
            <a:normAutofit/>
          </a:bodyPr>
          <a:lstStyle>
            <a:lvl1pPr marL="0" indent="0" algn="ctr">
              <a:buNone/>
              <a:defRPr sz="1800" b="1">
                <a:solidFill>
                  <a:schemeClr val="tx2">
                    <a:lumMod val="50000"/>
                    <a:lumOff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
        <p:nvSpPr>
          <p:cNvPr id="4" name="Rectangle 3">
            <a:extLst>
              <a:ext uri="{FF2B5EF4-FFF2-40B4-BE49-F238E27FC236}">
                <a16:creationId xmlns:a16="http://schemas.microsoft.com/office/drawing/2014/main" id="{A95B38BF-5077-A747-68A8-CF3336C49972}"/>
              </a:ext>
            </a:extLst>
          </p:cNvPr>
          <p:cNvSpPr/>
          <p:nvPr userDrawn="1"/>
        </p:nvSpPr>
        <p:spPr>
          <a:xfrm rot="10800000" flipH="1">
            <a:off x="0" y="6721475"/>
            <a:ext cx="12192000" cy="136526"/>
          </a:xfrm>
          <a:prstGeom prst="rect">
            <a:avLst/>
          </a:prstGeom>
          <a:gradFill>
            <a:gsLst>
              <a:gs pos="95000">
                <a:srgbClr val="007DB2"/>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7300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Minimal_Brand">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611BD1-6BDE-1F0E-9838-F9EC19E1DAFD}"/>
              </a:ext>
            </a:extLst>
          </p:cNvPr>
          <p:cNvPicPr>
            <a:picLocks noChangeAspect="1"/>
          </p:cNvPicPr>
          <p:nvPr userDrawn="1"/>
        </p:nvPicPr>
        <p:blipFill rotWithShape="1">
          <a:blip r:embed="rId2"/>
          <a:srcRect r="34694"/>
          <a:stretch/>
        </p:blipFill>
        <p:spPr>
          <a:xfrm>
            <a:off x="9712960" y="5376721"/>
            <a:ext cx="2479040" cy="1155863"/>
          </a:xfrm>
          <a:prstGeom prst="rect">
            <a:avLst/>
          </a:prstGeom>
        </p:spPr>
      </p:pic>
      <p:sp>
        <p:nvSpPr>
          <p:cNvPr id="11" name="Title 1">
            <a:extLst>
              <a:ext uri="{FF2B5EF4-FFF2-40B4-BE49-F238E27FC236}">
                <a16:creationId xmlns:a16="http://schemas.microsoft.com/office/drawing/2014/main" id="{6FE52927-AA56-AD7A-5DA1-48C2081BCDD4}"/>
              </a:ext>
            </a:extLst>
          </p:cNvPr>
          <p:cNvSpPr>
            <a:spLocks noGrp="1"/>
          </p:cNvSpPr>
          <p:nvPr>
            <p:ph type="ctrTitle" hasCustomPrompt="1"/>
          </p:nvPr>
        </p:nvSpPr>
        <p:spPr>
          <a:xfrm>
            <a:off x="914400" y="1468825"/>
            <a:ext cx="9144000" cy="2041137"/>
          </a:xfrm>
        </p:spPr>
        <p:txBody>
          <a:bodyPr anchor="b">
            <a:normAutofit/>
          </a:bodyPr>
          <a:lstStyle>
            <a:lvl1pPr algn="l">
              <a:defRPr sz="4400" b="1">
                <a:solidFill>
                  <a:schemeClr val="bg1"/>
                </a:solidFill>
              </a:defRPr>
            </a:lvl1pPr>
          </a:lstStyle>
          <a:p>
            <a:r>
              <a:rPr lang="en-US"/>
              <a:t>The Title of a Section Goes Here and it Can Be Two Lines</a:t>
            </a:r>
          </a:p>
        </p:txBody>
      </p:sp>
      <p:sp>
        <p:nvSpPr>
          <p:cNvPr id="12" name="Subtitle 2">
            <a:extLst>
              <a:ext uri="{FF2B5EF4-FFF2-40B4-BE49-F238E27FC236}">
                <a16:creationId xmlns:a16="http://schemas.microsoft.com/office/drawing/2014/main" id="{71637214-C6A8-76F2-93CA-A1B6CA1D259A}"/>
              </a:ext>
            </a:extLst>
          </p:cNvPr>
          <p:cNvSpPr>
            <a:spLocks noGrp="1"/>
          </p:cNvSpPr>
          <p:nvPr>
            <p:ph type="subTitle" idx="1" hasCustomPrompt="1"/>
          </p:nvPr>
        </p:nvSpPr>
        <p:spPr>
          <a:xfrm>
            <a:off x="914400" y="3602038"/>
            <a:ext cx="91440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is a space for a subtitle</a:t>
            </a:r>
          </a:p>
        </p:txBody>
      </p:sp>
      <p:pic>
        <p:nvPicPr>
          <p:cNvPr id="7" name="Picture 6">
            <a:extLst>
              <a:ext uri="{FF2B5EF4-FFF2-40B4-BE49-F238E27FC236}">
                <a16:creationId xmlns:a16="http://schemas.microsoft.com/office/drawing/2014/main" id="{1BC718C4-0E29-628C-4F45-7894C8E2779D}"/>
              </a:ext>
            </a:extLst>
          </p:cNvPr>
          <p:cNvPicPr>
            <a:picLocks noChangeAspect="1"/>
          </p:cNvPicPr>
          <p:nvPr userDrawn="1"/>
        </p:nvPicPr>
        <p:blipFill>
          <a:blip r:embed="rId3"/>
          <a:stretch>
            <a:fillRect/>
          </a:stretch>
        </p:blipFill>
        <p:spPr>
          <a:xfrm>
            <a:off x="10121526" y="5662710"/>
            <a:ext cx="1684992" cy="584243"/>
          </a:xfrm>
          <a:prstGeom prst="rect">
            <a:avLst/>
          </a:prstGeom>
        </p:spPr>
      </p:pic>
    </p:spTree>
    <p:extLst>
      <p:ext uri="{BB962C8B-B14F-4D97-AF65-F5344CB8AC3E}">
        <p14:creationId xmlns:p14="http://schemas.microsoft.com/office/powerpoint/2010/main" val="3038172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3A8E1-1BDD-F688-1189-11B5CCC41A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82CB1EC-9B6C-331E-255B-54CCEB3AB192}"/>
              </a:ext>
            </a:extLst>
          </p:cNvPr>
          <p:cNvSpPr>
            <a:spLocks noGrp="1"/>
          </p:cNvSpPr>
          <p:nvPr>
            <p:ph type="body" idx="1"/>
          </p:nvPr>
        </p:nvSpPr>
        <p:spPr>
          <a:xfrm>
            <a:off x="839788" y="1681163"/>
            <a:ext cx="5157787" cy="823912"/>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29F25F0-69CE-7361-A917-30B7F8BC6C2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1BCCD4B-23F0-BBF3-180F-5BA1934C246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D98FA5C-9F7C-A1D0-84A9-4973079D2A2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73DFD26-6F88-9E10-5EE2-F5C3D3A348EF}"/>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8" name="Footer Placeholder 7">
            <a:extLst>
              <a:ext uri="{FF2B5EF4-FFF2-40B4-BE49-F238E27FC236}">
                <a16:creationId xmlns:a16="http://schemas.microsoft.com/office/drawing/2014/main" id="{932E3CD1-C21F-BD17-06FA-39551FF5CA83}"/>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 name="Slide Number Placeholder 8">
            <a:extLst>
              <a:ext uri="{FF2B5EF4-FFF2-40B4-BE49-F238E27FC236}">
                <a16:creationId xmlns:a16="http://schemas.microsoft.com/office/drawing/2014/main" id="{ACD3D349-E88A-21AB-C2E4-385F1C45BF72}"/>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11" name="Rectangle 10">
            <a:extLst>
              <a:ext uri="{FF2B5EF4-FFF2-40B4-BE49-F238E27FC236}">
                <a16:creationId xmlns:a16="http://schemas.microsoft.com/office/drawing/2014/main" id="{B805A4D0-4405-FA9F-A24C-EDBE7BB7478B}"/>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170204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rt Tex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9C43533-7263-960C-2CB4-586AA97F3E41}"/>
              </a:ext>
            </a:extLst>
          </p:cNvPr>
          <p:cNvSpPr>
            <a:spLocks noGrp="1"/>
          </p:cNvSpPr>
          <p:nvPr>
            <p:ph type="title"/>
          </p:nvPr>
        </p:nvSpPr>
        <p:spPr>
          <a:xfrm>
            <a:off x="6560598" y="715108"/>
            <a:ext cx="4711141" cy="1585181"/>
          </a:xfrm>
        </p:spPr>
        <p:txBody>
          <a:bodyPr anchor="b" anchorCtr="0">
            <a:normAutofit/>
          </a:bodyPr>
          <a:lstStyle>
            <a:lvl1pPr>
              <a:defRPr sz="3600"/>
            </a:lvl1pPr>
          </a:lstStyle>
          <a:p>
            <a:r>
              <a:rPr lang="en-US"/>
              <a:t>Click to edit Master title style</a:t>
            </a:r>
          </a:p>
        </p:txBody>
      </p:sp>
      <p:sp>
        <p:nvSpPr>
          <p:cNvPr id="5" name="Content Placeholder 2">
            <a:extLst>
              <a:ext uri="{FF2B5EF4-FFF2-40B4-BE49-F238E27FC236}">
                <a16:creationId xmlns:a16="http://schemas.microsoft.com/office/drawing/2014/main" id="{C7482196-2C88-320D-8497-481FBB717C49}"/>
              </a:ext>
            </a:extLst>
          </p:cNvPr>
          <p:cNvSpPr>
            <a:spLocks noGrp="1"/>
          </p:cNvSpPr>
          <p:nvPr>
            <p:ph idx="1"/>
          </p:nvPr>
        </p:nvSpPr>
        <p:spPr>
          <a:xfrm>
            <a:off x="6560598" y="2435226"/>
            <a:ext cx="4711141" cy="37076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hart Placeholder 2">
            <a:extLst>
              <a:ext uri="{FF2B5EF4-FFF2-40B4-BE49-F238E27FC236}">
                <a16:creationId xmlns:a16="http://schemas.microsoft.com/office/drawing/2014/main" id="{586AE742-5BEF-C952-ECB9-1411E692F6B0}"/>
              </a:ext>
            </a:extLst>
          </p:cNvPr>
          <p:cNvSpPr>
            <a:spLocks noGrp="1"/>
          </p:cNvSpPr>
          <p:nvPr>
            <p:ph type="chart" sz="quarter" idx="11"/>
          </p:nvPr>
        </p:nvSpPr>
        <p:spPr>
          <a:xfrm>
            <a:off x="920750" y="714375"/>
            <a:ext cx="4974023" cy="5429250"/>
          </a:xfrm>
        </p:spPr>
        <p:txBody>
          <a:bodyPr/>
          <a:lstStyle>
            <a:lvl1pPr marL="0" indent="0">
              <a:buNone/>
              <a:defRPr/>
            </a:lvl1pPr>
          </a:lstStyle>
          <a:p>
            <a:endParaRPr lang="en-US"/>
          </a:p>
        </p:txBody>
      </p:sp>
      <p:sp>
        <p:nvSpPr>
          <p:cNvPr id="2" name="Rectangle 1">
            <a:extLst>
              <a:ext uri="{FF2B5EF4-FFF2-40B4-BE49-F238E27FC236}">
                <a16:creationId xmlns:a16="http://schemas.microsoft.com/office/drawing/2014/main" id="{47C4161A-390B-79EF-2C5B-7C95F9D78A38}"/>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82697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rt Text Subhead">
    <p:spTree>
      <p:nvGrpSpPr>
        <p:cNvPr id="1" name=""/>
        <p:cNvGrpSpPr/>
        <p:nvPr/>
      </p:nvGrpSpPr>
      <p:grpSpPr>
        <a:xfrm>
          <a:off x="0" y="0"/>
          <a:ext cx="0" cy="0"/>
          <a:chOff x="0" y="0"/>
          <a:chExt cx="0" cy="0"/>
        </a:xfrm>
      </p:grpSpPr>
      <p:sp>
        <p:nvSpPr>
          <p:cNvPr id="6" name="Chart Placeholder 2">
            <a:extLst>
              <a:ext uri="{FF2B5EF4-FFF2-40B4-BE49-F238E27FC236}">
                <a16:creationId xmlns:a16="http://schemas.microsoft.com/office/drawing/2014/main" id="{586AE742-5BEF-C952-ECB9-1411E692F6B0}"/>
              </a:ext>
            </a:extLst>
          </p:cNvPr>
          <p:cNvSpPr>
            <a:spLocks noGrp="1"/>
          </p:cNvSpPr>
          <p:nvPr>
            <p:ph type="chart" sz="quarter" idx="11"/>
          </p:nvPr>
        </p:nvSpPr>
        <p:spPr>
          <a:xfrm>
            <a:off x="920750" y="714375"/>
            <a:ext cx="4974023" cy="5429250"/>
          </a:xfrm>
        </p:spPr>
        <p:txBody>
          <a:bodyPr/>
          <a:lstStyle>
            <a:lvl1pPr marL="0" indent="0">
              <a:buNone/>
              <a:defRPr/>
            </a:lvl1pPr>
          </a:lstStyle>
          <a:p>
            <a:endParaRPr lang="en-US"/>
          </a:p>
        </p:txBody>
      </p:sp>
      <p:sp>
        <p:nvSpPr>
          <p:cNvPr id="2" name="Title 1">
            <a:extLst>
              <a:ext uri="{FF2B5EF4-FFF2-40B4-BE49-F238E27FC236}">
                <a16:creationId xmlns:a16="http://schemas.microsoft.com/office/drawing/2014/main" id="{2296307A-9CAB-FFE7-B471-B76758EDF183}"/>
              </a:ext>
            </a:extLst>
          </p:cNvPr>
          <p:cNvSpPr>
            <a:spLocks noGrp="1"/>
          </p:cNvSpPr>
          <p:nvPr>
            <p:ph type="title"/>
          </p:nvPr>
        </p:nvSpPr>
        <p:spPr>
          <a:xfrm>
            <a:off x="6799385" y="874061"/>
            <a:ext cx="4472354" cy="1585181"/>
          </a:xfrm>
        </p:spPr>
        <p:txBody>
          <a:bodyPr anchor="b" anchorCtr="0">
            <a:normAutofit/>
          </a:bodyPr>
          <a:lstStyle>
            <a:lvl1pPr>
              <a:defRPr sz="3600"/>
            </a:lvl1pPr>
          </a:lstStyle>
          <a:p>
            <a:endParaRPr lang="en-US"/>
          </a:p>
        </p:txBody>
      </p:sp>
      <p:sp>
        <p:nvSpPr>
          <p:cNvPr id="3" name="Content Placeholder 2">
            <a:extLst>
              <a:ext uri="{FF2B5EF4-FFF2-40B4-BE49-F238E27FC236}">
                <a16:creationId xmlns:a16="http://schemas.microsoft.com/office/drawing/2014/main" id="{10B6C7A3-ECFE-037C-E622-D1BB3D1621E4}"/>
              </a:ext>
            </a:extLst>
          </p:cNvPr>
          <p:cNvSpPr>
            <a:spLocks noGrp="1"/>
          </p:cNvSpPr>
          <p:nvPr>
            <p:ph idx="1"/>
          </p:nvPr>
        </p:nvSpPr>
        <p:spPr>
          <a:xfrm>
            <a:off x="6799385" y="3128759"/>
            <a:ext cx="4472354" cy="28551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BFE348F5-37C4-D1FE-14DD-0ABAE42A1B52}"/>
              </a:ext>
            </a:extLst>
          </p:cNvPr>
          <p:cNvSpPr>
            <a:spLocks noGrp="1"/>
          </p:cNvSpPr>
          <p:nvPr>
            <p:ph idx="12" hasCustomPrompt="1"/>
          </p:nvPr>
        </p:nvSpPr>
        <p:spPr>
          <a:xfrm>
            <a:off x="6799385" y="2658535"/>
            <a:ext cx="4472354" cy="491066"/>
          </a:xfrm>
        </p:spPr>
        <p:txBody>
          <a:bodyPr>
            <a:noAutofit/>
          </a:bodyPr>
          <a:lstStyle>
            <a:lvl1pPr marL="0" indent="0">
              <a:buNone/>
              <a:defRPr sz="2200" b="1">
                <a:solidFill>
                  <a:schemeClr val="accent1"/>
                </a:solidFill>
              </a:defRPr>
            </a:lvl1pPr>
            <a:lvl2pPr>
              <a:defRPr sz="1800"/>
            </a:lvl2pPr>
            <a:lvl3pPr>
              <a:defRPr sz="1800"/>
            </a:lvl3pPr>
            <a:lvl4pPr>
              <a:defRPr sz="1800"/>
            </a:lvl4pPr>
            <a:lvl5pPr>
              <a:defRPr sz="1800"/>
            </a:lvl5pPr>
          </a:lstStyle>
          <a:p>
            <a:pPr lvl="0"/>
            <a:r>
              <a:rPr lang="en-US"/>
              <a:t>Subheading</a:t>
            </a:r>
          </a:p>
        </p:txBody>
      </p:sp>
      <p:sp>
        <p:nvSpPr>
          <p:cNvPr id="4" name="Rectangle 3">
            <a:extLst>
              <a:ext uri="{FF2B5EF4-FFF2-40B4-BE49-F238E27FC236}">
                <a16:creationId xmlns:a16="http://schemas.microsoft.com/office/drawing/2014/main" id="{F6B7B70E-EA33-4747-A5E5-09DC86BCB880}"/>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21990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819AD7-F1DD-43C6-A0B3-FB1B4B027F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6C35766-A220-2A3A-FB13-DA707AFFB83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8344FBF-2977-F188-164A-3C562E3D12DB}"/>
              </a:ext>
            </a:extLst>
          </p:cNvPr>
          <p:cNvSpPr>
            <a:spLocks noGrp="1"/>
          </p:cNvSpPr>
          <p:nvPr>
            <p:ph type="body" sz="half" idx="2"/>
          </p:nvPr>
        </p:nvSpPr>
        <p:spPr>
          <a:xfrm>
            <a:off x="839788" y="2057400"/>
            <a:ext cx="3932237" cy="3811588"/>
          </a:xfrm>
        </p:spPr>
        <p:txBody>
          <a:bodyPr/>
          <a:lstStyle>
            <a:lvl1pPr marL="0" indent="0">
              <a:buNone/>
              <a:defRPr sz="1600">
                <a:solidFill>
                  <a:schemeClr val="accent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97338A-2FAD-369A-4FBE-57E534B0CDC2}"/>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6" name="Footer Placeholder 5">
            <a:extLst>
              <a:ext uri="{FF2B5EF4-FFF2-40B4-BE49-F238E27FC236}">
                <a16:creationId xmlns:a16="http://schemas.microsoft.com/office/drawing/2014/main" id="{A38E4BF6-3B1A-1BBD-34EF-BE5FA6F1CA4A}"/>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 name="Slide Number Placeholder 6">
            <a:extLst>
              <a:ext uri="{FF2B5EF4-FFF2-40B4-BE49-F238E27FC236}">
                <a16:creationId xmlns:a16="http://schemas.microsoft.com/office/drawing/2014/main" id="{5BA03B71-D24B-C7ED-7767-5DAE13D58C9A}"/>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9" name="Rectangle 8">
            <a:extLst>
              <a:ext uri="{FF2B5EF4-FFF2-40B4-BE49-F238E27FC236}">
                <a16:creationId xmlns:a16="http://schemas.microsoft.com/office/drawing/2014/main" id="{87628701-3883-006B-9CCA-F20A72C31645}"/>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222971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Left-Titl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8DB46-9F97-D09E-3110-C62005865665}"/>
              </a:ext>
            </a:extLst>
          </p:cNvPr>
          <p:cNvSpPr>
            <a:spLocks noGrp="1"/>
          </p:cNvSpPr>
          <p:nvPr>
            <p:ph type="title"/>
          </p:nvPr>
        </p:nvSpPr>
        <p:spPr>
          <a:xfrm>
            <a:off x="844062" y="715108"/>
            <a:ext cx="4472354" cy="1585181"/>
          </a:xfrm>
        </p:spPr>
        <p:txBody>
          <a:bodyPr anchor="b" anchorCtr="0">
            <a:normAutofit/>
          </a:bodyPr>
          <a:lstStyle>
            <a:lvl1pPr>
              <a:defRPr sz="3600"/>
            </a:lvl1pPr>
          </a:lstStyle>
          <a:p>
            <a:r>
              <a:rPr lang="en-US"/>
              <a:t>Click to edit Master title style</a:t>
            </a:r>
          </a:p>
        </p:txBody>
      </p:sp>
      <p:sp>
        <p:nvSpPr>
          <p:cNvPr id="3" name="Content Placeholder 2">
            <a:extLst>
              <a:ext uri="{FF2B5EF4-FFF2-40B4-BE49-F238E27FC236}">
                <a16:creationId xmlns:a16="http://schemas.microsoft.com/office/drawing/2014/main" id="{1FD198F4-2C5D-F517-B8C2-83C0F0CB4BD1}"/>
              </a:ext>
            </a:extLst>
          </p:cNvPr>
          <p:cNvSpPr>
            <a:spLocks noGrp="1"/>
          </p:cNvSpPr>
          <p:nvPr>
            <p:ph idx="1"/>
          </p:nvPr>
        </p:nvSpPr>
        <p:spPr>
          <a:xfrm>
            <a:off x="844062" y="2435226"/>
            <a:ext cx="4472354" cy="35388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2">
            <a:extLst>
              <a:ext uri="{FF2B5EF4-FFF2-40B4-BE49-F238E27FC236}">
                <a16:creationId xmlns:a16="http://schemas.microsoft.com/office/drawing/2014/main" id="{32CC721C-48FE-A47E-4F04-F38CADDE8E67}"/>
              </a:ext>
            </a:extLst>
          </p:cNvPr>
          <p:cNvSpPr>
            <a:spLocks noGrp="1"/>
          </p:cNvSpPr>
          <p:nvPr>
            <p:ph type="pic" idx="19" hasCustomPrompt="1"/>
          </p:nvPr>
        </p:nvSpPr>
        <p:spPr>
          <a:xfrm>
            <a:off x="6095999" y="0"/>
            <a:ext cx="6096001" cy="6858000"/>
          </a:xfrm>
        </p:spPr>
        <p:txBody>
          <a:bodyPr lIns="0" tIns="0" rIns="0" bIns="0" anchor="ctr" anchorCtr="0">
            <a:normAutofit/>
          </a:bodyPr>
          <a:lstStyle>
            <a:lvl1pPr marL="0" indent="0" algn="ctr">
              <a:buNone/>
              <a:defRPr sz="1800" b="1">
                <a:solidFill>
                  <a:srgbClr val="3EB1C8"/>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Tree>
    <p:extLst>
      <p:ext uri="{BB962C8B-B14F-4D97-AF65-F5344CB8AC3E}">
        <p14:creationId xmlns:p14="http://schemas.microsoft.com/office/powerpoint/2010/main" val="15911021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8186654-8D4D-88C2-A0CA-DD1585157C75}"/>
              </a:ext>
            </a:extLst>
          </p:cNvPr>
          <p:cNvSpPr>
            <a:spLocks noGrp="1"/>
          </p:cNvSpPr>
          <p:nvPr>
            <p:ph type="pic" sz="quarter" idx="10"/>
          </p:nvPr>
        </p:nvSpPr>
        <p:spPr>
          <a:xfrm>
            <a:off x="1579115" y="2259265"/>
            <a:ext cx="2021926" cy="1729870"/>
          </a:xfrm>
        </p:spPr>
      </p:sp>
      <p:sp>
        <p:nvSpPr>
          <p:cNvPr id="3" name="Picture Placeholder 3">
            <a:extLst>
              <a:ext uri="{FF2B5EF4-FFF2-40B4-BE49-F238E27FC236}">
                <a16:creationId xmlns:a16="http://schemas.microsoft.com/office/drawing/2014/main" id="{C18B9B60-38C4-2C24-42CB-64C0ED58F27A}"/>
              </a:ext>
            </a:extLst>
          </p:cNvPr>
          <p:cNvSpPr>
            <a:spLocks noGrp="1"/>
          </p:cNvSpPr>
          <p:nvPr>
            <p:ph type="pic" sz="quarter" idx="11"/>
          </p:nvPr>
        </p:nvSpPr>
        <p:spPr>
          <a:xfrm>
            <a:off x="5084315" y="2259265"/>
            <a:ext cx="2021926" cy="1729870"/>
          </a:xfrm>
        </p:spPr>
      </p:sp>
      <p:sp>
        <p:nvSpPr>
          <p:cNvPr id="6" name="Picture Placeholder 3">
            <a:extLst>
              <a:ext uri="{FF2B5EF4-FFF2-40B4-BE49-F238E27FC236}">
                <a16:creationId xmlns:a16="http://schemas.microsoft.com/office/drawing/2014/main" id="{BE67E997-A69F-6082-4E0D-CD85C4DB9E4D}"/>
              </a:ext>
            </a:extLst>
          </p:cNvPr>
          <p:cNvSpPr>
            <a:spLocks noGrp="1"/>
          </p:cNvSpPr>
          <p:nvPr>
            <p:ph type="pic" sz="quarter" idx="12"/>
          </p:nvPr>
        </p:nvSpPr>
        <p:spPr>
          <a:xfrm>
            <a:off x="8538715" y="2259265"/>
            <a:ext cx="2021926" cy="1729870"/>
          </a:xfrm>
        </p:spPr>
      </p:sp>
      <p:sp>
        <p:nvSpPr>
          <p:cNvPr id="11" name="Title 1">
            <a:extLst>
              <a:ext uri="{FF2B5EF4-FFF2-40B4-BE49-F238E27FC236}">
                <a16:creationId xmlns:a16="http://schemas.microsoft.com/office/drawing/2014/main" id="{7A808548-B680-9E3D-6F52-59F652E71339}"/>
              </a:ext>
            </a:extLst>
          </p:cNvPr>
          <p:cNvSpPr>
            <a:spLocks noGrp="1"/>
          </p:cNvSpPr>
          <p:nvPr>
            <p:ph type="title"/>
          </p:nvPr>
        </p:nvSpPr>
        <p:spPr>
          <a:xfrm>
            <a:off x="1579115" y="641847"/>
            <a:ext cx="8953417" cy="1175697"/>
          </a:xfrm>
        </p:spPr>
        <p:txBody>
          <a:bodyPr anchor="ctr" anchorCtr="0">
            <a:normAutofit/>
          </a:bodyPr>
          <a:lstStyle>
            <a:lvl1pPr algn="ctr">
              <a:defRPr sz="3600"/>
            </a:lvl1pPr>
          </a:lstStyle>
          <a:p>
            <a:r>
              <a:rPr lang="en-US"/>
              <a:t>Click to edit Master title style</a:t>
            </a:r>
          </a:p>
        </p:txBody>
      </p:sp>
      <p:sp>
        <p:nvSpPr>
          <p:cNvPr id="18" name="Text Placeholder 6">
            <a:extLst>
              <a:ext uri="{FF2B5EF4-FFF2-40B4-BE49-F238E27FC236}">
                <a16:creationId xmlns:a16="http://schemas.microsoft.com/office/drawing/2014/main" id="{5D4FB0AC-7D23-3E2C-9575-665FC7496BCD}"/>
              </a:ext>
            </a:extLst>
          </p:cNvPr>
          <p:cNvSpPr>
            <a:spLocks noGrp="1"/>
          </p:cNvSpPr>
          <p:nvPr>
            <p:ph type="body" sz="quarter" idx="13" hasCustomPrompt="1"/>
          </p:nvPr>
        </p:nvSpPr>
        <p:spPr>
          <a:xfrm>
            <a:off x="1100667" y="4167331"/>
            <a:ext cx="3064933" cy="1541808"/>
          </a:xfrm>
        </p:spPr>
        <p:txBody>
          <a:bodyPr anchor="t" anchorCtr="0">
            <a:normAutofit/>
          </a:bodyPr>
          <a:lstStyle>
            <a:lvl1pPr marL="0" indent="0" algn="ctr">
              <a:buNone/>
              <a:defRPr sz="2200" b="1">
                <a:solidFill>
                  <a:schemeClr val="tx1"/>
                </a:solidFill>
              </a:defRPr>
            </a:lvl1pPr>
          </a:lstStyle>
          <a:p>
            <a:pPr lvl="0"/>
            <a:r>
              <a:rPr lang="en-US"/>
              <a:t>Item</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b="0">
                <a:solidFill>
                  <a:schemeClr val="tx2"/>
                </a:solidFill>
              </a:rPr>
              <a:t>A Short Description</a:t>
            </a:r>
          </a:p>
        </p:txBody>
      </p:sp>
      <p:sp>
        <p:nvSpPr>
          <p:cNvPr id="19" name="Text Placeholder 6">
            <a:extLst>
              <a:ext uri="{FF2B5EF4-FFF2-40B4-BE49-F238E27FC236}">
                <a16:creationId xmlns:a16="http://schemas.microsoft.com/office/drawing/2014/main" id="{B7ACA26B-BA30-4FF7-2284-C5F25350D371}"/>
              </a:ext>
            </a:extLst>
          </p:cNvPr>
          <p:cNvSpPr>
            <a:spLocks noGrp="1"/>
          </p:cNvSpPr>
          <p:nvPr>
            <p:ph type="body" sz="quarter" idx="14" hasCustomPrompt="1"/>
          </p:nvPr>
        </p:nvSpPr>
        <p:spPr>
          <a:xfrm>
            <a:off x="4504267" y="4167331"/>
            <a:ext cx="3064933" cy="1541808"/>
          </a:xfrm>
        </p:spPr>
        <p:txBody>
          <a:bodyPr anchor="t" anchorCtr="0">
            <a:normAutofit/>
          </a:bodyPr>
          <a:lstStyle>
            <a:lvl1pPr marL="0" indent="0" algn="ctr">
              <a:buNone/>
              <a:defRPr sz="2200" b="1">
                <a:solidFill>
                  <a:schemeClr val="tx1"/>
                </a:solidFill>
              </a:defRPr>
            </a:lvl1pPr>
          </a:lstStyle>
          <a:p>
            <a:pPr lvl="0"/>
            <a:r>
              <a:rPr lang="en-US"/>
              <a:t>Item</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b="0">
                <a:solidFill>
                  <a:schemeClr val="tx2"/>
                </a:solidFill>
              </a:rPr>
              <a:t>A Short Description</a:t>
            </a:r>
          </a:p>
        </p:txBody>
      </p:sp>
      <p:sp>
        <p:nvSpPr>
          <p:cNvPr id="20" name="Text Placeholder 6">
            <a:extLst>
              <a:ext uri="{FF2B5EF4-FFF2-40B4-BE49-F238E27FC236}">
                <a16:creationId xmlns:a16="http://schemas.microsoft.com/office/drawing/2014/main" id="{5C9CC9CC-353D-1DD2-FB01-046EAF499C17}"/>
              </a:ext>
            </a:extLst>
          </p:cNvPr>
          <p:cNvSpPr>
            <a:spLocks noGrp="1"/>
          </p:cNvSpPr>
          <p:nvPr>
            <p:ph type="body" sz="quarter" idx="15" hasCustomPrompt="1"/>
          </p:nvPr>
        </p:nvSpPr>
        <p:spPr>
          <a:xfrm>
            <a:off x="8043334" y="4167331"/>
            <a:ext cx="3064933" cy="1541808"/>
          </a:xfrm>
        </p:spPr>
        <p:txBody>
          <a:bodyPr anchor="t" anchorCtr="0">
            <a:normAutofit/>
          </a:bodyPr>
          <a:lstStyle>
            <a:lvl1pPr marL="0" indent="0" algn="ctr">
              <a:buNone/>
              <a:defRPr sz="2200" b="1">
                <a:solidFill>
                  <a:schemeClr val="tx1"/>
                </a:solidFill>
              </a:defRPr>
            </a:lvl1pPr>
          </a:lstStyle>
          <a:p>
            <a:pPr lvl="0"/>
            <a:r>
              <a:rPr lang="en-US"/>
              <a:t>Item</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b="0">
                <a:solidFill>
                  <a:schemeClr val="tx2"/>
                </a:solidFill>
              </a:rPr>
              <a:t>A Short Description</a:t>
            </a:r>
          </a:p>
        </p:txBody>
      </p:sp>
      <p:sp>
        <p:nvSpPr>
          <p:cNvPr id="2" name="Rectangle 1">
            <a:extLst>
              <a:ext uri="{FF2B5EF4-FFF2-40B4-BE49-F238E27FC236}">
                <a16:creationId xmlns:a16="http://schemas.microsoft.com/office/drawing/2014/main" id="{C05A14C4-033C-9935-E4DA-7A4D6E6F0210}"/>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78702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8D47A-3E46-99E4-C755-F0D40FEAF3E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A3C9EBF-5C78-10E3-C34B-086841027087}"/>
              </a:ext>
            </a:extLst>
          </p:cNvPr>
          <p:cNvSpPr>
            <a:spLocks noGrp="1"/>
          </p:cNvSpPr>
          <p:nvPr>
            <p:ph type="pic" idx="1" hasCustomPrompt="1"/>
          </p:nvPr>
        </p:nvSpPr>
        <p:spPr>
          <a:xfrm>
            <a:off x="5183188" y="987425"/>
            <a:ext cx="6172200" cy="4873625"/>
          </a:xfrm>
        </p:spPr>
        <p:txBody>
          <a:bodyPr anchor="ctr" anchorCtr="0">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2">
                    <a:lumMod val="9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Place Graphic Here</a:t>
            </a:r>
          </a:p>
        </p:txBody>
      </p:sp>
      <p:sp>
        <p:nvSpPr>
          <p:cNvPr id="4" name="Text Placeholder 3">
            <a:extLst>
              <a:ext uri="{FF2B5EF4-FFF2-40B4-BE49-F238E27FC236}">
                <a16:creationId xmlns:a16="http://schemas.microsoft.com/office/drawing/2014/main" id="{3FC57F57-7422-8CC4-703D-6D6529DA8F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F46B74-AE11-F4A9-FE86-98C728BEED44}"/>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6" name="Footer Placeholder 5">
            <a:extLst>
              <a:ext uri="{FF2B5EF4-FFF2-40B4-BE49-F238E27FC236}">
                <a16:creationId xmlns:a16="http://schemas.microsoft.com/office/drawing/2014/main" id="{476DE610-C340-93BF-8441-97A46E896778}"/>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 name="Slide Number Placeholder 6">
            <a:extLst>
              <a:ext uri="{FF2B5EF4-FFF2-40B4-BE49-F238E27FC236}">
                <a16:creationId xmlns:a16="http://schemas.microsoft.com/office/drawing/2014/main" id="{99D3EEE5-CF9C-C3AB-FEA4-E69AAFF39CA7}"/>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10" name="Rectangle 9">
            <a:extLst>
              <a:ext uri="{FF2B5EF4-FFF2-40B4-BE49-F238E27FC236}">
                <a16:creationId xmlns:a16="http://schemas.microsoft.com/office/drawing/2014/main" id="{A80D4392-800A-83C8-F3A4-869176D3BA2B}"/>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26034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B5896-46E7-0B89-29B8-9CA76CE47A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C9CAD16-EA45-9EC1-6642-D2AE061D3E3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BEFA6412-B85F-2FD8-F508-A04D7410620D}"/>
              </a:ext>
            </a:extLst>
          </p:cNvPr>
          <p:cNvSpPr/>
          <p:nvPr userDrawn="1"/>
        </p:nvSpPr>
        <p:spPr>
          <a:xfrm>
            <a:off x="0" y="0"/>
            <a:ext cx="670560" cy="6858000"/>
          </a:xfrm>
          <a:prstGeom prst="rect">
            <a:avLst/>
          </a:prstGeom>
          <a:gradFill flip="none" rotWithShape="1">
            <a:gsLst>
              <a:gs pos="18000">
                <a:schemeClr val="accent1"/>
              </a:gs>
              <a:gs pos="91000">
                <a:schemeClr val="accent3"/>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513405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B5896-46E7-0B89-29B8-9CA76CE47A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C9CAD16-EA45-9EC1-6642-D2AE061D3E3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2862E761-B1F3-1D59-4F2A-86F85BCFC1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07651" y="5991225"/>
            <a:ext cx="1463473" cy="561974"/>
          </a:xfrm>
          <a:prstGeom prst="rect">
            <a:avLst/>
          </a:prstGeom>
        </p:spPr>
      </p:pic>
      <p:sp>
        <p:nvSpPr>
          <p:cNvPr id="5" name="Rectangle 4">
            <a:extLst>
              <a:ext uri="{FF2B5EF4-FFF2-40B4-BE49-F238E27FC236}">
                <a16:creationId xmlns:a16="http://schemas.microsoft.com/office/drawing/2014/main" id="{BEFA6412-B85F-2FD8-F508-A04D7410620D}"/>
              </a:ext>
            </a:extLst>
          </p:cNvPr>
          <p:cNvSpPr/>
          <p:nvPr userDrawn="1"/>
        </p:nvSpPr>
        <p:spPr>
          <a:xfrm>
            <a:off x="0" y="0"/>
            <a:ext cx="670560" cy="6858000"/>
          </a:xfrm>
          <a:prstGeom prst="rect">
            <a:avLst/>
          </a:prstGeom>
          <a:gradFill flip="none" rotWithShape="1">
            <a:gsLst>
              <a:gs pos="18000">
                <a:schemeClr val="accent1"/>
              </a:gs>
              <a:gs pos="91000">
                <a:schemeClr val="accent3"/>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8969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1_Picture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67D196-E737-D53E-498D-130CDDDE25D4}"/>
              </a:ext>
            </a:extLst>
          </p:cNvPr>
          <p:cNvSpPr/>
          <p:nvPr userDrawn="1"/>
        </p:nvSpPr>
        <p:spPr>
          <a:xfrm flipH="1">
            <a:off x="0" y="1"/>
            <a:ext cx="6935784" cy="6858000"/>
          </a:xfrm>
          <a:prstGeom prst="rect">
            <a:avLst/>
          </a:prstGeom>
          <a:gradFill flip="none" rotWithShape="1">
            <a:gsLst>
              <a:gs pos="95000">
                <a:schemeClr val="accent1"/>
              </a:gs>
              <a:gs pos="9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1" name="Picture Placeholder 2">
            <a:extLst>
              <a:ext uri="{FF2B5EF4-FFF2-40B4-BE49-F238E27FC236}">
                <a16:creationId xmlns:a16="http://schemas.microsoft.com/office/drawing/2014/main" id="{1029220F-1280-AE74-7A05-7076AD9863A1}"/>
              </a:ext>
            </a:extLst>
          </p:cNvPr>
          <p:cNvSpPr>
            <a:spLocks noGrp="1"/>
          </p:cNvSpPr>
          <p:nvPr>
            <p:ph type="pic" idx="1" hasCustomPrompt="1"/>
          </p:nvPr>
        </p:nvSpPr>
        <p:spPr>
          <a:xfrm>
            <a:off x="7315202" y="0"/>
            <a:ext cx="4876798" cy="6858000"/>
          </a:xfrm>
        </p:spPr>
        <p:txBody>
          <a:bodyPr lIns="0" tIns="0" rIns="0" bIns="0" anchor="ctr" anchorCtr="0">
            <a:normAutofit/>
          </a:bodyPr>
          <a:lstStyle>
            <a:lvl1pPr marL="0" indent="0" algn="ctr">
              <a:buNone/>
              <a:defRPr sz="1800" b="1">
                <a:solidFill>
                  <a:schemeClr val="tx2">
                    <a:lumMod val="50000"/>
                    <a:lumOff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
        <p:nvSpPr>
          <p:cNvPr id="11" name="Title 1">
            <a:extLst>
              <a:ext uri="{FF2B5EF4-FFF2-40B4-BE49-F238E27FC236}">
                <a16:creationId xmlns:a16="http://schemas.microsoft.com/office/drawing/2014/main" id="{E18CBFB3-5031-4B6A-F498-676AE0C0C796}"/>
              </a:ext>
            </a:extLst>
          </p:cNvPr>
          <p:cNvSpPr>
            <a:spLocks noGrp="1"/>
          </p:cNvSpPr>
          <p:nvPr>
            <p:ph type="title" hasCustomPrompt="1"/>
          </p:nvPr>
        </p:nvSpPr>
        <p:spPr>
          <a:xfrm>
            <a:off x="839788" y="479505"/>
            <a:ext cx="9741674" cy="801577"/>
          </a:xfrm>
        </p:spPr>
        <p:txBody>
          <a:bodyPr anchor="b" anchorCtr="0">
            <a:noAutofit/>
          </a:bodyPr>
          <a:lstStyle>
            <a:lvl1pPr>
              <a:defRPr sz="4400">
                <a:solidFill>
                  <a:schemeClr val="bg2"/>
                </a:solidFill>
              </a:defRPr>
            </a:lvl1pPr>
          </a:lstStyle>
          <a:p>
            <a:r>
              <a:rPr lang="en-US"/>
              <a:t>Title Goes Here</a:t>
            </a:r>
          </a:p>
        </p:txBody>
      </p:sp>
      <p:sp>
        <p:nvSpPr>
          <p:cNvPr id="14" name="Text Placeholder 3">
            <a:extLst>
              <a:ext uri="{FF2B5EF4-FFF2-40B4-BE49-F238E27FC236}">
                <a16:creationId xmlns:a16="http://schemas.microsoft.com/office/drawing/2014/main" id="{D66D6131-02B2-04C4-7274-0EF2ADACB0EF}"/>
              </a:ext>
            </a:extLst>
          </p:cNvPr>
          <p:cNvSpPr>
            <a:spLocks noGrp="1"/>
          </p:cNvSpPr>
          <p:nvPr>
            <p:ph type="body" sz="quarter" idx="15" hasCustomPrompt="1"/>
          </p:nvPr>
        </p:nvSpPr>
        <p:spPr>
          <a:xfrm>
            <a:off x="839786" y="1371602"/>
            <a:ext cx="9741673" cy="696639"/>
          </a:xfrm>
        </p:spPr>
        <p:txBody>
          <a:bodyPr>
            <a:normAutofit/>
          </a:bodyPr>
          <a:lstStyle>
            <a:lvl1pPr marL="0" indent="0">
              <a:buNone/>
              <a:defRPr sz="24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
        <p:nvSpPr>
          <p:cNvPr id="18" name="Text Placeholder 3">
            <a:extLst>
              <a:ext uri="{FF2B5EF4-FFF2-40B4-BE49-F238E27FC236}">
                <a16:creationId xmlns:a16="http://schemas.microsoft.com/office/drawing/2014/main" id="{8BE10532-FA7E-1471-94FA-1CE9A7120FE5}"/>
              </a:ext>
            </a:extLst>
          </p:cNvPr>
          <p:cNvSpPr>
            <a:spLocks noGrp="1"/>
          </p:cNvSpPr>
          <p:nvPr>
            <p:ph type="body" sz="quarter" idx="16" hasCustomPrompt="1"/>
          </p:nvPr>
        </p:nvSpPr>
        <p:spPr>
          <a:xfrm>
            <a:off x="839789" y="2241395"/>
            <a:ext cx="6154540" cy="3895636"/>
          </a:xfrm>
        </p:spPr>
        <p:txBody>
          <a:bodyPr>
            <a:noAutofit/>
          </a:bodyPr>
          <a:lstStyle>
            <a:lvl1pPr marL="0" indent="0">
              <a:lnSpc>
                <a:spcPct val="150000"/>
              </a:lnSpc>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FTTH: Fiber-to-the-Home Service Since 2002</a:t>
            </a:r>
          </a:p>
          <a:p>
            <a:pPr lvl="0"/>
            <a:r>
              <a:rPr lang="en-US"/>
              <a:t>Internet: Managed Wi-Fi, 10Gig Speeds</a:t>
            </a:r>
          </a:p>
          <a:p>
            <a:pPr lvl="0"/>
            <a:r>
              <a:rPr lang="en-US"/>
              <a:t>TV: 300+ channels, TiVo &amp; Google TV, network DVR</a:t>
            </a:r>
          </a:p>
          <a:p>
            <a:pPr lvl="0"/>
            <a:r>
              <a:rPr lang="en-US"/>
              <a:t>Phone: Home, SIP, Hosted &amp; More</a:t>
            </a:r>
          </a:p>
          <a:p>
            <a:pPr lvl="0"/>
            <a:r>
              <a:rPr lang="en-US"/>
              <a:t>Automation: Alarm, Cameras &amp; Automation Controls</a:t>
            </a:r>
          </a:p>
          <a:p>
            <a:pPr lvl="0"/>
            <a:r>
              <a:rPr lang="en-US"/>
              <a:t>Enterprise: Hosting, IT, LAN, Desktop &amp; More</a:t>
            </a:r>
          </a:p>
        </p:txBody>
      </p:sp>
    </p:spTree>
    <p:extLst>
      <p:ext uri="{BB962C8B-B14F-4D97-AF65-F5344CB8AC3E}">
        <p14:creationId xmlns:p14="http://schemas.microsoft.com/office/powerpoint/2010/main" val="12325729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_Minimal_Ocean">
    <p:bg>
      <p:bgPr>
        <a:solidFill>
          <a:schemeClr val="tx2"/>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403B6BA-D744-40B3-6A58-CDFFBA7697DD}"/>
              </a:ext>
            </a:extLst>
          </p:cNvPr>
          <p:cNvSpPr>
            <a:spLocks noGrp="1"/>
          </p:cNvSpPr>
          <p:nvPr>
            <p:ph type="ctrTitle" hasCustomPrompt="1"/>
          </p:nvPr>
        </p:nvSpPr>
        <p:spPr>
          <a:xfrm>
            <a:off x="914400" y="1468825"/>
            <a:ext cx="9144000" cy="2041137"/>
          </a:xfrm>
        </p:spPr>
        <p:txBody>
          <a:bodyPr anchor="b">
            <a:normAutofit/>
          </a:bodyPr>
          <a:lstStyle>
            <a:lvl1pPr algn="l">
              <a:defRPr sz="4400" b="1">
                <a:solidFill>
                  <a:schemeClr val="bg1"/>
                </a:solidFill>
              </a:defRPr>
            </a:lvl1pPr>
          </a:lstStyle>
          <a:p>
            <a:r>
              <a:rPr lang="en-US"/>
              <a:t>The Title of a Section Goes Here and it Can Be Two Lines</a:t>
            </a:r>
          </a:p>
        </p:txBody>
      </p:sp>
      <p:sp>
        <p:nvSpPr>
          <p:cNvPr id="10" name="Subtitle 2">
            <a:extLst>
              <a:ext uri="{FF2B5EF4-FFF2-40B4-BE49-F238E27FC236}">
                <a16:creationId xmlns:a16="http://schemas.microsoft.com/office/drawing/2014/main" id="{64BD3AB9-7B48-81D0-EF5A-725AA1540DC5}"/>
              </a:ext>
            </a:extLst>
          </p:cNvPr>
          <p:cNvSpPr>
            <a:spLocks noGrp="1"/>
          </p:cNvSpPr>
          <p:nvPr>
            <p:ph type="subTitle" idx="1" hasCustomPrompt="1"/>
          </p:nvPr>
        </p:nvSpPr>
        <p:spPr>
          <a:xfrm>
            <a:off x="914400" y="3602038"/>
            <a:ext cx="91440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is a space for a subtitle</a:t>
            </a:r>
          </a:p>
        </p:txBody>
      </p:sp>
      <p:pic>
        <p:nvPicPr>
          <p:cNvPr id="4" name="Picture 3">
            <a:extLst>
              <a:ext uri="{FF2B5EF4-FFF2-40B4-BE49-F238E27FC236}">
                <a16:creationId xmlns:a16="http://schemas.microsoft.com/office/drawing/2014/main" id="{4EE699E1-F4E9-B124-F504-C9A2B5DF0B46}"/>
              </a:ext>
            </a:extLst>
          </p:cNvPr>
          <p:cNvPicPr>
            <a:picLocks noChangeAspect="1"/>
          </p:cNvPicPr>
          <p:nvPr userDrawn="1"/>
        </p:nvPicPr>
        <p:blipFill>
          <a:blip r:embed="rId2"/>
          <a:stretch>
            <a:fillRect/>
          </a:stretch>
        </p:blipFill>
        <p:spPr>
          <a:xfrm>
            <a:off x="10121526" y="5913345"/>
            <a:ext cx="1684992" cy="584243"/>
          </a:xfrm>
          <a:prstGeom prst="rect">
            <a:avLst/>
          </a:prstGeom>
        </p:spPr>
      </p:pic>
    </p:spTree>
    <p:extLst>
      <p:ext uri="{BB962C8B-B14F-4D97-AF65-F5344CB8AC3E}">
        <p14:creationId xmlns:p14="http://schemas.microsoft.com/office/powerpoint/2010/main" val="1641253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Picture with Cap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8FFF8D-1060-332D-1CFB-9D70D41012DC}"/>
              </a:ext>
            </a:extLst>
          </p:cNvPr>
          <p:cNvSpPr/>
          <p:nvPr userDrawn="1"/>
        </p:nvSpPr>
        <p:spPr>
          <a:xfrm flipH="1">
            <a:off x="0" y="1"/>
            <a:ext cx="6935784" cy="6858000"/>
          </a:xfrm>
          <a:prstGeom prst="rect">
            <a:avLst/>
          </a:prstGeom>
          <a:gradFill flip="none" rotWithShape="1">
            <a:gsLst>
              <a:gs pos="95000">
                <a:schemeClr val="accent1"/>
              </a:gs>
              <a:gs pos="9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6" name="Picture Placeholder 2">
            <a:extLst>
              <a:ext uri="{FF2B5EF4-FFF2-40B4-BE49-F238E27FC236}">
                <a16:creationId xmlns:a16="http://schemas.microsoft.com/office/drawing/2014/main" id="{B5158AC1-0EFF-E690-0A26-DF28C2AE0507}"/>
              </a:ext>
            </a:extLst>
          </p:cNvPr>
          <p:cNvSpPr>
            <a:spLocks noGrp="1"/>
          </p:cNvSpPr>
          <p:nvPr>
            <p:ph type="pic" idx="1" hasCustomPrompt="1"/>
          </p:nvPr>
        </p:nvSpPr>
        <p:spPr>
          <a:xfrm>
            <a:off x="6935784" y="0"/>
            <a:ext cx="5256215" cy="6858000"/>
          </a:xfrm>
        </p:spPr>
        <p:txBody>
          <a:bodyPr lIns="0" tIns="0" rIns="0" bIns="0" anchor="ctr" anchorCtr="0">
            <a:normAutofit/>
          </a:bodyPr>
          <a:lstStyle>
            <a:lvl1pPr marL="0" indent="0" algn="ctr">
              <a:buNone/>
              <a:defRPr sz="1800" b="1">
                <a:solidFill>
                  <a:schemeClr val="tx2">
                    <a:lumMod val="50000"/>
                    <a:lumOff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
        <p:nvSpPr>
          <p:cNvPr id="2" name="Triangle 1">
            <a:extLst>
              <a:ext uri="{FF2B5EF4-FFF2-40B4-BE49-F238E27FC236}">
                <a16:creationId xmlns:a16="http://schemas.microsoft.com/office/drawing/2014/main" id="{B344419F-AD47-426C-C56A-EDF4C639F5C4}"/>
              </a:ext>
            </a:extLst>
          </p:cNvPr>
          <p:cNvSpPr/>
          <p:nvPr userDrawn="1"/>
        </p:nvSpPr>
        <p:spPr>
          <a:xfrm rot="5400000">
            <a:off x="632333" y="2421733"/>
            <a:ext cx="222818" cy="19208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3">
            <a:extLst>
              <a:ext uri="{FF2B5EF4-FFF2-40B4-BE49-F238E27FC236}">
                <a16:creationId xmlns:a16="http://schemas.microsoft.com/office/drawing/2014/main" id="{B112B1E3-E53F-51CD-1C3B-8A230BEE07E7}"/>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13" name="Title 1">
            <a:extLst>
              <a:ext uri="{FF2B5EF4-FFF2-40B4-BE49-F238E27FC236}">
                <a16:creationId xmlns:a16="http://schemas.microsoft.com/office/drawing/2014/main" id="{48427D86-84CC-6D5B-90A6-A29E0B8219D7}"/>
              </a:ext>
            </a:extLst>
          </p:cNvPr>
          <p:cNvSpPr>
            <a:spLocks noGrp="1"/>
          </p:cNvSpPr>
          <p:nvPr>
            <p:ph type="title" hasCustomPrompt="1"/>
          </p:nvPr>
        </p:nvSpPr>
        <p:spPr>
          <a:xfrm>
            <a:off x="839788" y="479505"/>
            <a:ext cx="9741674" cy="801577"/>
          </a:xfrm>
        </p:spPr>
        <p:txBody>
          <a:bodyPr anchor="b" anchorCtr="0">
            <a:noAutofit/>
          </a:bodyPr>
          <a:lstStyle>
            <a:lvl1pPr>
              <a:defRPr sz="4400">
                <a:solidFill>
                  <a:schemeClr val="bg1"/>
                </a:solidFill>
              </a:defRPr>
            </a:lvl1pPr>
          </a:lstStyle>
          <a:p>
            <a:r>
              <a:rPr lang="en-US"/>
              <a:t>Title Goes Here</a:t>
            </a:r>
          </a:p>
        </p:txBody>
      </p:sp>
      <p:sp>
        <p:nvSpPr>
          <p:cNvPr id="11" name="Text Placeholder 3">
            <a:extLst>
              <a:ext uri="{FF2B5EF4-FFF2-40B4-BE49-F238E27FC236}">
                <a16:creationId xmlns:a16="http://schemas.microsoft.com/office/drawing/2014/main" id="{EC93512E-6B20-34FD-4766-46110FF45CD7}"/>
              </a:ext>
            </a:extLst>
          </p:cNvPr>
          <p:cNvSpPr>
            <a:spLocks noGrp="1"/>
          </p:cNvSpPr>
          <p:nvPr>
            <p:ph type="body" sz="quarter" idx="15" hasCustomPrompt="1"/>
          </p:nvPr>
        </p:nvSpPr>
        <p:spPr>
          <a:xfrm>
            <a:off x="839786" y="1371602"/>
            <a:ext cx="9741673" cy="696639"/>
          </a:xfrm>
        </p:spPr>
        <p:txBody>
          <a:bodyPr>
            <a:normAutofit/>
          </a:bodyPr>
          <a:lstStyle>
            <a:lvl1pPr marL="0" indent="0">
              <a:buNone/>
              <a:defRPr sz="24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
        <p:nvSpPr>
          <p:cNvPr id="4" name="Text Placeholder 3">
            <a:extLst>
              <a:ext uri="{FF2B5EF4-FFF2-40B4-BE49-F238E27FC236}">
                <a16:creationId xmlns:a16="http://schemas.microsoft.com/office/drawing/2014/main" id="{AC694A9C-17D2-B878-1180-FD64228F7EC0}"/>
              </a:ext>
            </a:extLst>
          </p:cNvPr>
          <p:cNvSpPr>
            <a:spLocks noGrp="1"/>
          </p:cNvSpPr>
          <p:nvPr>
            <p:ph type="body" sz="quarter" idx="16" hasCustomPrompt="1"/>
          </p:nvPr>
        </p:nvSpPr>
        <p:spPr>
          <a:xfrm>
            <a:off x="839786" y="2321170"/>
            <a:ext cx="5095022" cy="3033345"/>
          </a:xfrm>
        </p:spPr>
        <p:txBody>
          <a:bodyPr>
            <a:noAutofit/>
          </a:bodyPr>
          <a:lstStyle>
            <a:lvl1pPr marL="0" indent="0">
              <a:buNone/>
              <a:defRPr sz="2800" b="1">
                <a:solidFill>
                  <a:schemeClr val="bg1"/>
                </a:solidFill>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r>
              <a:rPr lang="en-US"/>
              <a:t>Blue Stream Background</a:t>
            </a:r>
          </a:p>
          <a:p>
            <a:pPr lvl="0"/>
            <a:r>
              <a:rPr lang="en-US"/>
              <a:t>Products &amp; Services</a:t>
            </a:r>
          </a:p>
          <a:p>
            <a:pPr lvl="0"/>
            <a:r>
              <a:rPr lang="en-US"/>
              <a:t>Transition:</a:t>
            </a:r>
            <a:br>
              <a:rPr lang="en-US"/>
            </a:br>
            <a:r>
              <a:rPr lang="en-US"/>
              <a:t>Smooth &gt; Easy &gt; Reliable</a:t>
            </a:r>
          </a:p>
          <a:p>
            <a:pPr lvl="0"/>
            <a:r>
              <a:rPr lang="en-US"/>
              <a:t>Questions</a:t>
            </a:r>
          </a:p>
        </p:txBody>
      </p:sp>
    </p:spTree>
    <p:extLst>
      <p:ext uri="{BB962C8B-B14F-4D97-AF65-F5344CB8AC3E}">
        <p14:creationId xmlns:p14="http://schemas.microsoft.com/office/powerpoint/2010/main" val="4925115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9_Picture with Cap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AA3862-CD40-DD8B-3273-4AD18E9E66F2}"/>
              </a:ext>
            </a:extLst>
          </p:cNvPr>
          <p:cNvSpPr/>
          <p:nvPr userDrawn="1"/>
        </p:nvSpPr>
        <p:spPr>
          <a:xfrm flipH="1">
            <a:off x="0" y="1"/>
            <a:ext cx="6935784" cy="6858000"/>
          </a:xfrm>
          <a:prstGeom prst="rect">
            <a:avLst/>
          </a:prstGeom>
          <a:gradFill flip="none" rotWithShape="1">
            <a:gsLst>
              <a:gs pos="95000">
                <a:schemeClr val="accent1"/>
              </a:gs>
              <a:gs pos="9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6" name="Picture Placeholder 2">
            <a:extLst>
              <a:ext uri="{FF2B5EF4-FFF2-40B4-BE49-F238E27FC236}">
                <a16:creationId xmlns:a16="http://schemas.microsoft.com/office/drawing/2014/main" id="{CDF8C0C0-233A-A9D5-28A9-563CF69C7364}"/>
              </a:ext>
            </a:extLst>
          </p:cNvPr>
          <p:cNvSpPr>
            <a:spLocks noGrp="1"/>
          </p:cNvSpPr>
          <p:nvPr>
            <p:ph type="pic" idx="1" hasCustomPrompt="1"/>
          </p:nvPr>
        </p:nvSpPr>
        <p:spPr>
          <a:xfrm>
            <a:off x="6935784" y="0"/>
            <a:ext cx="5256215" cy="6858000"/>
          </a:xfrm>
        </p:spPr>
        <p:txBody>
          <a:bodyPr lIns="0" tIns="0" rIns="0" bIns="0" anchor="ctr" anchorCtr="0">
            <a:normAutofit/>
          </a:bodyPr>
          <a:lstStyle>
            <a:lvl1pPr marL="0" indent="0" algn="ctr">
              <a:buNone/>
              <a:defRPr sz="1800" b="1">
                <a:solidFill>
                  <a:schemeClr val="tx2">
                    <a:lumMod val="50000"/>
                    <a:lumOff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
        <p:nvSpPr>
          <p:cNvPr id="2" name="Triangle 1">
            <a:extLst>
              <a:ext uri="{FF2B5EF4-FFF2-40B4-BE49-F238E27FC236}">
                <a16:creationId xmlns:a16="http://schemas.microsoft.com/office/drawing/2014/main" id="{B344419F-AD47-426C-C56A-EDF4C639F5C4}"/>
              </a:ext>
            </a:extLst>
          </p:cNvPr>
          <p:cNvSpPr/>
          <p:nvPr userDrawn="1"/>
        </p:nvSpPr>
        <p:spPr>
          <a:xfrm rot="5400000">
            <a:off x="632333" y="2938866"/>
            <a:ext cx="222818" cy="19208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3">
            <a:extLst>
              <a:ext uri="{FF2B5EF4-FFF2-40B4-BE49-F238E27FC236}">
                <a16:creationId xmlns:a16="http://schemas.microsoft.com/office/drawing/2014/main" id="{B112B1E3-E53F-51CD-1C3B-8A230BEE07E7}"/>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13" name="Title 1">
            <a:extLst>
              <a:ext uri="{FF2B5EF4-FFF2-40B4-BE49-F238E27FC236}">
                <a16:creationId xmlns:a16="http://schemas.microsoft.com/office/drawing/2014/main" id="{48427D86-84CC-6D5B-90A6-A29E0B8219D7}"/>
              </a:ext>
            </a:extLst>
          </p:cNvPr>
          <p:cNvSpPr>
            <a:spLocks noGrp="1"/>
          </p:cNvSpPr>
          <p:nvPr>
            <p:ph type="title" hasCustomPrompt="1"/>
          </p:nvPr>
        </p:nvSpPr>
        <p:spPr>
          <a:xfrm>
            <a:off x="839788" y="479505"/>
            <a:ext cx="5095023" cy="801577"/>
          </a:xfrm>
        </p:spPr>
        <p:txBody>
          <a:bodyPr anchor="b" anchorCtr="0">
            <a:noAutofit/>
          </a:bodyPr>
          <a:lstStyle>
            <a:lvl1pPr>
              <a:defRPr sz="4400">
                <a:solidFill>
                  <a:schemeClr val="bg1"/>
                </a:solidFill>
              </a:defRPr>
            </a:lvl1pPr>
          </a:lstStyle>
          <a:p>
            <a:r>
              <a:rPr lang="en-US"/>
              <a:t>Title Goes Here</a:t>
            </a:r>
          </a:p>
        </p:txBody>
      </p:sp>
      <p:sp>
        <p:nvSpPr>
          <p:cNvPr id="11" name="Text Placeholder 3">
            <a:extLst>
              <a:ext uri="{FF2B5EF4-FFF2-40B4-BE49-F238E27FC236}">
                <a16:creationId xmlns:a16="http://schemas.microsoft.com/office/drawing/2014/main" id="{EC93512E-6B20-34FD-4766-46110FF45CD7}"/>
              </a:ext>
            </a:extLst>
          </p:cNvPr>
          <p:cNvSpPr>
            <a:spLocks noGrp="1"/>
          </p:cNvSpPr>
          <p:nvPr>
            <p:ph type="body" sz="quarter" idx="15" hasCustomPrompt="1"/>
          </p:nvPr>
        </p:nvSpPr>
        <p:spPr>
          <a:xfrm>
            <a:off x="839787" y="1371602"/>
            <a:ext cx="5095022" cy="696639"/>
          </a:xfrm>
        </p:spPr>
        <p:txBody>
          <a:bodyPr>
            <a:normAutofit/>
          </a:bodyPr>
          <a:lstStyle>
            <a:lvl1pPr marL="0" indent="0">
              <a:buNone/>
              <a:defRPr sz="24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
        <p:nvSpPr>
          <p:cNvPr id="4" name="Text Placeholder 3">
            <a:extLst>
              <a:ext uri="{FF2B5EF4-FFF2-40B4-BE49-F238E27FC236}">
                <a16:creationId xmlns:a16="http://schemas.microsoft.com/office/drawing/2014/main" id="{AC694A9C-17D2-B878-1180-FD64228F7EC0}"/>
              </a:ext>
            </a:extLst>
          </p:cNvPr>
          <p:cNvSpPr>
            <a:spLocks noGrp="1"/>
          </p:cNvSpPr>
          <p:nvPr>
            <p:ph type="body" sz="quarter" idx="16" hasCustomPrompt="1"/>
          </p:nvPr>
        </p:nvSpPr>
        <p:spPr>
          <a:xfrm>
            <a:off x="839786" y="2321170"/>
            <a:ext cx="5095022" cy="3033345"/>
          </a:xfrm>
        </p:spPr>
        <p:txBody>
          <a:bodyPr>
            <a:noAutofit/>
          </a:bodyPr>
          <a:lstStyle>
            <a:lvl1pPr marL="0" indent="0">
              <a:buNone/>
              <a:defRPr sz="2800" b="1">
                <a:solidFill>
                  <a:schemeClr val="bg1"/>
                </a:solidFill>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r>
              <a:rPr lang="en-US"/>
              <a:t>Blue Stream Background</a:t>
            </a:r>
          </a:p>
          <a:p>
            <a:pPr lvl="0"/>
            <a:r>
              <a:rPr lang="en-US"/>
              <a:t>Products &amp; Services</a:t>
            </a:r>
          </a:p>
          <a:p>
            <a:pPr lvl="0"/>
            <a:r>
              <a:rPr lang="en-US"/>
              <a:t>Transition:</a:t>
            </a:r>
            <a:br>
              <a:rPr lang="en-US"/>
            </a:br>
            <a:r>
              <a:rPr lang="en-US"/>
              <a:t>Smooth &gt; Easy &gt; Reliable</a:t>
            </a:r>
          </a:p>
          <a:p>
            <a:pPr lvl="0"/>
            <a:r>
              <a:rPr lang="en-US"/>
              <a:t>Questions</a:t>
            </a:r>
          </a:p>
        </p:txBody>
      </p:sp>
    </p:spTree>
    <p:extLst>
      <p:ext uri="{BB962C8B-B14F-4D97-AF65-F5344CB8AC3E}">
        <p14:creationId xmlns:p14="http://schemas.microsoft.com/office/powerpoint/2010/main" val="18269749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0_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07A1CE-FB50-E919-C97C-F301F653E19A}"/>
              </a:ext>
            </a:extLst>
          </p:cNvPr>
          <p:cNvSpPr/>
          <p:nvPr userDrawn="1"/>
        </p:nvSpPr>
        <p:spPr>
          <a:xfrm flipH="1">
            <a:off x="0" y="1"/>
            <a:ext cx="6935784" cy="6858000"/>
          </a:xfrm>
          <a:prstGeom prst="rect">
            <a:avLst/>
          </a:prstGeom>
          <a:gradFill flip="none" rotWithShape="1">
            <a:gsLst>
              <a:gs pos="95000">
                <a:schemeClr val="accent1"/>
              </a:gs>
              <a:gs pos="9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2">
            <a:extLst>
              <a:ext uri="{FF2B5EF4-FFF2-40B4-BE49-F238E27FC236}">
                <a16:creationId xmlns:a16="http://schemas.microsoft.com/office/drawing/2014/main" id="{EBDAF4A2-D88E-0C8D-6FB1-2EADC663C430}"/>
              </a:ext>
            </a:extLst>
          </p:cNvPr>
          <p:cNvSpPr>
            <a:spLocks noGrp="1"/>
          </p:cNvSpPr>
          <p:nvPr>
            <p:ph type="pic" idx="1" hasCustomPrompt="1"/>
          </p:nvPr>
        </p:nvSpPr>
        <p:spPr>
          <a:xfrm>
            <a:off x="6935784" y="0"/>
            <a:ext cx="5256215" cy="6858000"/>
          </a:xfrm>
        </p:spPr>
        <p:txBody>
          <a:bodyPr lIns="0" tIns="0" rIns="0" bIns="0" anchor="ctr" anchorCtr="0">
            <a:normAutofit/>
          </a:bodyPr>
          <a:lstStyle>
            <a:lvl1pPr marL="0" indent="0" algn="ctr">
              <a:buNone/>
              <a:defRPr sz="1800" b="1">
                <a:solidFill>
                  <a:schemeClr val="tx2">
                    <a:lumMod val="50000"/>
                    <a:lumOff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
        <p:nvSpPr>
          <p:cNvPr id="2" name="Triangle 1">
            <a:extLst>
              <a:ext uri="{FF2B5EF4-FFF2-40B4-BE49-F238E27FC236}">
                <a16:creationId xmlns:a16="http://schemas.microsoft.com/office/drawing/2014/main" id="{B344419F-AD47-426C-C56A-EDF4C639F5C4}"/>
              </a:ext>
            </a:extLst>
          </p:cNvPr>
          <p:cNvSpPr/>
          <p:nvPr userDrawn="1"/>
        </p:nvSpPr>
        <p:spPr>
          <a:xfrm rot="5400000">
            <a:off x="632333" y="3485598"/>
            <a:ext cx="222818" cy="19208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3">
            <a:extLst>
              <a:ext uri="{FF2B5EF4-FFF2-40B4-BE49-F238E27FC236}">
                <a16:creationId xmlns:a16="http://schemas.microsoft.com/office/drawing/2014/main" id="{B112B1E3-E53F-51CD-1C3B-8A230BEE07E7}"/>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13" name="Title 1">
            <a:extLst>
              <a:ext uri="{FF2B5EF4-FFF2-40B4-BE49-F238E27FC236}">
                <a16:creationId xmlns:a16="http://schemas.microsoft.com/office/drawing/2014/main" id="{48427D86-84CC-6D5B-90A6-A29E0B8219D7}"/>
              </a:ext>
            </a:extLst>
          </p:cNvPr>
          <p:cNvSpPr>
            <a:spLocks noGrp="1"/>
          </p:cNvSpPr>
          <p:nvPr>
            <p:ph type="title" hasCustomPrompt="1"/>
          </p:nvPr>
        </p:nvSpPr>
        <p:spPr>
          <a:xfrm>
            <a:off x="839788" y="479505"/>
            <a:ext cx="9741674" cy="801577"/>
          </a:xfrm>
        </p:spPr>
        <p:txBody>
          <a:bodyPr anchor="b" anchorCtr="0">
            <a:noAutofit/>
          </a:bodyPr>
          <a:lstStyle>
            <a:lvl1pPr>
              <a:defRPr sz="4400">
                <a:solidFill>
                  <a:schemeClr val="bg1"/>
                </a:solidFill>
              </a:defRPr>
            </a:lvl1pPr>
          </a:lstStyle>
          <a:p>
            <a:r>
              <a:rPr lang="en-US"/>
              <a:t>Title Goes Here</a:t>
            </a:r>
          </a:p>
        </p:txBody>
      </p:sp>
      <p:sp>
        <p:nvSpPr>
          <p:cNvPr id="11" name="Text Placeholder 3">
            <a:extLst>
              <a:ext uri="{FF2B5EF4-FFF2-40B4-BE49-F238E27FC236}">
                <a16:creationId xmlns:a16="http://schemas.microsoft.com/office/drawing/2014/main" id="{EC93512E-6B20-34FD-4766-46110FF45CD7}"/>
              </a:ext>
            </a:extLst>
          </p:cNvPr>
          <p:cNvSpPr>
            <a:spLocks noGrp="1"/>
          </p:cNvSpPr>
          <p:nvPr>
            <p:ph type="body" sz="quarter" idx="15" hasCustomPrompt="1"/>
          </p:nvPr>
        </p:nvSpPr>
        <p:spPr>
          <a:xfrm>
            <a:off x="839786" y="1371602"/>
            <a:ext cx="9741673" cy="696639"/>
          </a:xfrm>
        </p:spPr>
        <p:txBody>
          <a:bodyPr>
            <a:normAutofit/>
          </a:bodyPr>
          <a:lstStyle>
            <a:lvl1pPr marL="0" indent="0">
              <a:buNone/>
              <a:defRPr sz="24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
        <p:nvSpPr>
          <p:cNvPr id="4" name="Text Placeholder 3">
            <a:extLst>
              <a:ext uri="{FF2B5EF4-FFF2-40B4-BE49-F238E27FC236}">
                <a16:creationId xmlns:a16="http://schemas.microsoft.com/office/drawing/2014/main" id="{AC694A9C-17D2-B878-1180-FD64228F7EC0}"/>
              </a:ext>
            </a:extLst>
          </p:cNvPr>
          <p:cNvSpPr>
            <a:spLocks noGrp="1"/>
          </p:cNvSpPr>
          <p:nvPr>
            <p:ph type="body" sz="quarter" idx="16" hasCustomPrompt="1"/>
          </p:nvPr>
        </p:nvSpPr>
        <p:spPr>
          <a:xfrm>
            <a:off x="839786" y="2321170"/>
            <a:ext cx="5095022" cy="3033345"/>
          </a:xfrm>
        </p:spPr>
        <p:txBody>
          <a:bodyPr>
            <a:noAutofit/>
          </a:bodyPr>
          <a:lstStyle>
            <a:lvl1pPr marL="0" indent="0">
              <a:buNone/>
              <a:defRPr sz="2800" b="1">
                <a:solidFill>
                  <a:schemeClr val="bg1"/>
                </a:solidFill>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r>
              <a:rPr lang="en-US"/>
              <a:t>Blue Stream Background</a:t>
            </a:r>
          </a:p>
          <a:p>
            <a:pPr lvl="0"/>
            <a:r>
              <a:rPr lang="en-US"/>
              <a:t>Products &amp; Services</a:t>
            </a:r>
          </a:p>
          <a:p>
            <a:pPr lvl="0"/>
            <a:r>
              <a:rPr lang="en-US"/>
              <a:t>Transition:</a:t>
            </a:r>
            <a:br>
              <a:rPr lang="en-US"/>
            </a:br>
            <a:r>
              <a:rPr lang="en-US"/>
              <a:t>Smooth &gt; Easy &gt; Reliable</a:t>
            </a:r>
          </a:p>
          <a:p>
            <a:pPr lvl="0"/>
            <a:r>
              <a:rPr lang="en-US"/>
              <a:t>Questions</a:t>
            </a:r>
          </a:p>
        </p:txBody>
      </p:sp>
    </p:spTree>
    <p:extLst>
      <p:ext uri="{BB962C8B-B14F-4D97-AF65-F5344CB8AC3E}">
        <p14:creationId xmlns:p14="http://schemas.microsoft.com/office/powerpoint/2010/main" val="24852922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1_Picture with Cap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34419F3-6762-11A5-3628-BA08460CD94F}"/>
              </a:ext>
            </a:extLst>
          </p:cNvPr>
          <p:cNvSpPr/>
          <p:nvPr userDrawn="1"/>
        </p:nvSpPr>
        <p:spPr>
          <a:xfrm flipH="1">
            <a:off x="0" y="1"/>
            <a:ext cx="6935784" cy="6858000"/>
          </a:xfrm>
          <a:prstGeom prst="rect">
            <a:avLst/>
          </a:prstGeom>
          <a:gradFill flip="none" rotWithShape="1">
            <a:gsLst>
              <a:gs pos="95000">
                <a:schemeClr val="accent1"/>
              </a:gs>
              <a:gs pos="9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a:p>
        </p:txBody>
      </p:sp>
      <p:sp>
        <p:nvSpPr>
          <p:cNvPr id="5" name="Slide Number Placeholder 3">
            <a:extLst>
              <a:ext uri="{FF2B5EF4-FFF2-40B4-BE49-F238E27FC236}">
                <a16:creationId xmlns:a16="http://schemas.microsoft.com/office/drawing/2014/main" id="{33E9672D-5533-51D1-BFC6-B998ED031C53}"/>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8" name="Picture Placeholder 2">
            <a:extLst>
              <a:ext uri="{FF2B5EF4-FFF2-40B4-BE49-F238E27FC236}">
                <a16:creationId xmlns:a16="http://schemas.microsoft.com/office/drawing/2014/main" id="{FD82F2B1-8CBE-9EFF-3AAC-8906CF946D74}"/>
              </a:ext>
            </a:extLst>
          </p:cNvPr>
          <p:cNvSpPr>
            <a:spLocks noGrp="1"/>
          </p:cNvSpPr>
          <p:nvPr>
            <p:ph type="pic" idx="1" hasCustomPrompt="1"/>
          </p:nvPr>
        </p:nvSpPr>
        <p:spPr>
          <a:xfrm>
            <a:off x="6935784" y="0"/>
            <a:ext cx="5256215" cy="6858000"/>
          </a:xfrm>
        </p:spPr>
        <p:txBody>
          <a:bodyPr lIns="0" tIns="0" rIns="0" bIns="0" anchor="ctr" anchorCtr="0">
            <a:normAutofit/>
          </a:bodyPr>
          <a:lstStyle>
            <a:lvl1pPr marL="0" indent="0" algn="ctr">
              <a:buNone/>
              <a:defRPr sz="1800" b="1">
                <a:solidFill>
                  <a:schemeClr val="tx2">
                    <a:lumMod val="50000"/>
                    <a:lumOff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
        <p:nvSpPr>
          <p:cNvPr id="2" name="Triangle 1">
            <a:extLst>
              <a:ext uri="{FF2B5EF4-FFF2-40B4-BE49-F238E27FC236}">
                <a16:creationId xmlns:a16="http://schemas.microsoft.com/office/drawing/2014/main" id="{B344419F-AD47-426C-C56A-EDF4C639F5C4}"/>
              </a:ext>
            </a:extLst>
          </p:cNvPr>
          <p:cNvSpPr/>
          <p:nvPr userDrawn="1"/>
        </p:nvSpPr>
        <p:spPr>
          <a:xfrm rot="5400000">
            <a:off x="632333" y="4356039"/>
            <a:ext cx="222818" cy="19208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48427D86-84CC-6D5B-90A6-A29E0B8219D7}"/>
              </a:ext>
            </a:extLst>
          </p:cNvPr>
          <p:cNvSpPr>
            <a:spLocks noGrp="1"/>
          </p:cNvSpPr>
          <p:nvPr>
            <p:ph type="title" hasCustomPrompt="1"/>
          </p:nvPr>
        </p:nvSpPr>
        <p:spPr>
          <a:xfrm>
            <a:off x="839788" y="479505"/>
            <a:ext cx="9741674" cy="801577"/>
          </a:xfrm>
        </p:spPr>
        <p:txBody>
          <a:bodyPr anchor="b" anchorCtr="0">
            <a:noAutofit/>
          </a:bodyPr>
          <a:lstStyle>
            <a:lvl1pPr>
              <a:defRPr sz="4400">
                <a:solidFill>
                  <a:schemeClr val="bg1"/>
                </a:solidFill>
              </a:defRPr>
            </a:lvl1pPr>
          </a:lstStyle>
          <a:p>
            <a:r>
              <a:rPr lang="en-US"/>
              <a:t>Title Goes Here</a:t>
            </a:r>
          </a:p>
        </p:txBody>
      </p:sp>
      <p:sp>
        <p:nvSpPr>
          <p:cNvPr id="11" name="Text Placeholder 3">
            <a:extLst>
              <a:ext uri="{FF2B5EF4-FFF2-40B4-BE49-F238E27FC236}">
                <a16:creationId xmlns:a16="http://schemas.microsoft.com/office/drawing/2014/main" id="{EC93512E-6B20-34FD-4766-46110FF45CD7}"/>
              </a:ext>
            </a:extLst>
          </p:cNvPr>
          <p:cNvSpPr>
            <a:spLocks noGrp="1"/>
          </p:cNvSpPr>
          <p:nvPr>
            <p:ph type="body" sz="quarter" idx="15" hasCustomPrompt="1"/>
          </p:nvPr>
        </p:nvSpPr>
        <p:spPr>
          <a:xfrm>
            <a:off x="839786" y="1371602"/>
            <a:ext cx="9741673" cy="696639"/>
          </a:xfrm>
        </p:spPr>
        <p:txBody>
          <a:bodyPr>
            <a:normAutofit/>
          </a:bodyPr>
          <a:lstStyle>
            <a:lvl1pPr marL="0" indent="0">
              <a:buNone/>
              <a:defRPr sz="24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
        <p:nvSpPr>
          <p:cNvPr id="4" name="Text Placeholder 3">
            <a:extLst>
              <a:ext uri="{FF2B5EF4-FFF2-40B4-BE49-F238E27FC236}">
                <a16:creationId xmlns:a16="http://schemas.microsoft.com/office/drawing/2014/main" id="{AC694A9C-17D2-B878-1180-FD64228F7EC0}"/>
              </a:ext>
            </a:extLst>
          </p:cNvPr>
          <p:cNvSpPr>
            <a:spLocks noGrp="1"/>
          </p:cNvSpPr>
          <p:nvPr>
            <p:ph type="body" sz="quarter" idx="16" hasCustomPrompt="1"/>
          </p:nvPr>
        </p:nvSpPr>
        <p:spPr>
          <a:xfrm>
            <a:off x="839786" y="2321170"/>
            <a:ext cx="5095022" cy="3033345"/>
          </a:xfrm>
        </p:spPr>
        <p:txBody>
          <a:bodyPr>
            <a:noAutofit/>
          </a:bodyPr>
          <a:lstStyle>
            <a:lvl1pPr marL="0" indent="0">
              <a:buNone/>
              <a:defRPr sz="2800" b="1">
                <a:solidFill>
                  <a:schemeClr val="bg1"/>
                </a:solidFill>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r>
              <a:rPr lang="en-US"/>
              <a:t>Blue Stream Background</a:t>
            </a:r>
          </a:p>
          <a:p>
            <a:pPr lvl="0"/>
            <a:r>
              <a:rPr lang="en-US"/>
              <a:t>Products &amp; Services</a:t>
            </a:r>
          </a:p>
          <a:p>
            <a:pPr lvl="0"/>
            <a:r>
              <a:rPr lang="en-US"/>
              <a:t>Transition:</a:t>
            </a:r>
            <a:br>
              <a:rPr lang="en-US"/>
            </a:br>
            <a:r>
              <a:rPr lang="en-US"/>
              <a:t>Smooth &gt; Easy &gt; Reliable</a:t>
            </a:r>
          </a:p>
          <a:p>
            <a:pPr lvl="0"/>
            <a:r>
              <a:rPr lang="en-US"/>
              <a:t>Questions</a:t>
            </a:r>
          </a:p>
        </p:txBody>
      </p:sp>
    </p:spTree>
    <p:extLst>
      <p:ext uri="{BB962C8B-B14F-4D97-AF65-F5344CB8AC3E}">
        <p14:creationId xmlns:p14="http://schemas.microsoft.com/office/powerpoint/2010/main" val="3639085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7_Picture with Cap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64BEE06-5202-1B8E-4796-8E7BC0A86083}"/>
              </a:ext>
            </a:extLst>
          </p:cNvPr>
          <p:cNvSpPr/>
          <p:nvPr userDrawn="1"/>
        </p:nvSpPr>
        <p:spPr>
          <a:xfrm>
            <a:off x="0" y="-1"/>
            <a:ext cx="7315199" cy="6858000"/>
          </a:xfrm>
          <a:prstGeom prst="rect">
            <a:avLst/>
          </a:prstGeom>
          <a:gradFill flip="none" rotWithShape="1">
            <a:gsLst>
              <a:gs pos="95000">
                <a:schemeClr val="accent1"/>
              </a:gs>
              <a:gs pos="9000">
                <a:schemeClr val="accent3"/>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18CBFB3-5031-4B6A-F498-676AE0C0C796}"/>
              </a:ext>
            </a:extLst>
          </p:cNvPr>
          <p:cNvSpPr>
            <a:spLocks noGrp="1"/>
          </p:cNvSpPr>
          <p:nvPr>
            <p:ph type="title" hasCustomPrompt="1"/>
          </p:nvPr>
        </p:nvSpPr>
        <p:spPr>
          <a:xfrm>
            <a:off x="839788" y="479505"/>
            <a:ext cx="6475414" cy="801577"/>
          </a:xfrm>
        </p:spPr>
        <p:txBody>
          <a:bodyPr anchor="b" anchorCtr="0">
            <a:noAutofit/>
          </a:bodyPr>
          <a:lstStyle>
            <a:lvl1pPr>
              <a:defRPr sz="4400">
                <a:solidFill>
                  <a:schemeClr val="bg2"/>
                </a:solidFill>
              </a:defRPr>
            </a:lvl1pPr>
          </a:lstStyle>
          <a:p>
            <a:r>
              <a:rPr lang="en-US"/>
              <a:t>Title Goes Here</a:t>
            </a:r>
          </a:p>
        </p:txBody>
      </p:sp>
      <p:sp>
        <p:nvSpPr>
          <p:cNvPr id="14" name="Text Placeholder 3">
            <a:extLst>
              <a:ext uri="{FF2B5EF4-FFF2-40B4-BE49-F238E27FC236}">
                <a16:creationId xmlns:a16="http://schemas.microsoft.com/office/drawing/2014/main" id="{D66D6131-02B2-04C4-7274-0EF2ADACB0EF}"/>
              </a:ext>
            </a:extLst>
          </p:cNvPr>
          <p:cNvSpPr>
            <a:spLocks noGrp="1"/>
          </p:cNvSpPr>
          <p:nvPr>
            <p:ph type="body" sz="quarter" idx="15" hasCustomPrompt="1"/>
          </p:nvPr>
        </p:nvSpPr>
        <p:spPr>
          <a:xfrm>
            <a:off x="839786" y="1371602"/>
            <a:ext cx="6475413" cy="696639"/>
          </a:xfrm>
        </p:spPr>
        <p:txBody>
          <a:bodyPr>
            <a:normAutofit/>
          </a:bodyPr>
          <a:lstStyle>
            <a:lvl1pPr marL="0" indent="0">
              <a:buNone/>
              <a:defRPr sz="24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
        <p:nvSpPr>
          <p:cNvPr id="6" name="Text Placeholder 5">
            <a:extLst>
              <a:ext uri="{FF2B5EF4-FFF2-40B4-BE49-F238E27FC236}">
                <a16:creationId xmlns:a16="http://schemas.microsoft.com/office/drawing/2014/main" id="{B982B4D6-26F1-A55B-DBAA-54B4A4343620}"/>
              </a:ext>
            </a:extLst>
          </p:cNvPr>
          <p:cNvSpPr>
            <a:spLocks noGrp="1"/>
          </p:cNvSpPr>
          <p:nvPr>
            <p:ph type="body" sz="quarter" idx="16"/>
          </p:nvPr>
        </p:nvSpPr>
        <p:spPr>
          <a:xfrm>
            <a:off x="839787" y="2241396"/>
            <a:ext cx="5877535" cy="1698592"/>
          </a:xfrm>
        </p:spPr>
        <p:txBody>
          <a:bodyPr>
            <a:normAutofit/>
          </a:bodyPr>
          <a:lstStyle>
            <a:lvl1pPr marL="0" indent="0">
              <a:buNone/>
              <a:defRPr sz="2400" b="1">
                <a:solidFill>
                  <a:schemeClr val="accent2"/>
                </a:solidFill>
              </a:defRPr>
            </a:lvl1pPr>
            <a:lvl2pPr marL="349250" marR="0"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marL="349250" marR="0" lvl="1"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Second level</a:t>
            </a:r>
          </a:p>
          <a:p>
            <a:pPr marL="349250" marR="0" lvl="1"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Second level</a:t>
            </a:r>
          </a:p>
        </p:txBody>
      </p:sp>
      <p:sp>
        <p:nvSpPr>
          <p:cNvPr id="18" name="Text Placeholder 5">
            <a:extLst>
              <a:ext uri="{FF2B5EF4-FFF2-40B4-BE49-F238E27FC236}">
                <a16:creationId xmlns:a16="http://schemas.microsoft.com/office/drawing/2014/main" id="{96F37FC9-1DBD-CDFC-DC2F-98581F0A2D42}"/>
              </a:ext>
            </a:extLst>
          </p:cNvPr>
          <p:cNvSpPr>
            <a:spLocks noGrp="1"/>
          </p:cNvSpPr>
          <p:nvPr>
            <p:ph type="body" sz="quarter" idx="17"/>
          </p:nvPr>
        </p:nvSpPr>
        <p:spPr>
          <a:xfrm>
            <a:off x="839787" y="4078988"/>
            <a:ext cx="5877535" cy="1698592"/>
          </a:xfrm>
        </p:spPr>
        <p:txBody>
          <a:bodyPr>
            <a:normAutofit/>
          </a:bodyPr>
          <a:lstStyle>
            <a:lvl1pPr marL="0" indent="0">
              <a:buNone/>
              <a:defRPr sz="2400" b="1">
                <a:solidFill>
                  <a:schemeClr val="accent2"/>
                </a:solidFill>
              </a:defRPr>
            </a:lvl1pPr>
            <a:lvl2pPr marL="349250" marR="0"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marL="349250" marR="0" lvl="1"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Second level</a:t>
            </a:r>
          </a:p>
          <a:p>
            <a:pPr marL="349250" marR="0" lvl="1"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Second level</a:t>
            </a:r>
          </a:p>
        </p:txBody>
      </p:sp>
      <p:sp>
        <p:nvSpPr>
          <p:cNvPr id="21" name="Picture Placeholder 2">
            <a:extLst>
              <a:ext uri="{FF2B5EF4-FFF2-40B4-BE49-F238E27FC236}">
                <a16:creationId xmlns:a16="http://schemas.microsoft.com/office/drawing/2014/main" id="{1029220F-1280-AE74-7A05-7076AD9863A1}"/>
              </a:ext>
            </a:extLst>
          </p:cNvPr>
          <p:cNvSpPr>
            <a:spLocks noGrp="1"/>
          </p:cNvSpPr>
          <p:nvPr>
            <p:ph type="pic" idx="1" hasCustomPrompt="1"/>
          </p:nvPr>
        </p:nvSpPr>
        <p:spPr>
          <a:xfrm>
            <a:off x="7936524" y="479504"/>
            <a:ext cx="3634154" cy="3529787"/>
          </a:xfrm>
        </p:spPr>
        <p:txBody>
          <a:bodyPr lIns="0" tIns="0" rIns="0" bIns="0" anchor="ctr" anchorCtr="0">
            <a:normAutofit/>
          </a:bodyPr>
          <a:lstStyle>
            <a:lvl1pPr marL="0" indent="0" algn="ctr">
              <a:buNone/>
              <a:defRPr sz="1800" b="1">
                <a:solidFill>
                  <a:schemeClr val="accent1">
                    <a:lumMod val="25000"/>
                    <a:lumOff val="7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Tree>
    <p:extLst>
      <p:ext uri="{BB962C8B-B14F-4D97-AF65-F5344CB8AC3E}">
        <p14:creationId xmlns:p14="http://schemas.microsoft.com/office/powerpoint/2010/main" val="22051646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7_Picture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B32E079-C0DB-CCC7-3948-584C8614D65E}"/>
              </a:ext>
            </a:extLst>
          </p:cNvPr>
          <p:cNvSpPr/>
          <p:nvPr userDrawn="1"/>
        </p:nvSpPr>
        <p:spPr>
          <a:xfrm flipH="1">
            <a:off x="-1" y="1"/>
            <a:ext cx="7315201" cy="6858000"/>
          </a:xfrm>
          <a:prstGeom prst="rect">
            <a:avLst/>
          </a:prstGeom>
          <a:gradFill flip="none" rotWithShape="1">
            <a:gsLst>
              <a:gs pos="95000">
                <a:schemeClr val="accent1"/>
              </a:gs>
              <a:gs pos="9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icture Placeholder 2">
            <a:extLst>
              <a:ext uri="{FF2B5EF4-FFF2-40B4-BE49-F238E27FC236}">
                <a16:creationId xmlns:a16="http://schemas.microsoft.com/office/drawing/2014/main" id="{1029220F-1280-AE74-7A05-7076AD9863A1}"/>
              </a:ext>
            </a:extLst>
          </p:cNvPr>
          <p:cNvSpPr>
            <a:spLocks noGrp="1"/>
          </p:cNvSpPr>
          <p:nvPr>
            <p:ph type="pic" idx="1" hasCustomPrompt="1"/>
          </p:nvPr>
        </p:nvSpPr>
        <p:spPr>
          <a:xfrm>
            <a:off x="7315202" y="0"/>
            <a:ext cx="4876798" cy="6858000"/>
          </a:xfrm>
        </p:spPr>
        <p:txBody>
          <a:bodyPr lIns="0" tIns="0" rIns="0" bIns="0" anchor="ctr" anchorCtr="0">
            <a:normAutofit/>
          </a:bodyPr>
          <a:lstStyle>
            <a:lvl1pPr marL="0" indent="0" algn="ctr">
              <a:buNone/>
              <a:defRPr sz="1800" b="1">
                <a:solidFill>
                  <a:schemeClr val="tx2">
                    <a:lumMod val="50000"/>
                    <a:lumOff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
        <p:nvSpPr>
          <p:cNvPr id="22" name="Content Placeholder 2">
            <a:extLst>
              <a:ext uri="{FF2B5EF4-FFF2-40B4-BE49-F238E27FC236}">
                <a16:creationId xmlns:a16="http://schemas.microsoft.com/office/drawing/2014/main" id="{183B2403-4398-550D-B08E-DA02D31EB7B3}"/>
              </a:ext>
            </a:extLst>
          </p:cNvPr>
          <p:cNvSpPr>
            <a:spLocks noGrp="1"/>
          </p:cNvSpPr>
          <p:nvPr>
            <p:ph sz="half" idx="10"/>
          </p:nvPr>
        </p:nvSpPr>
        <p:spPr>
          <a:xfrm>
            <a:off x="839788" y="2204768"/>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lide Number Placeholder 3">
            <a:extLst>
              <a:ext uri="{FF2B5EF4-FFF2-40B4-BE49-F238E27FC236}">
                <a16:creationId xmlns:a16="http://schemas.microsoft.com/office/drawing/2014/main" id="{993FE7ED-BF94-FA87-A57E-B95E05E41E5E}"/>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24" name="Title 1">
            <a:extLst>
              <a:ext uri="{FF2B5EF4-FFF2-40B4-BE49-F238E27FC236}">
                <a16:creationId xmlns:a16="http://schemas.microsoft.com/office/drawing/2014/main" id="{D84D43DF-E95A-2FC0-02AF-8B3D5D587813}"/>
              </a:ext>
            </a:extLst>
          </p:cNvPr>
          <p:cNvSpPr>
            <a:spLocks noGrp="1"/>
          </p:cNvSpPr>
          <p:nvPr>
            <p:ph type="title" hasCustomPrompt="1"/>
          </p:nvPr>
        </p:nvSpPr>
        <p:spPr>
          <a:xfrm>
            <a:off x="839788" y="479505"/>
            <a:ext cx="9741674" cy="801577"/>
          </a:xfrm>
        </p:spPr>
        <p:txBody>
          <a:bodyPr anchor="b" anchorCtr="0">
            <a:noAutofit/>
          </a:bodyPr>
          <a:lstStyle>
            <a:lvl1pPr>
              <a:defRPr sz="4400">
                <a:solidFill>
                  <a:schemeClr val="bg1"/>
                </a:solidFill>
              </a:defRPr>
            </a:lvl1pPr>
          </a:lstStyle>
          <a:p>
            <a:r>
              <a:rPr lang="en-US"/>
              <a:t>Title Goes Here</a:t>
            </a:r>
          </a:p>
        </p:txBody>
      </p:sp>
      <p:sp>
        <p:nvSpPr>
          <p:cNvPr id="10" name="Text Placeholder 3">
            <a:extLst>
              <a:ext uri="{FF2B5EF4-FFF2-40B4-BE49-F238E27FC236}">
                <a16:creationId xmlns:a16="http://schemas.microsoft.com/office/drawing/2014/main" id="{C91EDCA5-4FCA-1053-A0D6-8349377CF5E1}"/>
              </a:ext>
            </a:extLst>
          </p:cNvPr>
          <p:cNvSpPr>
            <a:spLocks noGrp="1"/>
          </p:cNvSpPr>
          <p:nvPr>
            <p:ph type="body" sz="quarter" idx="15" hasCustomPrompt="1"/>
          </p:nvPr>
        </p:nvSpPr>
        <p:spPr>
          <a:xfrm>
            <a:off x="839786" y="1371602"/>
            <a:ext cx="9741673" cy="696639"/>
          </a:xfrm>
        </p:spPr>
        <p:txBody>
          <a:bodyPr>
            <a:normAutofit/>
          </a:bodyPr>
          <a:lstStyle>
            <a:lvl1pPr marL="0" indent="0">
              <a:buNone/>
              <a:defRPr sz="24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pic>
        <p:nvPicPr>
          <p:cNvPr id="17" name="Picture 16" descr="A picture containing text, clipart, vector graphics&#10;&#10;Description automatically generated">
            <a:extLst>
              <a:ext uri="{FF2B5EF4-FFF2-40B4-BE49-F238E27FC236}">
                <a16:creationId xmlns:a16="http://schemas.microsoft.com/office/drawing/2014/main" id="{20ADE26C-A168-3854-C146-50F156C7152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36530" y="5994131"/>
            <a:ext cx="1463477" cy="561975"/>
          </a:xfrm>
          <a:prstGeom prst="rect">
            <a:avLst/>
          </a:prstGeom>
        </p:spPr>
      </p:pic>
    </p:spTree>
    <p:extLst>
      <p:ext uri="{BB962C8B-B14F-4D97-AF65-F5344CB8AC3E}">
        <p14:creationId xmlns:p14="http://schemas.microsoft.com/office/powerpoint/2010/main" val="9575144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Right-Title+Tex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9DDB6F-FDD8-86D5-F411-44BC5443D641}"/>
              </a:ext>
            </a:extLst>
          </p:cNvPr>
          <p:cNvSpPr/>
          <p:nvPr userDrawn="1"/>
        </p:nvSpPr>
        <p:spPr>
          <a:xfrm>
            <a:off x="0" y="0"/>
            <a:ext cx="6096000" cy="6858000"/>
          </a:xfrm>
          <a:prstGeom prst="rect">
            <a:avLst/>
          </a:prstGeom>
          <a:gradFill flip="none" rotWithShape="1">
            <a:gsLst>
              <a:gs pos="18000">
                <a:schemeClr val="accent1"/>
              </a:gs>
              <a:gs pos="91000">
                <a:schemeClr val="accent3"/>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A9C43533-7263-960C-2CB4-586AA97F3E41}"/>
              </a:ext>
            </a:extLst>
          </p:cNvPr>
          <p:cNvSpPr>
            <a:spLocks noGrp="1"/>
          </p:cNvSpPr>
          <p:nvPr>
            <p:ph type="title"/>
          </p:nvPr>
        </p:nvSpPr>
        <p:spPr>
          <a:xfrm>
            <a:off x="6799385" y="715108"/>
            <a:ext cx="4472354" cy="1585181"/>
          </a:xfrm>
        </p:spPr>
        <p:txBody>
          <a:bodyPr anchor="b" anchorCtr="0">
            <a:normAutofit/>
          </a:bodyPr>
          <a:lstStyle>
            <a:lvl1pPr>
              <a:defRPr sz="3600"/>
            </a:lvl1pPr>
          </a:lstStyle>
          <a:p>
            <a:r>
              <a:rPr lang="en-US"/>
              <a:t>Click to edit Master title style</a:t>
            </a:r>
          </a:p>
        </p:txBody>
      </p:sp>
      <p:sp>
        <p:nvSpPr>
          <p:cNvPr id="5" name="Content Placeholder 2">
            <a:extLst>
              <a:ext uri="{FF2B5EF4-FFF2-40B4-BE49-F238E27FC236}">
                <a16:creationId xmlns:a16="http://schemas.microsoft.com/office/drawing/2014/main" id="{C7482196-2C88-320D-8497-481FBB717C49}"/>
              </a:ext>
            </a:extLst>
          </p:cNvPr>
          <p:cNvSpPr>
            <a:spLocks noGrp="1"/>
          </p:cNvSpPr>
          <p:nvPr>
            <p:ph idx="1"/>
          </p:nvPr>
        </p:nvSpPr>
        <p:spPr>
          <a:xfrm>
            <a:off x="6799385" y="2435226"/>
            <a:ext cx="4472354" cy="37076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1A0C61CE-36E5-2DF7-069F-EE1269C9E0B6}"/>
              </a:ext>
            </a:extLst>
          </p:cNvPr>
          <p:cNvSpPr>
            <a:spLocks noGrp="1"/>
          </p:cNvSpPr>
          <p:nvPr>
            <p:ph type="pic" idx="19" hasCustomPrompt="1"/>
          </p:nvPr>
        </p:nvSpPr>
        <p:spPr>
          <a:xfrm>
            <a:off x="467360" y="631874"/>
            <a:ext cx="5181600" cy="5594252"/>
          </a:xfrm>
        </p:spPr>
        <p:txBody>
          <a:bodyPr lIns="0" tIns="0" rIns="0" bIns="0" anchor="ctr" anchorCtr="0">
            <a:normAutofit/>
          </a:bodyPr>
          <a:lstStyle>
            <a:lvl1pPr marL="0" indent="0" algn="ctr">
              <a:buNone/>
              <a:defRPr sz="1800" b="1">
                <a:solidFill>
                  <a:srgbClr val="3EB1C8"/>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Tree>
    <p:extLst>
      <p:ext uri="{BB962C8B-B14F-4D97-AF65-F5344CB8AC3E}">
        <p14:creationId xmlns:p14="http://schemas.microsoft.com/office/powerpoint/2010/main" val="18063630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_Dated_Photo">
    <p:bg>
      <p:bgPr>
        <a:solidFill>
          <a:schemeClr val="bg1"/>
        </a:solidFill>
        <a:effectLst/>
      </p:bgPr>
    </p:bg>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F655A189-B1C6-DEF2-6622-35AAED098B41}"/>
              </a:ext>
            </a:extLst>
          </p:cNvPr>
          <p:cNvSpPr>
            <a:spLocks noGrp="1"/>
          </p:cNvSpPr>
          <p:nvPr>
            <p:ph type="pic" sz="quarter" idx="10"/>
          </p:nvPr>
        </p:nvSpPr>
        <p:spPr>
          <a:xfrm>
            <a:off x="7194429" y="0"/>
            <a:ext cx="4997569" cy="6858000"/>
          </a:xfrm>
        </p:spPr>
      </p:sp>
      <p:sp>
        <p:nvSpPr>
          <p:cNvPr id="2" name="Rectangle 1">
            <a:extLst>
              <a:ext uri="{FF2B5EF4-FFF2-40B4-BE49-F238E27FC236}">
                <a16:creationId xmlns:a16="http://schemas.microsoft.com/office/drawing/2014/main" id="{BD8BC6E2-2FD2-5AC0-2519-06B2C50CC952}"/>
              </a:ext>
            </a:extLst>
          </p:cNvPr>
          <p:cNvSpPr/>
          <p:nvPr userDrawn="1"/>
        </p:nvSpPr>
        <p:spPr>
          <a:xfrm>
            <a:off x="0" y="0"/>
            <a:ext cx="7194430" cy="6858000"/>
          </a:xfrm>
          <a:prstGeom prst="rect">
            <a:avLst/>
          </a:prstGeom>
          <a:gradFill flip="none" rotWithShape="1">
            <a:gsLst>
              <a:gs pos="74000">
                <a:schemeClr val="accent1"/>
              </a:gs>
              <a:gs pos="8000">
                <a:schemeClr val="accent3"/>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6FE52927-AA56-AD7A-5DA1-48C2081BCDD4}"/>
              </a:ext>
            </a:extLst>
          </p:cNvPr>
          <p:cNvSpPr>
            <a:spLocks noGrp="1"/>
          </p:cNvSpPr>
          <p:nvPr>
            <p:ph type="ctrTitle" hasCustomPrompt="1"/>
          </p:nvPr>
        </p:nvSpPr>
        <p:spPr>
          <a:xfrm>
            <a:off x="993302" y="1656696"/>
            <a:ext cx="5520906" cy="2621441"/>
          </a:xfrm>
        </p:spPr>
        <p:txBody>
          <a:bodyPr anchor="b">
            <a:normAutofit/>
          </a:bodyPr>
          <a:lstStyle>
            <a:lvl1pPr algn="l">
              <a:defRPr sz="4400" b="1">
                <a:solidFill>
                  <a:schemeClr val="bg1"/>
                </a:solidFill>
              </a:defRPr>
            </a:lvl1pPr>
          </a:lstStyle>
          <a:p>
            <a:r>
              <a:rPr lang="en-US"/>
              <a:t>The Title of a Section or Presentation Goes Here</a:t>
            </a:r>
          </a:p>
        </p:txBody>
      </p:sp>
      <p:sp>
        <p:nvSpPr>
          <p:cNvPr id="12" name="Subtitle 2">
            <a:extLst>
              <a:ext uri="{FF2B5EF4-FFF2-40B4-BE49-F238E27FC236}">
                <a16:creationId xmlns:a16="http://schemas.microsoft.com/office/drawing/2014/main" id="{71637214-C6A8-76F2-93CA-A1B6CA1D259A}"/>
              </a:ext>
            </a:extLst>
          </p:cNvPr>
          <p:cNvSpPr>
            <a:spLocks noGrp="1"/>
          </p:cNvSpPr>
          <p:nvPr>
            <p:ph type="subTitle" idx="1" hasCustomPrompt="1"/>
          </p:nvPr>
        </p:nvSpPr>
        <p:spPr>
          <a:xfrm>
            <a:off x="993302" y="4370213"/>
            <a:ext cx="5520906" cy="504136"/>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is a space for a subtitle</a:t>
            </a:r>
          </a:p>
        </p:txBody>
      </p:sp>
      <p:sp>
        <p:nvSpPr>
          <p:cNvPr id="9" name="Text Placeholder 8">
            <a:extLst>
              <a:ext uri="{FF2B5EF4-FFF2-40B4-BE49-F238E27FC236}">
                <a16:creationId xmlns:a16="http://schemas.microsoft.com/office/drawing/2014/main" id="{47021AE1-66BB-CEA0-F323-E88BD0A4E95E}"/>
              </a:ext>
            </a:extLst>
          </p:cNvPr>
          <p:cNvSpPr>
            <a:spLocks noGrp="1"/>
          </p:cNvSpPr>
          <p:nvPr>
            <p:ph type="body" sz="quarter" idx="11" hasCustomPrompt="1"/>
          </p:nvPr>
        </p:nvSpPr>
        <p:spPr>
          <a:xfrm>
            <a:off x="993302" y="5201304"/>
            <a:ext cx="1382713" cy="316945"/>
          </a:xfrm>
          <a:solidFill>
            <a:srgbClr val="004161"/>
          </a:solidFill>
        </p:spPr>
        <p:txBody>
          <a:bodyPr anchor="ctr">
            <a:noAutofit/>
          </a:bodyPr>
          <a:lstStyle>
            <a:lvl1pPr marL="0" indent="0">
              <a:buNone/>
              <a:defRPr sz="1000">
                <a:solidFill>
                  <a:schemeClr val="bg1"/>
                </a:solidFill>
              </a:defRPr>
            </a:lvl1pPr>
          </a:lstStyle>
          <a:p>
            <a:pPr algn="ctr"/>
            <a:r>
              <a:rPr lang="en-US"/>
              <a:t>Month YYYY</a:t>
            </a:r>
          </a:p>
        </p:txBody>
      </p:sp>
    </p:spTree>
    <p:extLst>
      <p:ext uri="{BB962C8B-B14F-4D97-AF65-F5344CB8AC3E}">
        <p14:creationId xmlns:p14="http://schemas.microsoft.com/office/powerpoint/2010/main" val="24252265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Right-Title+Tex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9DDB6F-FDD8-86D5-F411-44BC5443D641}"/>
              </a:ext>
            </a:extLst>
          </p:cNvPr>
          <p:cNvSpPr/>
          <p:nvPr userDrawn="1"/>
        </p:nvSpPr>
        <p:spPr>
          <a:xfrm>
            <a:off x="0" y="0"/>
            <a:ext cx="3708400" cy="6858000"/>
          </a:xfrm>
          <a:prstGeom prst="rect">
            <a:avLst/>
          </a:prstGeom>
          <a:gradFill flip="none" rotWithShape="1">
            <a:gsLst>
              <a:gs pos="18000">
                <a:schemeClr val="accent1"/>
              </a:gs>
              <a:gs pos="91000">
                <a:schemeClr val="accent3"/>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A9C43533-7263-960C-2CB4-586AA97F3E41}"/>
              </a:ext>
            </a:extLst>
          </p:cNvPr>
          <p:cNvSpPr>
            <a:spLocks noGrp="1"/>
          </p:cNvSpPr>
          <p:nvPr>
            <p:ph type="title"/>
          </p:nvPr>
        </p:nvSpPr>
        <p:spPr>
          <a:xfrm>
            <a:off x="4429760" y="715108"/>
            <a:ext cx="6841979" cy="1585181"/>
          </a:xfrm>
        </p:spPr>
        <p:txBody>
          <a:bodyPr anchor="b" anchorCtr="0">
            <a:normAutofit/>
          </a:bodyPr>
          <a:lstStyle>
            <a:lvl1pPr>
              <a:defRPr sz="3600"/>
            </a:lvl1pPr>
          </a:lstStyle>
          <a:p>
            <a:r>
              <a:rPr lang="en-US"/>
              <a:t>Click to edit Master title style</a:t>
            </a:r>
          </a:p>
        </p:txBody>
      </p:sp>
      <p:sp>
        <p:nvSpPr>
          <p:cNvPr id="5" name="Content Placeholder 2">
            <a:extLst>
              <a:ext uri="{FF2B5EF4-FFF2-40B4-BE49-F238E27FC236}">
                <a16:creationId xmlns:a16="http://schemas.microsoft.com/office/drawing/2014/main" id="{C7482196-2C88-320D-8497-481FBB717C49}"/>
              </a:ext>
            </a:extLst>
          </p:cNvPr>
          <p:cNvSpPr>
            <a:spLocks noGrp="1"/>
          </p:cNvSpPr>
          <p:nvPr>
            <p:ph idx="1"/>
          </p:nvPr>
        </p:nvSpPr>
        <p:spPr>
          <a:xfrm>
            <a:off x="4429760" y="2435226"/>
            <a:ext cx="6841979" cy="37076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2">
            <a:extLst>
              <a:ext uri="{FF2B5EF4-FFF2-40B4-BE49-F238E27FC236}">
                <a16:creationId xmlns:a16="http://schemas.microsoft.com/office/drawing/2014/main" id="{0343B5B1-25F2-750B-DFB2-35BA61250485}"/>
              </a:ext>
            </a:extLst>
          </p:cNvPr>
          <p:cNvSpPr>
            <a:spLocks noGrp="1"/>
          </p:cNvSpPr>
          <p:nvPr>
            <p:ph type="pic" idx="19" hasCustomPrompt="1"/>
          </p:nvPr>
        </p:nvSpPr>
        <p:spPr>
          <a:xfrm>
            <a:off x="447040" y="1056640"/>
            <a:ext cx="2814320" cy="4744720"/>
          </a:xfrm>
        </p:spPr>
        <p:txBody>
          <a:bodyPr lIns="0" tIns="0" rIns="0" bIns="0" anchor="ctr" anchorCtr="0">
            <a:normAutofit/>
          </a:bodyPr>
          <a:lstStyle>
            <a:lvl1pPr marL="0" indent="0" algn="ctr">
              <a:buNone/>
              <a:defRPr sz="1800" b="1">
                <a:solidFill>
                  <a:srgbClr val="3EB1C8"/>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Tree>
    <p:extLst>
      <p:ext uri="{BB962C8B-B14F-4D97-AF65-F5344CB8AC3E}">
        <p14:creationId xmlns:p14="http://schemas.microsoft.com/office/powerpoint/2010/main" val="31134357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Right-Title+Tex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9DDB6F-FDD8-86D5-F411-44BC5443D641}"/>
              </a:ext>
            </a:extLst>
          </p:cNvPr>
          <p:cNvSpPr/>
          <p:nvPr userDrawn="1"/>
        </p:nvSpPr>
        <p:spPr>
          <a:xfrm>
            <a:off x="0" y="0"/>
            <a:ext cx="2773680" cy="6858000"/>
          </a:xfrm>
          <a:prstGeom prst="rect">
            <a:avLst/>
          </a:prstGeom>
          <a:gradFill flip="none" rotWithShape="1">
            <a:gsLst>
              <a:gs pos="18000">
                <a:schemeClr val="accent1"/>
              </a:gs>
              <a:gs pos="91000">
                <a:schemeClr val="accent3"/>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A9C43533-7263-960C-2CB4-586AA97F3E41}"/>
              </a:ext>
            </a:extLst>
          </p:cNvPr>
          <p:cNvSpPr>
            <a:spLocks noGrp="1"/>
          </p:cNvSpPr>
          <p:nvPr>
            <p:ph type="title"/>
          </p:nvPr>
        </p:nvSpPr>
        <p:spPr>
          <a:xfrm>
            <a:off x="3495040" y="715108"/>
            <a:ext cx="7634459" cy="1585181"/>
          </a:xfrm>
        </p:spPr>
        <p:txBody>
          <a:bodyPr anchor="b" anchorCtr="0">
            <a:normAutofit/>
          </a:bodyPr>
          <a:lstStyle>
            <a:lvl1pPr>
              <a:defRPr sz="3600"/>
            </a:lvl1pPr>
          </a:lstStyle>
          <a:p>
            <a:r>
              <a:rPr lang="en-US"/>
              <a:t>Click to edit Master title style</a:t>
            </a:r>
          </a:p>
        </p:txBody>
      </p:sp>
      <p:sp>
        <p:nvSpPr>
          <p:cNvPr id="5" name="Content Placeholder 2">
            <a:extLst>
              <a:ext uri="{FF2B5EF4-FFF2-40B4-BE49-F238E27FC236}">
                <a16:creationId xmlns:a16="http://schemas.microsoft.com/office/drawing/2014/main" id="{C7482196-2C88-320D-8497-481FBB717C49}"/>
              </a:ext>
            </a:extLst>
          </p:cNvPr>
          <p:cNvSpPr>
            <a:spLocks noGrp="1"/>
          </p:cNvSpPr>
          <p:nvPr>
            <p:ph idx="1"/>
          </p:nvPr>
        </p:nvSpPr>
        <p:spPr>
          <a:xfrm>
            <a:off x="3495040" y="2435226"/>
            <a:ext cx="7634459" cy="37076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52015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Minimal_Gray">
    <p:bg>
      <p:bgPr>
        <a:solidFill>
          <a:schemeClr val="bg1"/>
        </a:soli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9473E700-3CF3-6495-5A58-0D94354DF2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7650" y="5991225"/>
            <a:ext cx="1463477" cy="561975"/>
          </a:xfrm>
          <a:prstGeom prst="rect">
            <a:avLst/>
          </a:prstGeom>
        </p:spPr>
      </p:pic>
      <p:sp>
        <p:nvSpPr>
          <p:cNvPr id="9" name="Title 1">
            <a:extLst>
              <a:ext uri="{FF2B5EF4-FFF2-40B4-BE49-F238E27FC236}">
                <a16:creationId xmlns:a16="http://schemas.microsoft.com/office/drawing/2014/main" id="{6403B6BA-D744-40B3-6A58-CDFFBA7697DD}"/>
              </a:ext>
            </a:extLst>
          </p:cNvPr>
          <p:cNvSpPr>
            <a:spLocks noGrp="1"/>
          </p:cNvSpPr>
          <p:nvPr>
            <p:ph type="ctrTitle" hasCustomPrompt="1"/>
          </p:nvPr>
        </p:nvSpPr>
        <p:spPr>
          <a:xfrm>
            <a:off x="914400" y="1383957"/>
            <a:ext cx="9144000" cy="2126005"/>
          </a:xfrm>
        </p:spPr>
        <p:txBody>
          <a:bodyPr anchor="b">
            <a:normAutofit/>
          </a:bodyPr>
          <a:lstStyle>
            <a:lvl1pPr algn="l">
              <a:defRPr sz="4400" b="1">
                <a:solidFill>
                  <a:schemeClr val="accent1"/>
                </a:solidFill>
              </a:defRPr>
            </a:lvl1pPr>
          </a:lstStyle>
          <a:p>
            <a:r>
              <a:rPr lang="en-US"/>
              <a:t>The Title of a Section Goes Here and it Can Be Two Lines</a:t>
            </a:r>
          </a:p>
        </p:txBody>
      </p:sp>
      <p:sp>
        <p:nvSpPr>
          <p:cNvPr id="10" name="Subtitle 2">
            <a:extLst>
              <a:ext uri="{FF2B5EF4-FFF2-40B4-BE49-F238E27FC236}">
                <a16:creationId xmlns:a16="http://schemas.microsoft.com/office/drawing/2014/main" id="{64BD3AB9-7B48-81D0-EF5A-725AA1540DC5}"/>
              </a:ext>
            </a:extLst>
          </p:cNvPr>
          <p:cNvSpPr>
            <a:spLocks noGrp="1"/>
          </p:cNvSpPr>
          <p:nvPr>
            <p:ph type="subTitle" idx="1" hasCustomPrompt="1"/>
          </p:nvPr>
        </p:nvSpPr>
        <p:spPr>
          <a:xfrm>
            <a:off x="914400" y="3602038"/>
            <a:ext cx="9144000" cy="1655762"/>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is a space for a subtitle</a:t>
            </a:r>
          </a:p>
        </p:txBody>
      </p:sp>
    </p:spTree>
    <p:extLst>
      <p:ext uri="{BB962C8B-B14F-4D97-AF65-F5344CB8AC3E}">
        <p14:creationId xmlns:p14="http://schemas.microsoft.com/office/powerpoint/2010/main" val="16857009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Right-Title+Tex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9DDB6F-FDD8-86D5-F411-44BC5443D641}"/>
              </a:ext>
            </a:extLst>
          </p:cNvPr>
          <p:cNvSpPr/>
          <p:nvPr userDrawn="1"/>
        </p:nvSpPr>
        <p:spPr>
          <a:xfrm>
            <a:off x="9418320" y="0"/>
            <a:ext cx="2773680" cy="6858000"/>
          </a:xfrm>
          <a:prstGeom prst="rect">
            <a:avLst/>
          </a:prstGeom>
          <a:gradFill flip="none" rotWithShape="1">
            <a:gsLst>
              <a:gs pos="18000">
                <a:schemeClr val="accent1"/>
              </a:gs>
              <a:gs pos="91000">
                <a:schemeClr val="accent3"/>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A9C43533-7263-960C-2CB4-586AA97F3E41}"/>
              </a:ext>
            </a:extLst>
          </p:cNvPr>
          <p:cNvSpPr>
            <a:spLocks noGrp="1"/>
          </p:cNvSpPr>
          <p:nvPr>
            <p:ph type="title"/>
          </p:nvPr>
        </p:nvSpPr>
        <p:spPr>
          <a:xfrm>
            <a:off x="944880" y="715108"/>
            <a:ext cx="7634459" cy="1585181"/>
          </a:xfrm>
        </p:spPr>
        <p:txBody>
          <a:bodyPr anchor="b" anchorCtr="0">
            <a:normAutofit/>
          </a:bodyPr>
          <a:lstStyle>
            <a:lvl1pPr>
              <a:defRPr sz="3600"/>
            </a:lvl1pPr>
          </a:lstStyle>
          <a:p>
            <a:r>
              <a:rPr lang="en-US"/>
              <a:t>Click to edit Master title style</a:t>
            </a:r>
          </a:p>
        </p:txBody>
      </p:sp>
      <p:sp>
        <p:nvSpPr>
          <p:cNvPr id="5" name="Content Placeholder 2">
            <a:extLst>
              <a:ext uri="{FF2B5EF4-FFF2-40B4-BE49-F238E27FC236}">
                <a16:creationId xmlns:a16="http://schemas.microsoft.com/office/drawing/2014/main" id="{C7482196-2C88-320D-8497-481FBB717C49}"/>
              </a:ext>
            </a:extLst>
          </p:cNvPr>
          <p:cNvSpPr>
            <a:spLocks noGrp="1"/>
          </p:cNvSpPr>
          <p:nvPr>
            <p:ph idx="1"/>
          </p:nvPr>
        </p:nvSpPr>
        <p:spPr>
          <a:xfrm>
            <a:off x="944880" y="2435226"/>
            <a:ext cx="7634459" cy="37076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48836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Right-Title+Tex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9C43533-7263-960C-2CB4-586AA97F3E41}"/>
              </a:ext>
            </a:extLst>
          </p:cNvPr>
          <p:cNvSpPr>
            <a:spLocks noGrp="1"/>
          </p:cNvSpPr>
          <p:nvPr>
            <p:ph type="title"/>
          </p:nvPr>
        </p:nvSpPr>
        <p:spPr>
          <a:xfrm>
            <a:off x="700510" y="715108"/>
            <a:ext cx="4397701" cy="1585181"/>
          </a:xfrm>
        </p:spPr>
        <p:txBody>
          <a:bodyPr anchor="b" anchorCtr="0">
            <a:normAutofit/>
          </a:bodyPr>
          <a:lstStyle>
            <a:lvl1pPr>
              <a:defRPr sz="3600"/>
            </a:lvl1pPr>
          </a:lstStyle>
          <a:p>
            <a:r>
              <a:rPr lang="en-US"/>
              <a:t>Click to edit Master title style</a:t>
            </a:r>
          </a:p>
        </p:txBody>
      </p:sp>
      <p:sp>
        <p:nvSpPr>
          <p:cNvPr id="5" name="Content Placeholder 2">
            <a:extLst>
              <a:ext uri="{FF2B5EF4-FFF2-40B4-BE49-F238E27FC236}">
                <a16:creationId xmlns:a16="http://schemas.microsoft.com/office/drawing/2014/main" id="{C7482196-2C88-320D-8497-481FBB717C49}"/>
              </a:ext>
            </a:extLst>
          </p:cNvPr>
          <p:cNvSpPr>
            <a:spLocks noGrp="1"/>
          </p:cNvSpPr>
          <p:nvPr>
            <p:ph idx="1"/>
          </p:nvPr>
        </p:nvSpPr>
        <p:spPr>
          <a:xfrm>
            <a:off x="700510" y="2435226"/>
            <a:ext cx="4397701" cy="37076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8CAAB819-77EE-486C-170F-6F3EF41AFDFD}"/>
              </a:ext>
            </a:extLst>
          </p:cNvPr>
          <p:cNvSpPr/>
          <p:nvPr userDrawn="1"/>
        </p:nvSpPr>
        <p:spPr>
          <a:xfrm>
            <a:off x="6745857" y="0"/>
            <a:ext cx="5446144" cy="6858000"/>
          </a:xfrm>
          <a:prstGeom prst="rect">
            <a:avLst/>
          </a:prstGeom>
          <a:gradFill flip="none" rotWithShape="1">
            <a:gsLst>
              <a:gs pos="18000">
                <a:schemeClr val="accent1"/>
              </a:gs>
              <a:gs pos="91000">
                <a:schemeClr val="accent3"/>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0518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mpare-O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EA943E-ECB2-7DB4-24B2-A973E02CCC0D}"/>
              </a:ext>
            </a:extLst>
          </p:cNvPr>
          <p:cNvSpPr/>
          <p:nvPr userDrawn="1"/>
        </p:nvSpPr>
        <p:spPr>
          <a:xfrm>
            <a:off x="0" y="0"/>
            <a:ext cx="561535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2">
            <a:extLst>
              <a:ext uri="{FF2B5EF4-FFF2-40B4-BE49-F238E27FC236}">
                <a16:creationId xmlns:a16="http://schemas.microsoft.com/office/drawing/2014/main" id="{504C0A69-FCA7-2989-E5DE-9EAE8A9D9293}"/>
              </a:ext>
            </a:extLst>
          </p:cNvPr>
          <p:cNvSpPr>
            <a:spLocks noGrp="1"/>
          </p:cNvSpPr>
          <p:nvPr>
            <p:ph idx="11" hasCustomPrompt="1"/>
          </p:nvPr>
        </p:nvSpPr>
        <p:spPr>
          <a:xfrm>
            <a:off x="7133981" y="2963535"/>
            <a:ext cx="4472354" cy="1526404"/>
          </a:xfrm>
        </p:spPr>
        <p:txBody>
          <a:bodyPr>
            <a:normAutofit/>
          </a:bodyPr>
          <a:lstStyle>
            <a:lvl1pPr marL="0" indent="0">
              <a:buNone/>
              <a:defRPr sz="2000"/>
            </a:lvl1pPr>
          </a:lstStyle>
          <a:p>
            <a:pPr lvl="0"/>
            <a:r>
              <a:rPr lang="en-US"/>
              <a:t>A way of accessing the internet via a public telephone network.</a:t>
            </a:r>
          </a:p>
          <a:p>
            <a:pPr lvl="0"/>
            <a:r>
              <a:rPr lang="en-US"/>
              <a:t>Typically slow in speed.</a:t>
            </a:r>
          </a:p>
          <a:p>
            <a:pPr lvl="0"/>
            <a:r>
              <a:rPr lang="en-US"/>
              <a:t>Referred to as narrowband.</a:t>
            </a:r>
          </a:p>
        </p:txBody>
      </p:sp>
      <p:sp>
        <p:nvSpPr>
          <p:cNvPr id="3" name="Content Placeholder 2">
            <a:extLst>
              <a:ext uri="{FF2B5EF4-FFF2-40B4-BE49-F238E27FC236}">
                <a16:creationId xmlns:a16="http://schemas.microsoft.com/office/drawing/2014/main" id="{71CE4FD6-EB0E-38CF-53B4-605A4B093AF2}"/>
              </a:ext>
            </a:extLst>
          </p:cNvPr>
          <p:cNvSpPr>
            <a:spLocks noGrp="1"/>
          </p:cNvSpPr>
          <p:nvPr>
            <p:ph idx="15" hasCustomPrompt="1"/>
          </p:nvPr>
        </p:nvSpPr>
        <p:spPr>
          <a:xfrm>
            <a:off x="972776" y="1633985"/>
            <a:ext cx="3123951" cy="3590030"/>
          </a:xfrm>
        </p:spPr>
        <p:txBody>
          <a:bodyPr anchor="ctr" anchorCtr="0">
            <a:normAutofit/>
          </a:bodyPr>
          <a:lstStyle>
            <a:lvl1pPr marL="0" indent="0">
              <a:buNone/>
              <a:defRPr sz="3600" b="1">
                <a:solidFill>
                  <a:schemeClr val="accent1"/>
                </a:solidFill>
              </a:defRPr>
            </a:lvl1pPr>
          </a:lstStyle>
          <a:p>
            <a:r>
              <a:rPr lang="en-US">
                <a:solidFill>
                  <a:schemeClr val="bg1"/>
                </a:solidFill>
              </a:rPr>
              <a:t>Click to edit Master title style</a:t>
            </a:r>
          </a:p>
        </p:txBody>
      </p:sp>
      <p:sp>
        <p:nvSpPr>
          <p:cNvPr id="6" name="Content Placeholder 2">
            <a:extLst>
              <a:ext uri="{FF2B5EF4-FFF2-40B4-BE49-F238E27FC236}">
                <a16:creationId xmlns:a16="http://schemas.microsoft.com/office/drawing/2014/main" id="{DE256F0E-5F55-3070-617B-E43EB4A59DBE}"/>
              </a:ext>
            </a:extLst>
          </p:cNvPr>
          <p:cNvSpPr>
            <a:spLocks noGrp="1"/>
          </p:cNvSpPr>
          <p:nvPr>
            <p:ph idx="13" hasCustomPrompt="1"/>
          </p:nvPr>
        </p:nvSpPr>
        <p:spPr>
          <a:xfrm>
            <a:off x="7153442" y="2395361"/>
            <a:ext cx="4452893" cy="403145"/>
          </a:xfrm>
        </p:spPr>
        <p:txBody>
          <a:bodyPr anchor="t" anchorCtr="0">
            <a:normAutofit/>
          </a:bodyPr>
          <a:lstStyle>
            <a:lvl1pPr marL="0" indent="0">
              <a:buNone/>
              <a:defRPr sz="2400" b="1">
                <a:solidFill>
                  <a:schemeClr val="accent1"/>
                </a:solidFill>
              </a:defRPr>
            </a:lvl1pPr>
          </a:lstStyle>
          <a:p>
            <a:pPr lvl="0"/>
            <a:r>
              <a:rPr lang="en-US"/>
              <a:t>Item</a:t>
            </a:r>
          </a:p>
        </p:txBody>
      </p:sp>
      <p:sp>
        <p:nvSpPr>
          <p:cNvPr id="4" name="Oval 3">
            <a:extLst>
              <a:ext uri="{FF2B5EF4-FFF2-40B4-BE49-F238E27FC236}">
                <a16:creationId xmlns:a16="http://schemas.microsoft.com/office/drawing/2014/main" id="{079FBB8B-32A0-9E0C-C5C3-CBF2945E5822}"/>
              </a:ext>
            </a:extLst>
          </p:cNvPr>
          <p:cNvSpPr/>
          <p:nvPr userDrawn="1"/>
        </p:nvSpPr>
        <p:spPr>
          <a:xfrm>
            <a:off x="4335194" y="2066779"/>
            <a:ext cx="2560320" cy="2560320"/>
          </a:xfrm>
          <a:prstGeom prst="ellipse">
            <a:avLst/>
          </a:prstGeom>
          <a:solidFill>
            <a:srgbClr val="3EB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5" name="Picture Placeholder 3">
            <a:extLst>
              <a:ext uri="{FF2B5EF4-FFF2-40B4-BE49-F238E27FC236}">
                <a16:creationId xmlns:a16="http://schemas.microsoft.com/office/drawing/2014/main" id="{D068EAC7-87AE-1298-A0D7-4265544AEC82}"/>
              </a:ext>
            </a:extLst>
          </p:cNvPr>
          <p:cNvSpPr>
            <a:spLocks noGrp="1"/>
          </p:cNvSpPr>
          <p:nvPr>
            <p:ph type="pic" sz="quarter" idx="16"/>
          </p:nvPr>
        </p:nvSpPr>
        <p:spPr>
          <a:xfrm>
            <a:off x="4472354" y="2203939"/>
            <a:ext cx="2286000" cy="2286000"/>
          </a:xfrm>
          <a:prstGeom prst="ellipse">
            <a:avLst/>
          </a:prstGeom>
        </p:spPr>
        <p:txBody>
          <a:bodyPr/>
          <a:lstStyle>
            <a:lvl1pPr marL="0" indent="0" algn="ctr">
              <a:buNone/>
              <a:defRPr/>
            </a:lvl1pPr>
          </a:lstStyle>
          <a:p>
            <a:endParaRPr lang="en-US"/>
          </a:p>
        </p:txBody>
      </p:sp>
    </p:spTree>
    <p:extLst>
      <p:ext uri="{BB962C8B-B14F-4D97-AF65-F5344CB8AC3E}">
        <p14:creationId xmlns:p14="http://schemas.microsoft.com/office/powerpoint/2010/main" val="38993753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mpare-Tw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D808F5-A018-6B95-963E-E99AEBDFE2DC}"/>
              </a:ext>
            </a:extLst>
          </p:cNvPr>
          <p:cNvSpPr/>
          <p:nvPr userDrawn="1"/>
        </p:nvSpPr>
        <p:spPr>
          <a:xfrm>
            <a:off x="0" y="0"/>
            <a:ext cx="561535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3" name="Oval 2">
            <a:extLst>
              <a:ext uri="{FF2B5EF4-FFF2-40B4-BE49-F238E27FC236}">
                <a16:creationId xmlns:a16="http://schemas.microsoft.com/office/drawing/2014/main" id="{EBB949B4-A5FA-ED3C-C851-2A6CD8D7145B}"/>
              </a:ext>
            </a:extLst>
          </p:cNvPr>
          <p:cNvSpPr/>
          <p:nvPr userDrawn="1"/>
        </p:nvSpPr>
        <p:spPr>
          <a:xfrm>
            <a:off x="4335194" y="826027"/>
            <a:ext cx="2560320" cy="2560320"/>
          </a:xfrm>
          <a:prstGeom prst="ellipse">
            <a:avLst/>
          </a:prstGeom>
          <a:solidFill>
            <a:srgbClr val="3EB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5" name="Content Placeholder 2">
            <a:extLst>
              <a:ext uri="{FF2B5EF4-FFF2-40B4-BE49-F238E27FC236}">
                <a16:creationId xmlns:a16="http://schemas.microsoft.com/office/drawing/2014/main" id="{C7482196-2C88-320D-8497-481FBB717C49}"/>
              </a:ext>
            </a:extLst>
          </p:cNvPr>
          <p:cNvSpPr>
            <a:spLocks noGrp="1"/>
          </p:cNvSpPr>
          <p:nvPr>
            <p:ph idx="1" hasCustomPrompt="1"/>
          </p:nvPr>
        </p:nvSpPr>
        <p:spPr>
          <a:xfrm>
            <a:off x="7133981" y="4452365"/>
            <a:ext cx="4472354" cy="1526404"/>
          </a:xfrm>
        </p:spPr>
        <p:txBody>
          <a:bodyPr>
            <a:normAutofit/>
          </a:bodyPr>
          <a:lstStyle>
            <a:lvl1pPr marL="0" indent="0">
              <a:buNone/>
              <a:defRPr sz="2000"/>
            </a:lvl1pPr>
          </a:lstStyle>
          <a:p>
            <a:pPr lvl="0"/>
            <a:r>
              <a:rPr lang="en-US"/>
              <a:t>A way of accessing the internet via a public telephone network.</a:t>
            </a:r>
          </a:p>
          <a:p>
            <a:pPr lvl="0"/>
            <a:r>
              <a:rPr lang="en-US"/>
              <a:t>Typically slow in speed.</a:t>
            </a:r>
          </a:p>
          <a:p>
            <a:pPr lvl="0"/>
            <a:r>
              <a:rPr lang="en-US"/>
              <a:t>Referred to as narrowband.</a:t>
            </a:r>
          </a:p>
        </p:txBody>
      </p:sp>
      <p:sp>
        <p:nvSpPr>
          <p:cNvPr id="9" name="Content Placeholder 2">
            <a:extLst>
              <a:ext uri="{FF2B5EF4-FFF2-40B4-BE49-F238E27FC236}">
                <a16:creationId xmlns:a16="http://schemas.microsoft.com/office/drawing/2014/main" id="{504C0A69-FCA7-2989-E5DE-9EAE8A9D9293}"/>
              </a:ext>
            </a:extLst>
          </p:cNvPr>
          <p:cNvSpPr>
            <a:spLocks noGrp="1"/>
          </p:cNvSpPr>
          <p:nvPr>
            <p:ph idx="11" hasCustomPrompt="1"/>
          </p:nvPr>
        </p:nvSpPr>
        <p:spPr>
          <a:xfrm>
            <a:off x="7133981" y="1715027"/>
            <a:ext cx="4472354" cy="1526404"/>
          </a:xfrm>
        </p:spPr>
        <p:txBody>
          <a:bodyPr>
            <a:normAutofit/>
          </a:bodyPr>
          <a:lstStyle>
            <a:lvl1pPr marL="0" indent="0">
              <a:buNone/>
              <a:defRPr sz="2000"/>
            </a:lvl1pPr>
          </a:lstStyle>
          <a:p>
            <a:pPr lvl="0"/>
            <a:r>
              <a:rPr lang="en-US"/>
              <a:t>A way of accessing the internet via a public telephone network.</a:t>
            </a:r>
          </a:p>
          <a:p>
            <a:pPr lvl="0"/>
            <a:r>
              <a:rPr lang="en-US"/>
              <a:t>Typically slow in speed.</a:t>
            </a:r>
          </a:p>
          <a:p>
            <a:pPr lvl="0"/>
            <a:r>
              <a:rPr lang="en-US"/>
              <a:t>Referred to as narrowband.</a:t>
            </a:r>
          </a:p>
        </p:txBody>
      </p:sp>
      <p:sp>
        <p:nvSpPr>
          <p:cNvPr id="12" name="Title 1">
            <a:extLst>
              <a:ext uri="{FF2B5EF4-FFF2-40B4-BE49-F238E27FC236}">
                <a16:creationId xmlns:a16="http://schemas.microsoft.com/office/drawing/2014/main" id="{6B118530-7BC3-2A6F-FCAA-ABC69F31F5AD}"/>
              </a:ext>
            </a:extLst>
          </p:cNvPr>
          <p:cNvSpPr txBox="1">
            <a:spLocks/>
          </p:cNvSpPr>
          <p:nvPr userDrawn="1"/>
        </p:nvSpPr>
        <p:spPr>
          <a:xfrm>
            <a:off x="844062" y="1174153"/>
            <a:ext cx="3233204" cy="2067278"/>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3600" b="1" kern="1200" baseline="0">
                <a:solidFill>
                  <a:schemeClr val="tx1"/>
                </a:solidFill>
                <a:latin typeface="Montserrat" pitchFamily="2" charset="77"/>
                <a:ea typeface="+mj-ea"/>
                <a:cs typeface="+mj-cs"/>
              </a:defRPr>
            </a:lvl1pPr>
          </a:lstStyle>
          <a:p>
            <a:endParaRPr lang="en-US">
              <a:solidFill>
                <a:schemeClr val="bg1"/>
              </a:solidFill>
            </a:endParaRPr>
          </a:p>
        </p:txBody>
      </p:sp>
      <p:sp>
        <p:nvSpPr>
          <p:cNvPr id="13" name="Picture Placeholder 3">
            <a:extLst>
              <a:ext uri="{FF2B5EF4-FFF2-40B4-BE49-F238E27FC236}">
                <a16:creationId xmlns:a16="http://schemas.microsoft.com/office/drawing/2014/main" id="{78186654-8D4D-88C2-A0CA-DD1585157C75}"/>
              </a:ext>
            </a:extLst>
          </p:cNvPr>
          <p:cNvSpPr>
            <a:spLocks noGrp="1"/>
          </p:cNvSpPr>
          <p:nvPr>
            <p:ph type="pic" sz="quarter" idx="10"/>
          </p:nvPr>
        </p:nvSpPr>
        <p:spPr>
          <a:xfrm>
            <a:off x="4472354" y="963187"/>
            <a:ext cx="2286000" cy="2286000"/>
          </a:xfrm>
          <a:prstGeom prst="ellipse">
            <a:avLst/>
          </a:prstGeom>
        </p:spPr>
        <p:txBody>
          <a:bodyPr/>
          <a:lstStyle>
            <a:lvl1pPr marL="0" indent="0" algn="ctr">
              <a:buNone/>
              <a:defRPr/>
            </a:lvl1pPr>
          </a:lstStyle>
          <a:p>
            <a:endParaRPr lang="en-US"/>
          </a:p>
        </p:txBody>
      </p:sp>
      <p:sp>
        <p:nvSpPr>
          <p:cNvPr id="17" name="Content Placeholder 2">
            <a:extLst>
              <a:ext uri="{FF2B5EF4-FFF2-40B4-BE49-F238E27FC236}">
                <a16:creationId xmlns:a16="http://schemas.microsoft.com/office/drawing/2014/main" id="{CD5C5E84-688C-0CDD-A6EE-8FD1104AC475}"/>
              </a:ext>
            </a:extLst>
          </p:cNvPr>
          <p:cNvSpPr>
            <a:spLocks noGrp="1"/>
          </p:cNvSpPr>
          <p:nvPr>
            <p:ph idx="13" hasCustomPrompt="1"/>
          </p:nvPr>
        </p:nvSpPr>
        <p:spPr>
          <a:xfrm>
            <a:off x="7153442" y="1198901"/>
            <a:ext cx="4452893" cy="403145"/>
          </a:xfrm>
        </p:spPr>
        <p:txBody>
          <a:bodyPr anchor="t" anchorCtr="0">
            <a:normAutofit/>
          </a:bodyPr>
          <a:lstStyle>
            <a:lvl1pPr marL="0" indent="0">
              <a:buNone/>
              <a:defRPr sz="2400" b="1">
                <a:solidFill>
                  <a:schemeClr val="accent1"/>
                </a:solidFill>
              </a:defRPr>
            </a:lvl1pPr>
          </a:lstStyle>
          <a:p>
            <a:pPr lvl="0"/>
            <a:r>
              <a:rPr lang="en-US"/>
              <a:t>Item</a:t>
            </a:r>
          </a:p>
        </p:txBody>
      </p:sp>
      <p:sp>
        <p:nvSpPr>
          <p:cNvPr id="19" name="Content Placeholder 2">
            <a:extLst>
              <a:ext uri="{FF2B5EF4-FFF2-40B4-BE49-F238E27FC236}">
                <a16:creationId xmlns:a16="http://schemas.microsoft.com/office/drawing/2014/main" id="{A61FE15F-D7B3-65A1-3A71-E64039AAD565}"/>
              </a:ext>
            </a:extLst>
          </p:cNvPr>
          <p:cNvSpPr>
            <a:spLocks noGrp="1"/>
          </p:cNvSpPr>
          <p:nvPr>
            <p:ph idx="14" hasCustomPrompt="1"/>
          </p:nvPr>
        </p:nvSpPr>
        <p:spPr>
          <a:xfrm>
            <a:off x="7153442" y="3857434"/>
            <a:ext cx="4452893" cy="403145"/>
          </a:xfrm>
        </p:spPr>
        <p:txBody>
          <a:bodyPr anchor="t" anchorCtr="0">
            <a:normAutofit/>
          </a:bodyPr>
          <a:lstStyle>
            <a:lvl1pPr marL="0" indent="0">
              <a:buNone/>
              <a:defRPr sz="2400" b="1">
                <a:solidFill>
                  <a:schemeClr val="accent1"/>
                </a:solidFill>
              </a:defRPr>
            </a:lvl1pPr>
          </a:lstStyle>
          <a:p>
            <a:pPr lvl="0"/>
            <a:r>
              <a:rPr lang="en-US"/>
              <a:t>Item</a:t>
            </a:r>
          </a:p>
        </p:txBody>
      </p:sp>
      <p:sp>
        <p:nvSpPr>
          <p:cNvPr id="20" name="Content Placeholder 2">
            <a:extLst>
              <a:ext uri="{FF2B5EF4-FFF2-40B4-BE49-F238E27FC236}">
                <a16:creationId xmlns:a16="http://schemas.microsoft.com/office/drawing/2014/main" id="{1857E886-98FB-C28E-0115-3031DC10640D}"/>
              </a:ext>
            </a:extLst>
          </p:cNvPr>
          <p:cNvSpPr>
            <a:spLocks noGrp="1"/>
          </p:cNvSpPr>
          <p:nvPr>
            <p:ph idx="15" hasCustomPrompt="1"/>
          </p:nvPr>
        </p:nvSpPr>
        <p:spPr>
          <a:xfrm>
            <a:off x="972776" y="1168237"/>
            <a:ext cx="2955757" cy="3590030"/>
          </a:xfrm>
        </p:spPr>
        <p:txBody>
          <a:bodyPr anchor="t" anchorCtr="0">
            <a:normAutofit/>
          </a:bodyPr>
          <a:lstStyle>
            <a:lvl1pPr marL="0" indent="0">
              <a:buNone/>
              <a:defRPr sz="3600" b="1">
                <a:solidFill>
                  <a:schemeClr val="accent1"/>
                </a:solidFill>
              </a:defRPr>
            </a:lvl1pPr>
          </a:lstStyle>
          <a:p>
            <a:r>
              <a:rPr lang="en-US">
                <a:solidFill>
                  <a:schemeClr val="bg1"/>
                </a:solidFill>
              </a:rPr>
              <a:t>Click to edit Master title style</a:t>
            </a:r>
          </a:p>
        </p:txBody>
      </p:sp>
      <p:sp>
        <p:nvSpPr>
          <p:cNvPr id="4" name="Oval 3">
            <a:extLst>
              <a:ext uri="{FF2B5EF4-FFF2-40B4-BE49-F238E27FC236}">
                <a16:creationId xmlns:a16="http://schemas.microsoft.com/office/drawing/2014/main" id="{0468CCDF-65F8-0251-85FD-D168152607C2}"/>
              </a:ext>
            </a:extLst>
          </p:cNvPr>
          <p:cNvSpPr/>
          <p:nvPr userDrawn="1"/>
        </p:nvSpPr>
        <p:spPr>
          <a:xfrm>
            <a:off x="4335194" y="3548907"/>
            <a:ext cx="2560320" cy="2560320"/>
          </a:xfrm>
          <a:prstGeom prst="ellipse">
            <a:avLst/>
          </a:prstGeom>
          <a:solidFill>
            <a:srgbClr val="3EB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6" name="Picture Placeholder 3">
            <a:extLst>
              <a:ext uri="{FF2B5EF4-FFF2-40B4-BE49-F238E27FC236}">
                <a16:creationId xmlns:a16="http://schemas.microsoft.com/office/drawing/2014/main" id="{9FA11095-FA6D-5F8D-D728-BE60D7DF481A}"/>
              </a:ext>
            </a:extLst>
          </p:cNvPr>
          <p:cNvSpPr>
            <a:spLocks noGrp="1"/>
          </p:cNvSpPr>
          <p:nvPr>
            <p:ph type="pic" sz="quarter" idx="16"/>
          </p:nvPr>
        </p:nvSpPr>
        <p:spPr>
          <a:xfrm>
            <a:off x="4472354" y="3686067"/>
            <a:ext cx="2286000" cy="2286000"/>
          </a:xfrm>
          <a:prstGeom prst="ellipse">
            <a:avLst/>
          </a:prstGeom>
        </p:spPr>
        <p:txBody>
          <a:bodyPr/>
          <a:lstStyle>
            <a:lvl1pPr marL="0" indent="0" algn="ctr">
              <a:buNone/>
              <a:defRPr/>
            </a:lvl1pPr>
          </a:lstStyle>
          <a:p>
            <a:endParaRPr lang="en-US"/>
          </a:p>
        </p:txBody>
      </p:sp>
    </p:spTree>
    <p:extLst>
      <p:ext uri="{BB962C8B-B14F-4D97-AF65-F5344CB8AC3E}">
        <p14:creationId xmlns:p14="http://schemas.microsoft.com/office/powerpoint/2010/main" val="2276899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ompare-Tw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3E01EB9-38B6-6486-90E9-C8491C34742F}"/>
              </a:ext>
            </a:extLst>
          </p:cNvPr>
          <p:cNvSpPr/>
          <p:nvPr userDrawn="1"/>
        </p:nvSpPr>
        <p:spPr>
          <a:xfrm>
            <a:off x="6377049" y="0"/>
            <a:ext cx="5814952" cy="6858000"/>
          </a:xfrm>
          <a:prstGeom prst="rect">
            <a:avLst/>
          </a:prstGeom>
          <a:gradFill flip="none" rotWithShape="1">
            <a:gsLst>
              <a:gs pos="18000">
                <a:schemeClr val="accent1"/>
              </a:gs>
              <a:gs pos="91000">
                <a:schemeClr val="accent3"/>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EBB949B4-A5FA-ED3C-C851-2A6CD8D7145B}"/>
              </a:ext>
            </a:extLst>
          </p:cNvPr>
          <p:cNvSpPr/>
          <p:nvPr userDrawn="1"/>
        </p:nvSpPr>
        <p:spPr>
          <a:xfrm>
            <a:off x="5446144" y="409907"/>
            <a:ext cx="1913813" cy="1913813"/>
          </a:xfrm>
          <a:prstGeom prst="ellipse">
            <a:avLst/>
          </a:prstGeom>
          <a:solidFill>
            <a:srgbClr val="3EB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2" name="Title 1">
            <a:extLst>
              <a:ext uri="{FF2B5EF4-FFF2-40B4-BE49-F238E27FC236}">
                <a16:creationId xmlns:a16="http://schemas.microsoft.com/office/drawing/2014/main" id="{6B118530-7BC3-2A6F-FCAA-ABC69F31F5AD}"/>
              </a:ext>
            </a:extLst>
          </p:cNvPr>
          <p:cNvSpPr txBox="1">
            <a:spLocks/>
          </p:cNvSpPr>
          <p:nvPr userDrawn="1"/>
        </p:nvSpPr>
        <p:spPr>
          <a:xfrm>
            <a:off x="844062" y="1174153"/>
            <a:ext cx="3233204" cy="2067278"/>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3600" b="1" kern="1200" baseline="0">
                <a:solidFill>
                  <a:schemeClr val="tx1"/>
                </a:solidFill>
                <a:latin typeface="Montserrat" pitchFamily="2" charset="77"/>
                <a:ea typeface="+mj-ea"/>
                <a:cs typeface="+mj-cs"/>
              </a:defRPr>
            </a:lvl1pPr>
          </a:lstStyle>
          <a:p>
            <a:endParaRPr lang="en-US">
              <a:solidFill>
                <a:schemeClr val="bg1"/>
              </a:solidFill>
            </a:endParaRPr>
          </a:p>
        </p:txBody>
      </p:sp>
      <p:sp>
        <p:nvSpPr>
          <p:cNvPr id="13" name="Picture Placeholder 3">
            <a:extLst>
              <a:ext uri="{FF2B5EF4-FFF2-40B4-BE49-F238E27FC236}">
                <a16:creationId xmlns:a16="http://schemas.microsoft.com/office/drawing/2014/main" id="{78186654-8D4D-88C2-A0CA-DD1585157C75}"/>
              </a:ext>
            </a:extLst>
          </p:cNvPr>
          <p:cNvSpPr>
            <a:spLocks noGrp="1"/>
          </p:cNvSpPr>
          <p:nvPr>
            <p:ph type="pic" sz="quarter" idx="10"/>
          </p:nvPr>
        </p:nvSpPr>
        <p:spPr>
          <a:xfrm>
            <a:off x="5548670" y="512433"/>
            <a:ext cx="1708761" cy="1708761"/>
          </a:xfrm>
          <a:prstGeom prst="ellipse">
            <a:avLst/>
          </a:prstGeom>
        </p:spPr>
        <p:txBody>
          <a:bodyPr/>
          <a:lstStyle>
            <a:lvl1pPr marL="0" indent="0" algn="ctr">
              <a:buNone/>
              <a:defRPr/>
            </a:lvl1pPr>
          </a:lstStyle>
          <a:p>
            <a:endParaRPr lang="en-US"/>
          </a:p>
        </p:txBody>
      </p:sp>
      <p:sp>
        <p:nvSpPr>
          <p:cNvPr id="8" name="Oval 7">
            <a:extLst>
              <a:ext uri="{FF2B5EF4-FFF2-40B4-BE49-F238E27FC236}">
                <a16:creationId xmlns:a16="http://schemas.microsoft.com/office/drawing/2014/main" id="{B48ABE86-155F-54CE-E002-3B0530F6A29C}"/>
              </a:ext>
            </a:extLst>
          </p:cNvPr>
          <p:cNvSpPr/>
          <p:nvPr userDrawn="1"/>
        </p:nvSpPr>
        <p:spPr>
          <a:xfrm>
            <a:off x="5446144" y="2559341"/>
            <a:ext cx="1913813" cy="1913813"/>
          </a:xfrm>
          <a:prstGeom prst="ellipse">
            <a:avLst/>
          </a:prstGeom>
          <a:solidFill>
            <a:srgbClr val="3EB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0" name="Picture Placeholder 3">
            <a:extLst>
              <a:ext uri="{FF2B5EF4-FFF2-40B4-BE49-F238E27FC236}">
                <a16:creationId xmlns:a16="http://schemas.microsoft.com/office/drawing/2014/main" id="{42197257-0281-18C8-B9FD-00658C2D6126}"/>
              </a:ext>
            </a:extLst>
          </p:cNvPr>
          <p:cNvSpPr>
            <a:spLocks noGrp="1"/>
          </p:cNvSpPr>
          <p:nvPr>
            <p:ph type="pic" sz="quarter" idx="16"/>
          </p:nvPr>
        </p:nvSpPr>
        <p:spPr>
          <a:xfrm>
            <a:off x="5548670" y="2661867"/>
            <a:ext cx="1708761" cy="1708761"/>
          </a:xfrm>
          <a:prstGeom prst="ellipse">
            <a:avLst/>
          </a:prstGeom>
        </p:spPr>
        <p:txBody>
          <a:bodyPr/>
          <a:lstStyle>
            <a:lvl1pPr marL="0" indent="0" algn="ctr">
              <a:buNone/>
              <a:defRPr/>
            </a:lvl1pPr>
          </a:lstStyle>
          <a:p>
            <a:endParaRPr lang="en-US"/>
          </a:p>
        </p:txBody>
      </p:sp>
      <p:sp>
        <p:nvSpPr>
          <p:cNvPr id="11" name="Oval 10">
            <a:extLst>
              <a:ext uri="{FF2B5EF4-FFF2-40B4-BE49-F238E27FC236}">
                <a16:creationId xmlns:a16="http://schemas.microsoft.com/office/drawing/2014/main" id="{6AC3C056-C2A4-13CE-12DF-C9B052BF94D3}"/>
              </a:ext>
            </a:extLst>
          </p:cNvPr>
          <p:cNvSpPr/>
          <p:nvPr userDrawn="1"/>
        </p:nvSpPr>
        <p:spPr>
          <a:xfrm>
            <a:off x="5446144" y="4673149"/>
            <a:ext cx="1913813" cy="1913813"/>
          </a:xfrm>
          <a:prstGeom prst="ellipse">
            <a:avLst/>
          </a:prstGeom>
          <a:solidFill>
            <a:srgbClr val="3EB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4" name="Picture Placeholder 3">
            <a:extLst>
              <a:ext uri="{FF2B5EF4-FFF2-40B4-BE49-F238E27FC236}">
                <a16:creationId xmlns:a16="http://schemas.microsoft.com/office/drawing/2014/main" id="{3DDD6D11-7721-830E-C5D3-88131C3FFA7C}"/>
              </a:ext>
            </a:extLst>
          </p:cNvPr>
          <p:cNvSpPr>
            <a:spLocks noGrp="1"/>
          </p:cNvSpPr>
          <p:nvPr>
            <p:ph type="pic" sz="quarter" idx="17"/>
          </p:nvPr>
        </p:nvSpPr>
        <p:spPr>
          <a:xfrm>
            <a:off x="5548670" y="4775675"/>
            <a:ext cx="1708761" cy="1708761"/>
          </a:xfrm>
          <a:prstGeom prst="ellipse">
            <a:avLst/>
          </a:prstGeom>
        </p:spPr>
        <p:txBody>
          <a:bodyPr/>
          <a:lstStyle>
            <a:lvl1pPr marL="0" indent="0" algn="ctr">
              <a:buNone/>
              <a:defRPr/>
            </a:lvl1pPr>
          </a:lstStyle>
          <a:p>
            <a:endParaRPr lang="en-US"/>
          </a:p>
        </p:txBody>
      </p:sp>
      <p:sp>
        <p:nvSpPr>
          <p:cNvPr id="15" name="Subtitle 2">
            <a:extLst>
              <a:ext uri="{FF2B5EF4-FFF2-40B4-BE49-F238E27FC236}">
                <a16:creationId xmlns:a16="http://schemas.microsoft.com/office/drawing/2014/main" id="{C912FB6A-A37F-0CD1-5050-D516AFC65CF5}"/>
              </a:ext>
            </a:extLst>
          </p:cNvPr>
          <p:cNvSpPr>
            <a:spLocks noGrp="1"/>
          </p:cNvSpPr>
          <p:nvPr>
            <p:ph type="subTitle" idx="1" hasCustomPrompt="1"/>
          </p:nvPr>
        </p:nvSpPr>
        <p:spPr>
          <a:xfrm>
            <a:off x="7726611" y="1114745"/>
            <a:ext cx="3839955" cy="504136"/>
          </a:xfrm>
        </p:spPr>
        <p:txBody>
          <a:bodyPr anchor="ct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escription</a:t>
            </a:r>
          </a:p>
        </p:txBody>
      </p:sp>
      <p:sp>
        <p:nvSpPr>
          <p:cNvPr id="16" name="Subtitle 2">
            <a:extLst>
              <a:ext uri="{FF2B5EF4-FFF2-40B4-BE49-F238E27FC236}">
                <a16:creationId xmlns:a16="http://schemas.microsoft.com/office/drawing/2014/main" id="{647D3E75-E8E1-47D5-BCD4-4B7AA8DBDF39}"/>
              </a:ext>
            </a:extLst>
          </p:cNvPr>
          <p:cNvSpPr txBox="1">
            <a:spLocks/>
          </p:cNvSpPr>
          <p:nvPr userDrawn="1"/>
        </p:nvSpPr>
        <p:spPr>
          <a:xfrm>
            <a:off x="7726611" y="3145426"/>
            <a:ext cx="3839955" cy="504136"/>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chemeClr val="bg1"/>
                </a:solidFill>
                <a:latin typeface="Montserrat"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baseline="0">
                <a:solidFill>
                  <a:schemeClr val="tx1"/>
                </a:solidFill>
                <a:latin typeface="Montserrat"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baseline="0">
                <a:solidFill>
                  <a:schemeClr val="tx1"/>
                </a:solidFill>
                <a:latin typeface="Montserrat"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baseline="0">
                <a:solidFill>
                  <a:schemeClr val="tx1"/>
                </a:solidFill>
                <a:latin typeface="Montserrat"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baseline="0">
                <a:solidFill>
                  <a:schemeClr val="tx1"/>
                </a:solidFill>
                <a:latin typeface="Montserrat"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Description</a:t>
            </a:r>
          </a:p>
        </p:txBody>
      </p:sp>
      <p:sp>
        <p:nvSpPr>
          <p:cNvPr id="18" name="Subtitle 2">
            <a:extLst>
              <a:ext uri="{FF2B5EF4-FFF2-40B4-BE49-F238E27FC236}">
                <a16:creationId xmlns:a16="http://schemas.microsoft.com/office/drawing/2014/main" id="{53FD8C5E-645C-7128-C2DC-BB8F5D84FF56}"/>
              </a:ext>
            </a:extLst>
          </p:cNvPr>
          <p:cNvSpPr txBox="1">
            <a:spLocks/>
          </p:cNvSpPr>
          <p:nvPr userDrawn="1"/>
        </p:nvSpPr>
        <p:spPr>
          <a:xfrm>
            <a:off x="7726611" y="5318610"/>
            <a:ext cx="3839955" cy="504136"/>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chemeClr val="bg1"/>
                </a:solidFill>
                <a:latin typeface="Montserrat"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baseline="0">
                <a:solidFill>
                  <a:schemeClr val="tx1"/>
                </a:solidFill>
                <a:latin typeface="Montserrat"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baseline="0">
                <a:solidFill>
                  <a:schemeClr val="tx1"/>
                </a:solidFill>
                <a:latin typeface="Montserrat"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baseline="0">
                <a:solidFill>
                  <a:schemeClr val="tx1"/>
                </a:solidFill>
                <a:latin typeface="Montserrat"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baseline="0">
                <a:solidFill>
                  <a:schemeClr val="tx1"/>
                </a:solidFill>
                <a:latin typeface="Montserrat"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Description</a:t>
            </a:r>
          </a:p>
        </p:txBody>
      </p:sp>
      <p:sp>
        <p:nvSpPr>
          <p:cNvPr id="21" name="Title 1">
            <a:extLst>
              <a:ext uri="{FF2B5EF4-FFF2-40B4-BE49-F238E27FC236}">
                <a16:creationId xmlns:a16="http://schemas.microsoft.com/office/drawing/2014/main" id="{A5FBEDAA-87B6-6FE5-6F83-5CB410F1C0B5}"/>
              </a:ext>
            </a:extLst>
          </p:cNvPr>
          <p:cNvSpPr>
            <a:spLocks noGrp="1"/>
          </p:cNvSpPr>
          <p:nvPr>
            <p:ph type="title"/>
          </p:nvPr>
        </p:nvSpPr>
        <p:spPr>
          <a:xfrm>
            <a:off x="700510" y="715108"/>
            <a:ext cx="4397701" cy="1585181"/>
          </a:xfrm>
        </p:spPr>
        <p:txBody>
          <a:bodyPr anchor="b" anchorCtr="0">
            <a:normAutofit/>
          </a:bodyPr>
          <a:lstStyle>
            <a:lvl1pPr>
              <a:defRPr sz="3600"/>
            </a:lvl1pPr>
          </a:lstStyle>
          <a:p>
            <a:r>
              <a:rPr lang="en-US"/>
              <a:t>Click to edit Master title style</a:t>
            </a:r>
          </a:p>
        </p:txBody>
      </p:sp>
      <p:sp>
        <p:nvSpPr>
          <p:cNvPr id="22" name="Content Placeholder 2">
            <a:extLst>
              <a:ext uri="{FF2B5EF4-FFF2-40B4-BE49-F238E27FC236}">
                <a16:creationId xmlns:a16="http://schemas.microsoft.com/office/drawing/2014/main" id="{24D03179-430B-49F0-1921-534AB2A07976}"/>
              </a:ext>
            </a:extLst>
          </p:cNvPr>
          <p:cNvSpPr>
            <a:spLocks noGrp="1"/>
          </p:cNvSpPr>
          <p:nvPr>
            <p:ph idx="18"/>
          </p:nvPr>
        </p:nvSpPr>
        <p:spPr>
          <a:xfrm>
            <a:off x="700510" y="2435226"/>
            <a:ext cx="4397701" cy="37076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11387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ep Calm">
    <p:bg>
      <p:bgPr>
        <a:gradFill flip="none" rotWithShape="1">
          <a:gsLst>
            <a:gs pos="99000">
              <a:schemeClr val="accent1"/>
            </a:gs>
            <a:gs pos="8000">
              <a:schemeClr val="accent3"/>
            </a:gs>
          </a:gsLst>
          <a:lin ang="13500000" scaled="1"/>
          <a:tileRect/>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DDF4780-B9DE-7315-0FAA-EF21C9532A08}"/>
              </a:ext>
            </a:extLst>
          </p:cNvPr>
          <p:cNvPicPr>
            <a:picLocks noChangeAspect="1"/>
          </p:cNvPicPr>
          <p:nvPr userDrawn="1"/>
        </p:nvPicPr>
        <p:blipFill>
          <a:blip r:embed="rId2">
            <a:alphaModFix amt="39000"/>
          </a:blip>
          <a:stretch>
            <a:fillRect/>
          </a:stretch>
        </p:blipFill>
        <p:spPr>
          <a:xfrm>
            <a:off x="1080947" y="1804679"/>
            <a:ext cx="10030105" cy="3248642"/>
          </a:xfrm>
          <a:prstGeom prst="rect">
            <a:avLst/>
          </a:prstGeom>
        </p:spPr>
      </p:pic>
      <p:sp>
        <p:nvSpPr>
          <p:cNvPr id="2" name="Title 1">
            <a:extLst>
              <a:ext uri="{FF2B5EF4-FFF2-40B4-BE49-F238E27FC236}">
                <a16:creationId xmlns:a16="http://schemas.microsoft.com/office/drawing/2014/main" id="{768C8753-1D65-1171-82BA-20A8EA63E408}"/>
              </a:ext>
            </a:extLst>
          </p:cNvPr>
          <p:cNvSpPr>
            <a:spLocks noGrp="1"/>
          </p:cNvSpPr>
          <p:nvPr>
            <p:ph type="ctrTitle" hasCustomPrompt="1"/>
          </p:nvPr>
        </p:nvSpPr>
        <p:spPr>
          <a:xfrm>
            <a:off x="1863275" y="1804678"/>
            <a:ext cx="8465447" cy="3248641"/>
          </a:xfrm>
        </p:spPr>
        <p:txBody>
          <a:bodyPr anchor="ctr">
            <a:normAutofit/>
          </a:bodyPr>
          <a:lstStyle>
            <a:lvl1pPr algn="ctr">
              <a:defRPr sz="4400" b="1">
                <a:solidFill>
                  <a:schemeClr val="bg1"/>
                </a:solidFill>
              </a:defRPr>
            </a:lvl1pPr>
          </a:lstStyle>
          <a:p>
            <a:r>
              <a:rPr lang="en-US"/>
              <a:t>This is a quote, statement, or question for the viewer.</a:t>
            </a:r>
          </a:p>
        </p:txBody>
      </p:sp>
    </p:spTree>
    <p:extLst>
      <p:ext uri="{BB962C8B-B14F-4D97-AF65-F5344CB8AC3E}">
        <p14:creationId xmlns:p14="http://schemas.microsoft.com/office/powerpoint/2010/main" val="35187365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Picture with Capti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5FE971C-D824-4053-27B2-880D254E4C65}"/>
              </a:ext>
            </a:extLst>
          </p:cNvPr>
          <p:cNvSpPr/>
          <p:nvPr userDrawn="1"/>
        </p:nvSpPr>
        <p:spPr>
          <a:xfrm flipH="1">
            <a:off x="0" y="-1"/>
            <a:ext cx="12192000" cy="6858000"/>
          </a:xfrm>
          <a:prstGeom prst="rect">
            <a:avLst/>
          </a:prstGeom>
          <a:gradFill flip="none" rotWithShape="1">
            <a:gsLst>
              <a:gs pos="99000">
                <a:schemeClr val="accent1"/>
              </a:gs>
              <a:gs pos="9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3">
            <a:extLst>
              <a:ext uri="{FF2B5EF4-FFF2-40B4-BE49-F238E27FC236}">
                <a16:creationId xmlns:a16="http://schemas.microsoft.com/office/drawing/2014/main" id="{DDB5580F-C0B1-7388-B543-46492A77430D}"/>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11" name="Content Placeholder 2">
            <a:extLst>
              <a:ext uri="{FF2B5EF4-FFF2-40B4-BE49-F238E27FC236}">
                <a16:creationId xmlns:a16="http://schemas.microsoft.com/office/drawing/2014/main" id="{2D438A21-309D-F7F6-98B7-351EC7160903}"/>
              </a:ext>
            </a:extLst>
          </p:cNvPr>
          <p:cNvSpPr>
            <a:spLocks noGrp="1"/>
          </p:cNvSpPr>
          <p:nvPr>
            <p:ph sz="half" idx="10"/>
          </p:nvPr>
        </p:nvSpPr>
        <p:spPr>
          <a:xfrm>
            <a:off x="839788" y="2204768"/>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F14A8D7B-DC9E-20BD-E30C-BD2B44396E0D}"/>
              </a:ext>
            </a:extLst>
          </p:cNvPr>
          <p:cNvSpPr>
            <a:spLocks noGrp="1"/>
          </p:cNvSpPr>
          <p:nvPr>
            <p:ph type="title" hasCustomPrompt="1"/>
          </p:nvPr>
        </p:nvSpPr>
        <p:spPr>
          <a:xfrm>
            <a:off x="839788" y="479505"/>
            <a:ext cx="9741674" cy="801577"/>
          </a:xfrm>
        </p:spPr>
        <p:txBody>
          <a:bodyPr anchor="b" anchorCtr="0">
            <a:noAutofit/>
          </a:bodyPr>
          <a:lstStyle>
            <a:lvl1pPr>
              <a:defRPr sz="4400">
                <a:solidFill>
                  <a:schemeClr val="bg1"/>
                </a:solidFill>
              </a:defRPr>
            </a:lvl1pPr>
          </a:lstStyle>
          <a:p>
            <a:r>
              <a:rPr lang="en-US"/>
              <a:t>Title Goes Here</a:t>
            </a:r>
          </a:p>
        </p:txBody>
      </p:sp>
      <p:sp>
        <p:nvSpPr>
          <p:cNvPr id="18" name="Content Placeholder 2">
            <a:extLst>
              <a:ext uri="{FF2B5EF4-FFF2-40B4-BE49-F238E27FC236}">
                <a16:creationId xmlns:a16="http://schemas.microsoft.com/office/drawing/2014/main" id="{815D75AD-F1B9-8CA6-B4AD-8F63C577B7D5}"/>
              </a:ext>
            </a:extLst>
          </p:cNvPr>
          <p:cNvSpPr>
            <a:spLocks noGrp="1"/>
          </p:cNvSpPr>
          <p:nvPr>
            <p:ph sz="half" idx="14"/>
          </p:nvPr>
        </p:nvSpPr>
        <p:spPr>
          <a:xfrm>
            <a:off x="6326188" y="2204768"/>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C5089694-33C1-9BDA-7961-CB80068DFAD0}"/>
              </a:ext>
            </a:extLst>
          </p:cNvPr>
          <p:cNvSpPr>
            <a:spLocks noGrp="1"/>
          </p:cNvSpPr>
          <p:nvPr>
            <p:ph type="body" sz="quarter" idx="15" hasCustomPrompt="1"/>
          </p:nvPr>
        </p:nvSpPr>
        <p:spPr>
          <a:xfrm>
            <a:off x="839786" y="1371602"/>
            <a:ext cx="9741673" cy="696639"/>
          </a:xfrm>
        </p:spPr>
        <p:txBody>
          <a:bodyPr>
            <a:normAutofit/>
          </a:bodyPr>
          <a:lstStyle>
            <a:lvl1pPr marL="0" indent="0">
              <a:buNone/>
              <a:defRPr sz="24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Tree>
    <p:extLst>
      <p:ext uri="{BB962C8B-B14F-4D97-AF65-F5344CB8AC3E}">
        <p14:creationId xmlns:p14="http://schemas.microsoft.com/office/powerpoint/2010/main" val="8445071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3_Picture with Capti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60762D-EBA7-EA68-E2DB-29E9DAA043B9}"/>
              </a:ext>
            </a:extLst>
          </p:cNvPr>
          <p:cNvSpPr/>
          <p:nvPr userDrawn="1"/>
        </p:nvSpPr>
        <p:spPr>
          <a:xfrm flipH="1">
            <a:off x="0" y="-1"/>
            <a:ext cx="12192000" cy="6858000"/>
          </a:xfrm>
          <a:prstGeom prst="rect">
            <a:avLst/>
          </a:prstGeom>
          <a:gradFill flip="none" rotWithShape="1">
            <a:gsLst>
              <a:gs pos="99000">
                <a:schemeClr val="accent1"/>
              </a:gs>
              <a:gs pos="9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2D438A21-309D-F7F6-98B7-351EC7160903}"/>
              </a:ext>
            </a:extLst>
          </p:cNvPr>
          <p:cNvSpPr>
            <a:spLocks noGrp="1"/>
          </p:cNvSpPr>
          <p:nvPr>
            <p:ph sz="half" idx="10"/>
          </p:nvPr>
        </p:nvSpPr>
        <p:spPr>
          <a:xfrm>
            <a:off x="839788" y="1371602"/>
            <a:ext cx="4347673" cy="21189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F14A8D7B-DC9E-20BD-E30C-BD2B44396E0D}"/>
              </a:ext>
            </a:extLst>
          </p:cNvPr>
          <p:cNvSpPr>
            <a:spLocks noGrp="1"/>
          </p:cNvSpPr>
          <p:nvPr>
            <p:ph type="title" hasCustomPrompt="1"/>
          </p:nvPr>
        </p:nvSpPr>
        <p:spPr>
          <a:xfrm>
            <a:off x="839788" y="479505"/>
            <a:ext cx="9741674" cy="801577"/>
          </a:xfrm>
        </p:spPr>
        <p:txBody>
          <a:bodyPr anchor="b" anchorCtr="0">
            <a:noAutofit/>
          </a:bodyPr>
          <a:lstStyle>
            <a:lvl1pPr>
              <a:defRPr sz="4400">
                <a:solidFill>
                  <a:schemeClr val="bg1"/>
                </a:solidFill>
              </a:defRPr>
            </a:lvl1pPr>
          </a:lstStyle>
          <a:p>
            <a:r>
              <a:rPr lang="en-US"/>
              <a:t>Title Goes Here</a:t>
            </a:r>
          </a:p>
        </p:txBody>
      </p:sp>
      <p:sp>
        <p:nvSpPr>
          <p:cNvPr id="18" name="Content Placeholder 2">
            <a:extLst>
              <a:ext uri="{FF2B5EF4-FFF2-40B4-BE49-F238E27FC236}">
                <a16:creationId xmlns:a16="http://schemas.microsoft.com/office/drawing/2014/main" id="{815D75AD-F1B9-8CA6-B4AD-8F63C577B7D5}"/>
              </a:ext>
            </a:extLst>
          </p:cNvPr>
          <p:cNvSpPr>
            <a:spLocks noGrp="1"/>
          </p:cNvSpPr>
          <p:nvPr>
            <p:ph sz="half" idx="14"/>
          </p:nvPr>
        </p:nvSpPr>
        <p:spPr>
          <a:xfrm>
            <a:off x="5596427" y="1371602"/>
            <a:ext cx="4347673" cy="21189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FE72B6C2-E9B1-EEF6-A123-37D1893D3CD1}"/>
              </a:ext>
            </a:extLst>
          </p:cNvPr>
          <p:cNvSpPr>
            <a:spLocks noGrp="1"/>
          </p:cNvSpPr>
          <p:nvPr>
            <p:ph sz="half" idx="15"/>
          </p:nvPr>
        </p:nvSpPr>
        <p:spPr>
          <a:xfrm>
            <a:off x="839788" y="3745525"/>
            <a:ext cx="4347673" cy="21189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23678DD4-D23D-DE9F-DFF7-E53879481FB3}"/>
              </a:ext>
            </a:extLst>
          </p:cNvPr>
          <p:cNvSpPr>
            <a:spLocks noGrp="1"/>
          </p:cNvSpPr>
          <p:nvPr>
            <p:ph sz="half" idx="16"/>
          </p:nvPr>
        </p:nvSpPr>
        <p:spPr>
          <a:xfrm>
            <a:off x="5596427" y="3745525"/>
            <a:ext cx="4347673" cy="21189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AD0F286D-3780-B296-AD6A-65979123BB62}"/>
              </a:ext>
            </a:extLst>
          </p:cNvPr>
          <p:cNvPicPr>
            <a:picLocks noChangeAspect="1"/>
          </p:cNvPicPr>
          <p:nvPr userDrawn="1"/>
        </p:nvPicPr>
        <p:blipFill>
          <a:blip r:embed="rId2"/>
          <a:stretch>
            <a:fillRect/>
          </a:stretch>
        </p:blipFill>
        <p:spPr>
          <a:xfrm>
            <a:off x="10121526" y="5913345"/>
            <a:ext cx="1684992" cy="584243"/>
          </a:xfrm>
          <a:prstGeom prst="rect">
            <a:avLst/>
          </a:prstGeom>
        </p:spPr>
      </p:pic>
    </p:spTree>
    <p:extLst>
      <p:ext uri="{BB962C8B-B14F-4D97-AF65-F5344CB8AC3E}">
        <p14:creationId xmlns:p14="http://schemas.microsoft.com/office/powerpoint/2010/main" val="30274128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5_Picture with Cap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00A82E7-08CC-E092-D4FA-CBE8C48EAC2A}"/>
              </a:ext>
            </a:extLst>
          </p:cNvPr>
          <p:cNvSpPr/>
          <p:nvPr userDrawn="1"/>
        </p:nvSpPr>
        <p:spPr>
          <a:xfrm flipH="1">
            <a:off x="0" y="-1"/>
            <a:ext cx="12192000" cy="6858000"/>
          </a:xfrm>
          <a:prstGeom prst="rect">
            <a:avLst/>
          </a:prstGeom>
          <a:gradFill flip="none" rotWithShape="1">
            <a:gsLst>
              <a:gs pos="99000">
                <a:schemeClr val="accent1"/>
              </a:gs>
              <a:gs pos="9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Content Placeholder 2">
            <a:extLst>
              <a:ext uri="{FF2B5EF4-FFF2-40B4-BE49-F238E27FC236}">
                <a16:creationId xmlns:a16="http://schemas.microsoft.com/office/drawing/2014/main" id="{FE72B6C2-E9B1-EEF6-A123-37D1893D3CD1}"/>
              </a:ext>
            </a:extLst>
          </p:cNvPr>
          <p:cNvSpPr>
            <a:spLocks noGrp="1"/>
          </p:cNvSpPr>
          <p:nvPr>
            <p:ph sz="half" idx="15"/>
          </p:nvPr>
        </p:nvSpPr>
        <p:spPr>
          <a:xfrm>
            <a:off x="839788" y="3745525"/>
            <a:ext cx="4347673" cy="21189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23678DD4-D23D-DE9F-DFF7-E53879481FB3}"/>
              </a:ext>
            </a:extLst>
          </p:cNvPr>
          <p:cNvSpPr>
            <a:spLocks noGrp="1"/>
          </p:cNvSpPr>
          <p:nvPr>
            <p:ph sz="half" idx="16"/>
          </p:nvPr>
        </p:nvSpPr>
        <p:spPr>
          <a:xfrm>
            <a:off x="5596427" y="3745525"/>
            <a:ext cx="4347673" cy="21189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Picture Placeholder 2">
            <a:extLst>
              <a:ext uri="{FF2B5EF4-FFF2-40B4-BE49-F238E27FC236}">
                <a16:creationId xmlns:a16="http://schemas.microsoft.com/office/drawing/2014/main" id="{F8B8310C-BBE9-0181-F992-B29C8BEFC4C5}"/>
              </a:ext>
            </a:extLst>
          </p:cNvPr>
          <p:cNvSpPr>
            <a:spLocks noGrp="1"/>
          </p:cNvSpPr>
          <p:nvPr>
            <p:ph type="pic" idx="1" hasCustomPrompt="1"/>
          </p:nvPr>
        </p:nvSpPr>
        <p:spPr>
          <a:xfrm>
            <a:off x="839788" y="1371602"/>
            <a:ext cx="4347673" cy="2118944"/>
          </a:xfrm>
        </p:spPr>
        <p:txBody>
          <a:bodyPr lIns="0" tIns="0" rIns="0" bIns="0" anchor="ctr" anchorCtr="0">
            <a:normAutofit/>
          </a:bodyPr>
          <a:lstStyle>
            <a:lvl1pPr marL="0" indent="0" algn="ctr">
              <a:buNone/>
              <a:defRPr sz="1800" b="1">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
        <p:nvSpPr>
          <p:cNvPr id="19" name="Picture Placeholder 2">
            <a:extLst>
              <a:ext uri="{FF2B5EF4-FFF2-40B4-BE49-F238E27FC236}">
                <a16:creationId xmlns:a16="http://schemas.microsoft.com/office/drawing/2014/main" id="{C271EBEC-44E8-B040-B9E8-2A231264AE68}"/>
              </a:ext>
            </a:extLst>
          </p:cNvPr>
          <p:cNvSpPr>
            <a:spLocks noGrp="1"/>
          </p:cNvSpPr>
          <p:nvPr>
            <p:ph type="pic" idx="17" hasCustomPrompt="1"/>
          </p:nvPr>
        </p:nvSpPr>
        <p:spPr>
          <a:xfrm>
            <a:off x="5596427" y="1371602"/>
            <a:ext cx="4347673" cy="2118944"/>
          </a:xfrm>
        </p:spPr>
        <p:txBody>
          <a:bodyPr lIns="0" tIns="0" rIns="0" bIns="0" anchor="ctr" anchorCtr="0">
            <a:normAutofit/>
          </a:bodyPr>
          <a:lstStyle>
            <a:lvl1pPr marL="0" indent="0" algn="ctr">
              <a:buNone/>
              <a:defRPr sz="1800" b="1">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
        <p:nvSpPr>
          <p:cNvPr id="24" name="Title 1">
            <a:extLst>
              <a:ext uri="{FF2B5EF4-FFF2-40B4-BE49-F238E27FC236}">
                <a16:creationId xmlns:a16="http://schemas.microsoft.com/office/drawing/2014/main" id="{26AC72F2-5F9E-D638-CBA0-6438B636ED37}"/>
              </a:ext>
            </a:extLst>
          </p:cNvPr>
          <p:cNvSpPr>
            <a:spLocks noGrp="1"/>
          </p:cNvSpPr>
          <p:nvPr>
            <p:ph type="title" hasCustomPrompt="1"/>
          </p:nvPr>
        </p:nvSpPr>
        <p:spPr>
          <a:xfrm>
            <a:off x="839788" y="479505"/>
            <a:ext cx="9741674" cy="801577"/>
          </a:xfrm>
        </p:spPr>
        <p:txBody>
          <a:bodyPr anchor="b" anchorCtr="0">
            <a:noAutofit/>
          </a:bodyPr>
          <a:lstStyle>
            <a:lvl1pPr>
              <a:defRPr sz="4400">
                <a:solidFill>
                  <a:schemeClr val="bg1"/>
                </a:solidFill>
              </a:defRPr>
            </a:lvl1pPr>
          </a:lstStyle>
          <a:p>
            <a:r>
              <a:rPr lang="en-US"/>
              <a:t>Title Goes Here</a:t>
            </a:r>
          </a:p>
        </p:txBody>
      </p:sp>
      <p:pic>
        <p:nvPicPr>
          <p:cNvPr id="4" name="Picture 3">
            <a:extLst>
              <a:ext uri="{FF2B5EF4-FFF2-40B4-BE49-F238E27FC236}">
                <a16:creationId xmlns:a16="http://schemas.microsoft.com/office/drawing/2014/main" id="{3DFF886D-27A3-E535-A7BF-9F941C840C7E}"/>
              </a:ext>
            </a:extLst>
          </p:cNvPr>
          <p:cNvPicPr>
            <a:picLocks noChangeAspect="1"/>
          </p:cNvPicPr>
          <p:nvPr userDrawn="1"/>
        </p:nvPicPr>
        <p:blipFill>
          <a:blip r:embed="rId2"/>
          <a:stretch>
            <a:fillRect/>
          </a:stretch>
        </p:blipFill>
        <p:spPr>
          <a:xfrm>
            <a:off x="10121526" y="5913345"/>
            <a:ext cx="1684992" cy="584243"/>
          </a:xfrm>
          <a:prstGeom prst="rect">
            <a:avLst/>
          </a:prstGeom>
        </p:spPr>
      </p:pic>
    </p:spTree>
    <p:extLst>
      <p:ext uri="{BB962C8B-B14F-4D97-AF65-F5344CB8AC3E}">
        <p14:creationId xmlns:p14="http://schemas.microsoft.com/office/powerpoint/2010/main" val="942310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8_Picture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E8948B1-A22B-3070-D307-3883D02F985E}"/>
              </a:ext>
            </a:extLst>
          </p:cNvPr>
          <p:cNvSpPr/>
          <p:nvPr userDrawn="1"/>
        </p:nvSpPr>
        <p:spPr>
          <a:xfrm>
            <a:off x="0" y="-1"/>
            <a:ext cx="12192000" cy="6858000"/>
          </a:xfrm>
          <a:prstGeom prst="rect">
            <a:avLst/>
          </a:prstGeom>
          <a:gradFill flip="none" rotWithShape="1">
            <a:gsLst>
              <a:gs pos="95000">
                <a:schemeClr val="accent1"/>
              </a:gs>
              <a:gs pos="9000">
                <a:schemeClr val="accent3"/>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17" name="Rectangle 16">
            <a:extLst>
              <a:ext uri="{FF2B5EF4-FFF2-40B4-BE49-F238E27FC236}">
                <a16:creationId xmlns:a16="http://schemas.microsoft.com/office/drawing/2014/main" id="{B31FD9E0-790A-D039-7465-2D8AC24C9C40}"/>
              </a:ext>
            </a:extLst>
          </p:cNvPr>
          <p:cNvSpPr/>
          <p:nvPr userDrawn="1"/>
        </p:nvSpPr>
        <p:spPr>
          <a:xfrm>
            <a:off x="1071593" y="2241397"/>
            <a:ext cx="3132992" cy="3473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Slide Number Placeholder 3">
            <a:extLst>
              <a:ext uri="{FF2B5EF4-FFF2-40B4-BE49-F238E27FC236}">
                <a16:creationId xmlns:a16="http://schemas.microsoft.com/office/drawing/2014/main" id="{993FE7ED-BF94-FA87-A57E-B95E05E41E5E}"/>
              </a:ext>
            </a:extLst>
          </p:cNvPr>
          <p:cNvSpPr>
            <a:spLocks noGrp="1"/>
          </p:cNvSpPr>
          <p:nvPr userDrawn="1">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lumMod val="9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11" name="Title 1">
            <a:extLst>
              <a:ext uri="{FF2B5EF4-FFF2-40B4-BE49-F238E27FC236}">
                <a16:creationId xmlns:a16="http://schemas.microsoft.com/office/drawing/2014/main" id="{E18CBFB3-5031-4B6A-F498-676AE0C0C796}"/>
              </a:ext>
            </a:extLst>
          </p:cNvPr>
          <p:cNvSpPr>
            <a:spLocks noGrp="1"/>
          </p:cNvSpPr>
          <p:nvPr userDrawn="1">
            <p:ph type="title" hasCustomPrompt="1"/>
          </p:nvPr>
        </p:nvSpPr>
        <p:spPr>
          <a:xfrm>
            <a:off x="839788" y="479505"/>
            <a:ext cx="6475414" cy="801577"/>
          </a:xfrm>
        </p:spPr>
        <p:txBody>
          <a:bodyPr anchor="b" anchorCtr="0">
            <a:noAutofit/>
          </a:bodyPr>
          <a:lstStyle>
            <a:lvl1pPr>
              <a:defRPr sz="4400">
                <a:solidFill>
                  <a:schemeClr val="bg2"/>
                </a:solidFill>
              </a:defRPr>
            </a:lvl1pPr>
          </a:lstStyle>
          <a:p>
            <a:r>
              <a:rPr lang="en-US"/>
              <a:t>Title Goes Here</a:t>
            </a:r>
          </a:p>
        </p:txBody>
      </p:sp>
      <p:sp>
        <p:nvSpPr>
          <p:cNvPr id="14" name="Text Placeholder 3">
            <a:extLst>
              <a:ext uri="{FF2B5EF4-FFF2-40B4-BE49-F238E27FC236}">
                <a16:creationId xmlns:a16="http://schemas.microsoft.com/office/drawing/2014/main" id="{D66D6131-02B2-04C4-7274-0EF2ADACB0EF}"/>
              </a:ext>
            </a:extLst>
          </p:cNvPr>
          <p:cNvSpPr>
            <a:spLocks noGrp="1"/>
          </p:cNvSpPr>
          <p:nvPr userDrawn="1">
            <p:ph type="body" sz="quarter" idx="15" hasCustomPrompt="1"/>
          </p:nvPr>
        </p:nvSpPr>
        <p:spPr>
          <a:xfrm>
            <a:off x="839786" y="1371602"/>
            <a:ext cx="6475413" cy="696639"/>
          </a:xfrm>
        </p:spPr>
        <p:txBody>
          <a:bodyPr>
            <a:normAutofit/>
          </a:bodyPr>
          <a:lstStyle>
            <a:lvl1pPr marL="0" indent="0">
              <a:buNone/>
              <a:defRPr sz="24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
        <p:nvSpPr>
          <p:cNvPr id="6" name="Text Placeholder 5">
            <a:extLst>
              <a:ext uri="{FF2B5EF4-FFF2-40B4-BE49-F238E27FC236}">
                <a16:creationId xmlns:a16="http://schemas.microsoft.com/office/drawing/2014/main" id="{B982B4D6-26F1-A55B-DBAA-54B4A4343620}"/>
              </a:ext>
            </a:extLst>
          </p:cNvPr>
          <p:cNvSpPr>
            <a:spLocks noGrp="1"/>
          </p:cNvSpPr>
          <p:nvPr userDrawn="1">
            <p:ph type="body" sz="quarter" idx="16"/>
          </p:nvPr>
        </p:nvSpPr>
        <p:spPr>
          <a:xfrm>
            <a:off x="1235716" y="2453054"/>
            <a:ext cx="2804747" cy="646968"/>
          </a:xfrm>
        </p:spPr>
        <p:txBody>
          <a:bodyPr>
            <a:normAutofit/>
          </a:bodyPr>
          <a:lstStyle>
            <a:lvl1pPr marL="0" indent="0">
              <a:buNone/>
              <a:defRPr sz="2000" b="1">
                <a:solidFill>
                  <a:schemeClr val="accent3"/>
                </a:solidFill>
              </a:defRPr>
            </a:lvl1pPr>
            <a:lvl2pPr marL="349250" marR="0"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solidFill>
                  <a:schemeClr val="accent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5">
            <a:extLst>
              <a:ext uri="{FF2B5EF4-FFF2-40B4-BE49-F238E27FC236}">
                <a16:creationId xmlns:a16="http://schemas.microsoft.com/office/drawing/2014/main" id="{91835708-66EF-F00E-1185-DD37ED086761}"/>
              </a:ext>
            </a:extLst>
          </p:cNvPr>
          <p:cNvSpPr>
            <a:spLocks noGrp="1"/>
          </p:cNvSpPr>
          <p:nvPr userDrawn="1">
            <p:ph type="body" sz="quarter" idx="17" hasCustomPrompt="1"/>
          </p:nvPr>
        </p:nvSpPr>
        <p:spPr>
          <a:xfrm>
            <a:off x="1235716" y="3273178"/>
            <a:ext cx="2804747" cy="2296014"/>
          </a:xfrm>
        </p:spPr>
        <p:txBody>
          <a:bodyPr>
            <a:normAutofit/>
          </a:bodyPr>
          <a:lstStyle>
            <a:lvl1pPr marL="0" indent="0">
              <a:buNone/>
              <a:defRPr sz="2400" b="1">
                <a:solidFill>
                  <a:schemeClr val="accent3"/>
                </a:solidFill>
              </a:defRPr>
            </a:lvl1pPr>
            <a:lvl2pPr marL="174625" marR="0" indent="-1666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000">
                <a:solidFill>
                  <a:schemeClr val="accent2"/>
                </a:solidFill>
              </a:defRPr>
            </a:lvl2pPr>
            <a:lvl3pPr>
              <a:defRPr>
                <a:solidFill>
                  <a:schemeClr val="bg1"/>
                </a:solidFill>
              </a:defRPr>
            </a:lvl3pPr>
            <a:lvl4pPr>
              <a:defRPr>
                <a:solidFill>
                  <a:schemeClr val="bg1"/>
                </a:solidFill>
              </a:defRPr>
            </a:lvl4pPr>
            <a:lvl5pPr>
              <a:defRPr>
                <a:solidFill>
                  <a:schemeClr val="bg1"/>
                </a:solidFill>
              </a:defRPr>
            </a:lvl5pPr>
          </a:lstStyle>
          <a:p>
            <a:pPr lvl="1"/>
            <a:r>
              <a:rPr lang="en-US"/>
              <a:t>If you ever saw the commercials where the guy wants to hug the cable guy, well Nelson should even get a hug from his company.</a:t>
            </a:r>
          </a:p>
          <a:p>
            <a:pPr marL="174625" marR="0" lvl="1" indent="-1666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If you ever saw the commercials where the guy wants to hug the cable guy, well Nelson should even get a hug from his company.</a:t>
            </a:r>
          </a:p>
          <a:p>
            <a:pPr marL="174625" marR="0" lvl="1" indent="-1666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If you ever saw the commercials where the guy wants to hug the cable guy, well Nelson should even get a hug from his company.</a:t>
            </a:r>
          </a:p>
        </p:txBody>
      </p:sp>
      <p:sp>
        <p:nvSpPr>
          <p:cNvPr id="22" name="Triangle 21">
            <a:extLst>
              <a:ext uri="{FF2B5EF4-FFF2-40B4-BE49-F238E27FC236}">
                <a16:creationId xmlns:a16="http://schemas.microsoft.com/office/drawing/2014/main" id="{4C2E66DB-0CB2-FB6E-5BCC-CEC858C0A379}"/>
              </a:ext>
            </a:extLst>
          </p:cNvPr>
          <p:cNvSpPr/>
          <p:nvPr userDrawn="1"/>
        </p:nvSpPr>
        <p:spPr>
          <a:xfrm rot="5400000">
            <a:off x="4248406" y="3900336"/>
            <a:ext cx="226344" cy="155727"/>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6A0D38D7-3724-8FD7-1ADE-71C5F8929A19}"/>
              </a:ext>
            </a:extLst>
          </p:cNvPr>
          <p:cNvSpPr/>
          <p:nvPr userDrawn="1"/>
        </p:nvSpPr>
        <p:spPr>
          <a:xfrm>
            <a:off x="4529504" y="2241397"/>
            <a:ext cx="3132992" cy="3473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5">
            <a:extLst>
              <a:ext uri="{FF2B5EF4-FFF2-40B4-BE49-F238E27FC236}">
                <a16:creationId xmlns:a16="http://schemas.microsoft.com/office/drawing/2014/main" id="{2713CBE2-42D1-6359-6ABB-9D9D34BB1BF1}"/>
              </a:ext>
            </a:extLst>
          </p:cNvPr>
          <p:cNvSpPr>
            <a:spLocks noGrp="1"/>
          </p:cNvSpPr>
          <p:nvPr>
            <p:ph type="body" sz="quarter" idx="18"/>
          </p:nvPr>
        </p:nvSpPr>
        <p:spPr>
          <a:xfrm>
            <a:off x="4693627" y="2453054"/>
            <a:ext cx="2804747" cy="646968"/>
          </a:xfrm>
        </p:spPr>
        <p:txBody>
          <a:bodyPr>
            <a:normAutofit/>
          </a:bodyPr>
          <a:lstStyle>
            <a:lvl1pPr marL="0" indent="0">
              <a:buNone/>
              <a:defRPr sz="2000" b="1">
                <a:solidFill>
                  <a:schemeClr val="accent3"/>
                </a:solidFill>
              </a:defRPr>
            </a:lvl1pPr>
            <a:lvl2pPr marL="349250" marR="0"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solidFill>
                  <a:schemeClr val="accent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6" name="Text Placeholder 5">
            <a:extLst>
              <a:ext uri="{FF2B5EF4-FFF2-40B4-BE49-F238E27FC236}">
                <a16:creationId xmlns:a16="http://schemas.microsoft.com/office/drawing/2014/main" id="{842EEB38-D284-BB8A-67C9-66F6CD18A4A1}"/>
              </a:ext>
            </a:extLst>
          </p:cNvPr>
          <p:cNvSpPr>
            <a:spLocks noGrp="1"/>
          </p:cNvSpPr>
          <p:nvPr>
            <p:ph type="body" sz="quarter" idx="19" hasCustomPrompt="1"/>
          </p:nvPr>
        </p:nvSpPr>
        <p:spPr>
          <a:xfrm>
            <a:off x="4693627" y="3273178"/>
            <a:ext cx="2804747" cy="2296014"/>
          </a:xfrm>
        </p:spPr>
        <p:txBody>
          <a:bodyPr>
            <a:normAutofit/>
          </a:bodyPr>
          <a:lstStyle>
            <a:lvl1pPr marL="0" indent="0">
              <a:buNone/>
              <a:defRPr sz="2400" b="1">
                <a:solidFill>
                  <a:schemeClr val="accent3"/>
                </a:solidFill>
              </a:defRPr>
            </a:lvl1pPr>
            <a:lvl2pPr marL="174625" marR="0" indent="-1666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000">
                <a:solidFill>
                  <a:schemeClr val="accent2"/>
                </a:solidFill>
              </a:defRPr>
            </a:lvl2pPr>
            <a:lvl3pPr>
              <a:defRPr>
                <a:solidFill>
                  <a:schemeClr val="bg1"/>
                </a:solidFill>
              </a:defRPr>
            </a:lvl3pPr>
            <a:lvl4pPr>
              <a:defRPr>
                <a:solidFill>
                  <a:schemeClr val="bg1"/>
                </a:solidFill>
              </a:defRPr>
            </a:lvl4pPr>
            <a:lvl5pPr>
              <a:defRPr>
                <a:solidFill>
                  <a:schemeClr val="bg1"/>
                </a:solidFill>
              </a:defRPr>
            </a:lvl5pPr>
          </a:lstStyle>
          <a:p>
            <a:pPr lvl="1"/>
            <a:r>
              <a:rPr lang="en-US"/>
              <a:t>If you ever saw the commercials where the guy wants to hug the cable guy, well Nelson should even get a hug from his company.</a:t>
            </a:r>
          </a:p>
          <a:p>
            <a:pPr marL="174625" marR="0" lvl="1" indent="-1666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If you ever saw the commercials where the guy wants to hug the cable guy, well Nelson should even get a hug from his company.</a:t>
            </a:r>
          </a:p>
          <a:p>
            <a:pPr marL="174625" marR="0" lvl="1" indent="-1666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If you ever saw the commercials where the guy wants to hug the cable guy, well Nelson should even get a hug from his company.</a:t>
            </a:r>
          </a:p>
        </p:txBody>
      </p:sp>
      <p:sp>
        <p:nvSpPr>
          <p:cNvPr id="27" name="Rectangle 26">
            <a:extLst>
              <a:ext uri="{FF2B5EF4-FFF2-40B4-BE49-F238E27FC236}">
                <a16:creationId xmlns:a16="http://schemas.microsoft.com/office/drawing/2014/main" id="{7EF5BC37-D862-F915-DFDD-0A2F68BD8436}"/>
              </a:ext>
            </a:extLst>
          </p:cNvPr>
          <p:cNvSpPr/>
          <p:nvPr userDrawn="1"/>
        </p:nvSpPr>
        <p:spPr>
          <a:xfrm>
            <a:off x="7982344" y="2241397"/>
            <a:ext cx="3132992" cy="3473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 Placeholder 5">
            <a:extLst>
              <a:ext uri="{FF2B5EF4-FFF2-40B4-BE49-F238E27FC236}">
                <a16:creationId xmlns:a16="http://schemas.microsoft.com/office/drawing/2014/main" id="{8D188A00-6B9A-82B6-CF9F-A5D739BA0ADF}"/>
              </a:ext>
            </a:extLst>
          </p:cNvPr>
          <p:cNvSpPr>
            <a:spLocks noGrp="1"/>
          </p:cNvSpPr>
          <p:nvPr>
            <p:ph type="body" sz="quarter" idx="20"/>
          </p:nvPr>
        </p:nvSpPr>
        <p:spPr>
          <a:xfrm>
            <a:off x="8146467" y="2453054"/>
            <a:ext cx="2804747" cy="646968"/>
          </a:xfrm>
        </p:spPr>
        <p:txBody>
          <a:bodyPr>
            <a:normAutofit/>
          </a:bodyPr>
          <a:lstStyle>
            <a:lvl1pPr marL="0" indent="0">
              <a:buNone/>
              <a:defRPr sz="2000" b="1">
                <a:solidFill>
                  <a:schemeClr val="accent3"/>
                </a:solidFill>
              </a:defRPr>
            </a:lvl1pPr>
            <a:lvl2pPr marL="349250" marR="0"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a:solidFill>
                  <a:schemeClr val="accent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ext Placeholder 5">
            <a:extLst>
              <a:ext uri="{FF2B5EF4-FFF2-40B4-BE49-F238E27FC236}">
                <a16:creationId xmlns:a16="http://schemas.microsoft.com/office/drawing/2014/main" id="{357618F3-A35D-4A45-8A01-4B300E38086B}"/>
              </a:ext>
            </a:extLst>
          </p:cNvPr>
          <p:cNvSpPr>
            <a:spLocks noGrp="1"/>
          </p:cNvSpPr>
          <p:nvPr>
            <p:ph type="body" sz="quarter" idx="21" hasCustomPrompt="1"/>
          </p:nvPr>
        </p:nvSpPr>
        <p:spPr>
          <a:xfrm>
            <a:off x="8146467" y="3273178"/>
            <a:ext cx="2804747" cy="2296014"/>
          </a:xfrm>
        </p:spPr>
        <p:txBody>
          <a:bodyPr>
            <a:normAutofit/>
          </a:bodyPr>
          <a:lstStyle>
            <a:lvl1pPr marL="0" indent="0">
              <a:buNone/>
              <a:defRPr sz="2400" b="1">
                <a:solidFill>
                  <a:schemeClr val="accent3"/>
                </a:solidFill>
              </a:defRPr>
            </a:lvl1pPr>
            <a:lvl2pPr marL="174625" marR="0" indent="-1666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000">
                <a:solidFill>
                  <a:schemeClr val="accent2"/>
                </a:solidFill>
              </a:defRPr>
            </a:lvl2pPr>
            <a:lvl3pPr>
              <a:defRPr>
                <a:solidFill>
                  <a:schemeClr val="bg1"/>
                </a:solidFill>
              </a:defRPr>
            </a:lvl3pPr>
            <a:lvl4pPr>
              <a:defRPr>
                <a:solidFill>
                  <a:schemeClr val="bg1"/>
                </a:solidFill>
              </a:defRPr>
            </a:lvl4pPr>
            <a:lvl5pPr>
              <a:defRPr>
                <a:solidFill>
                  <a:schemeClr val="bg1"/>
                </a:solidFill>
              </a:defRPr>
            </a:lvl5pPr>
          </a:lstStyle>
          <a:p>
            <a:pPr lvl="1"/>
            <a:r>
              <a:rPr lang="en-US"/>
              <a:t>If you ever saw the commercials where the guy wants to hug the cable guy, well Nelson should even get a hug from his company.</a:t>
            </a:r>
          </a:p>
          <a:p>
            <a:pPr marL="174625" marR="0" lvl="1" indent="-1666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If you ever saw the commercials where the guy wants to hug the cable guy, well Nelson should even get a hug from his company.</a:t>
            </a:r>
          </a:p>
          <a:p>
            <a:pPr marL="174625" marR="0" lvl="1" indent="-1666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a:t>If you ever saw the commercials where the guy wants to hug the cable guy, well Nelson should even get a hug from his company.</a:t>
            </a:r>
          </a:p>
        </p:txBody>
      </p:sp>
      <p:sp>
        <p:nvSpPr>
          <p:cNvPr id="32" name="Triangle 31">
            <a:extLst>
              <a:ext uri="{FF2B5EF4-FFF2-40B4-BE49-F238E27FC236}">
                <a16:creationId xmlns:a16="http://schemas.microsoft.com/office/drawing/2014/main" id="{A98EC015-FD8A-5B02-A02E-AABB6AC6A688}"/>
              </a:ext>
            </a:extLst>
          </p:cNvPr>
          <p:cNvSpPr/>
          <p:nvPr userDrawn="1"/>
        </p:nvSpPr>
        <p:spPr>
          <a:xfrm rot="5400000">
            <a:off x="7721367" y="3900337"/>
            <a:ext cx="226344" cy="155727"/>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8007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eam Intr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9DDB6F-FDD8-86D5-F411-44BC5443D641}"/>
              </a:ext>
            </a:extLst>
          </p:cNvPr>
          <p:cNvSpPr/>
          <p:nvPr userDrawn="1"/>
        </p:nvSpPr>
        <p:spPr>
          <a:xfrm>
            <a:off x="0" y="0"/>
            <a:ext cx="670560" cy="6858000"/>
          </a:xfrm>
          <a:prstGeom prst="rect">
            <a:avLst/>
          </a:prstGeom>
          <a:solidFill>
            <a:srgbClr val="007D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A9C43533-7263-960C-2CB4-586AA97F3E41}"/>
              </a:ext>
            </a:extLst>
          </p:cNvPr>
          <p:cNvSpPr>
            <a:spLocks noGrp="1"/>
          </p:cNvSpPr>
          <p:nvPr>
            <p:ph type="title" hasCustomPrompt="1"/>
          </p:nvPr>
        </p:nvSpPr>
        <p:spPr>
          <a:xfrm>
            <a:off x="1623646" y="1551560"/>
            <a:ext cx="9156114" cy="666652"/>
          </a:xfrm>
        </p:spPr>
        <p:txBody>
          <a:bodyPr anchor="b" anchorCtr="0">
            <a:normAutofit/>
          </a:bodyPr>
          <a:lstStyle>
            <a:lvl1pPr>
              <a:defRPr sz="3600"/>
            </a:lvl1pPr>
          </a:lstStyle>
          <a:p>
            <a:r>
              <a:rPr lang="en-US"/>
              <a:t>Introductions</a:t>
            </a:r>
          </a:p>
        </p:txBody>
      </p:sp>
      <p:sp>
        <p:nvSpPr>
          <p:cNvPr id="5" name="Content Placeholder 2">
            <a:extLst>
              <a:ext uri="{FF2B5EF4-FFF2-40B4-BE49-F238E27FC236}">
                <a16:creationId xmlns:a16="http://schemas.microsoft.com/office/drawing/2014/main" id="{C7482196-2C88-320D-8497-481FBB717C49}"/>
              </a:ext>
            </a:extLst>
          </p:cNvPr>
          <p:cNvSpPr>
            <a:spLocks noGrp="1"/>
          </p:cNvSpPr>
          <p:nvPr>
            <p:ph idx="1" hasCustomPrompt="1"/>
          </p:nvPr>
        </p:nvSpPr>
        <p:spPr>
          <a:xfrm>
            <a:off x="1623646" y="4486591"/>
            <a:ext cx="2123440" cy="303349"/>
          </a:xfrm>
        </p:spPr>
        <p:txBody>
          <a:bodyPr/>
          <a:lstStyle>
            <a:lvl1pPr marL="0" indent="0">
              <a:buNone/>
              <a:defRPr sz="1600" b="1" baseline="0"/>
            </a:lvl1pPr>
          </a:lstStyle>
          <a:p>
            <a:pPr lvl="0"/>
            <a:r>
              <a:rPr lang="en-US"/>
              <a:t>Person’s Name</a:t>
            </a:r>
          </a:p>
        </p:txBody>
      </p:sp>
      <p:sp>
        <p:nvSpPr>
          <p:cNvPr id="3" name="Picture Placeholder 3">
            <a:extLst>
              <a:ext uri="{FF2B5EF4-FFF2-40B4-BE49-F238E27FC236}">
                <a16:creationId xmlns:a16="http://schemas.microsoft.com/office/drawing/2014/main" id="{967B5704-D10B-79D9-490D-83D3C3496382}"/>
              </a:ext>
            </a:extLst>
          </p:cNvPr>
          <p:cNvSpPr>
            <a:spLocks noGrp="1"/>
          </p:cNvSpPr>
          <p:nvPr>
            <p:ph type="pic" sz="quarter" idx="10"/>
          </p:nvPr>
        </p:nvSpPr>
        <p:spPr>
          <a:xfrm>
            <a:off x="1623646" y="2560320"/>
            <a:ext cx="2123440" cy="1921208"/>
          </a:xfrm>
        </p:spPr>
      </p:sp>
      <p:sp>
        <p:nvSpPr>
          <p:cNvPr id="2" name="Content Placeholder 2">
            <a:extLst>
              <a:ext uri="{FF2B5EF4-FFF2-40B4-BE49-F238E27FC236}">
                <a16:creationId xmlns:a16="http://schemas.microsoft.com/office/drawing/2014/main" id="{80921226-EE10-59F9-AD74-D42207BEA3B6}"/>
              </a:ext>
            </a:extLst>
          </p:cNvPr>
          <p:cNvSpPr>
            <a:spLocks noGrp="1"/>
          </p:cNvSpPr>
          <p:nvPr>
            <p:ph idx="11" hasCustomPrompt="1"/>
          </p:nvPr>
        </p:nvSpPr>
        <p:spPr>
          <a:xfrm>
            <a:off x="1623646" y="4777102"/>
            <a:ext cx="2123440" cy="303349"/>
          </a:xfrm>
        </p:spPr>
        <p:txBody>
          <a:bodyPr/>
          <a:lstStyle>
            <a:lvl1pPr marL="0" indent="0">
              <a:buNone/>
              <a:defRPr sz="1600" b="0" baseline="0"/>
            </a:lvl1pPr>
          </a:lstStyle>
          <a:p>
            <a:pPr lvl="0"/>
            <a:r>
              <a:rPr lang="en-US"/>
              <a:t>Person’s Title</a:t>
            </a:r>
          </a:p>
        </p:txBody>
      </p:sp>
      <p:sp>
        <p:nvSpPr>
          <p:cNvPr id="7" name="Content Placeholder 2">
            <a:extLst>
              <a:ext uri="{FF2B5EF4-FFF2-40B4-BE49-F238E27FC236}">
                <a16:creationId xmlns:a16="http://schemas.microsoft.com/office/drawing/2014/main" id="{6FC73289-90C4-0544-DCC9-387D7882CF83}"/>
              </a:ext>
            </a:extLst>
          </p:cNvPr>
          <p:cNvSpPr>
            <a:spLocks noGrp="1"/>
          </p:cNvSpPr>
          <p:nvPr>
            <p:ph idx="12" hasCustomPrompt="1"/>
          </p:nvPr>
        </p:nvSpPr>
        <p:spPr>
          <a:xfrm>
            <a:off x="3972560" y="4486591"/>
            <a:ext cx="2123440" cy="303349"/>
          </a:xfrm>
        </p:spPr>
        <p:txBody>
          <a:bodyPr/>
          <a:lstStyle>
            <a:lvl1pPr marL="0" indent="0">
              <a:buNone/>
              <a:defRPr sz="1600" b="1" baseline="0"/>
            </a:lvl1pPr>
          </a:lstStyle>
          <a:p>
            <a:pPr lvl="0"/>
            <a:r>
              <a:rPr lang="en-US"/>
              <a:t>Person’s Name</a:t>
            </a:r>
          </a:p>
        </p:txBody>
      </p:sp>
      <p:sp>
        <p:nvSpPr>
          <p:cNvPr id="8" name="Picture Placeholder 3">
            <a:extLst>
              <a:ext uri="{FF2B5EF4-FFF2-40B4-BE49-F238E27FC236}">
                <a16:creationId xmlns:a16="http://schemas.microsoft.com/office/drawing/2014/main" id="{7C7C3782-D072-514B-CD08-1893FD5DD3B8}"/>
              </a:ext>
            </a:extLst>
          </p:cNvPr>
          <p:cNvSpPr>
            <a:spLocks noGrp="1"/>
          </p:cNvSpPr>
          <p:nvPr>
            <p:ph type="pic" sz="quarter" idx="13"/>
          </p:nvPr>
        </p:nvSpPr>
        <p:spPr>
          <a:xfrm>
            <a:off x="3972560" y="2560320"/>
            <a:ext cx="2123440" cy="1921208"/>
          </a:xfrm>
        </p:spPr>
      </p:sp>
      <p:sp>
        <p:nvSpPr>
          <p:cNvPr id="9" name="Content Placeholder 2">
            <a:extLst>
              <a:ext uri="{FF2B5EF4-FFF2-40B4-BE49-F238E27FC236}">
                <a16:creationId xmlns:a16="http://schemas.microsoft.com/office/drawing/2014/main" id="{139D3FD1-754B-D2F1-57B7-15C76735BCAD}"/>
              </a:ext>
            </a:extLst>
          </p:cNvPr>
          <p:cNvSpPr>
            <a:spLocks noGrp="1"/>
          </p:cNvSpPr>
          <p:nvPr>
            <p:ph idx="14" hasCustomPrompt="1"/>
          </p:nvPr>
        </p:nvSpPr>
        <p:spPr>
          <a:xfrm>
            <a:off x="3972560" y="4777102"/>
            <a:ext cx="2123440" cy="303349"/>
          </a:xfrm>
        </p:spPr>
        <p:txBody>
          <a:bodyPr/>
          <a:lstStyle>
            <a:lvl1pPr marL="0" indent="0">
              <a:buNone/>
              <a:defRPr sz="1600" b="0" baseline="0"/>
            </a:lvl1pPr>
          </a:lstStyle>
          <a:p>
            <a:pPr lvl="0"/>
            <a:r>
              <a:rPr lang="en-US"/>
              <a:t>Person’s Title</a:t>
            </a:r>
          </a:p>
        </p:txBody>
      </p:sp>
      <p:sp>
        <p:nvSpPr>
          <p:cNvPr id="10" name="Content Placeholder 2">
            <a:extLst>
              <a:ext uri="{FF2B5EF4-FFF2-40B4-BE49-F238E27FC236}">
                <a16:creationId xmlns:a16="http://schemas.microsoft.com/office/drawing/2014/main" id="{B66BFA48-83E8-6D7C-3654-07C9702EACB1}"/>
              </a:ext>
            </a:extLst>
          </p:cNvPr>
          <p:cNvSpPr>
            <a:spLocks noGrp="1"/>
          </p:cNvSpPr>
          <p:nvPr>
            <p:ph idx="15" hasCustomPrompt="1"/>
          </p:nvPr>
        </p:nvSpPr>
        <p:spPr>
          <a:xfrm>
            <a:off x="6319520" y="4486591"/>
            <a:ext cx="2123440" cy="303349"/>
          </a:xfrm>
        </p:spPr>
        <p:txBody>
          <a:bodyPr/>
          <a:lstStyle>
            <a:lvl1pPr marL="0" indent="0">
              <a:buNone/>
              <a:defRPr sz="1600" b="1" baseline="0"/>
            </a:lvl1pPr>
          </a:lstStyle>
          <a:p>
            <a:pPr lvl="0"/>
            <a:r>
              <a:rPr lang="en-US"/>
              <a:t>Person’s Name</a:t>
            </a:r>
          </a:p>
        </p:txBody>
      </p:sp>
      <p:sp>
        <p:nvSpPr>
          <p:cNvPr id="11" name="Picture Placeholder 3">
            <a:extLst>
              <a:ext uri="{FF2B5EF4-FFF2-40B4-BE49-F238E27FC236}">
                <a16:creationId xmlns:a16="http://schemas.microsoft.com/office/drawing/2014/main" id="{E8A96E3F-8243-C2B2-7A64-230960329CD9}"/>
              </a:ext>
            </a:extLst>
          </p:cNvPr>
          <p:cNvSpPr>
            <a:spLocks noGrp="1"/>
          </p:cNvSpPr>
          <p:nvPr>
            <p:ph type="pic" sz="quarter" idx="16"/>
          </p:nvPr>
        </p:nvSpPr>
        <p:spPr>
          <a:xfrm>
            <a:off x="6319520" y="2560320"/>
            <a:ext cx="2123440" cy="1921208"/>
          </a:xfrm>
        </p:spPr>
      </p:sp>
      <p:sp>
        <p:nvSpPr>
          <p:cNvPr id="12" name="Content Placeholder 2">
            <a:extLst>
              <a:ext uri="{FF2B5EF4-FFF2-40B4-BE49-F238E27FC236}">
                <a16:creationId xmlns:a16="http://schemas.microsoft.com/office/drawing/2014/main" id="{D01A1BC2-6CCA-422F-3718-521584C66C33}"/>
              </a:ext>
            </a:extLst>
          </p:cNvPr>
          <p:cNvSpPr>
            <a:spLocks noGrp="1"/>
          </p:cNvSpPr>
          <p:nvPr>
            <p:ph idx="17" hasCustomPrompt="1"/>
          </p:nvPr>
        </p:nvSpPr>
        <p:spPr>
          <a:xfrm>
            <a:off x="6319520" y="4777102"/>
            <a:ext cx="2123440" cy="303349"/>
          </a:xfrm>
        </p:spPr>
        <p:txBody>
          <a:bodyPr/>
          <a:lstStyle>
            <a:lvl1pPr marL="0" indent="0">
              <a:buNone/>
              <a:defRPr sz="1600" b="0" baseline="0"/>
            </a:lvl1pPr>
          </a:lstStyle>
          <a:p>
            <a:pPr lvl="0"/>
            <a:r>
              <a:rPr lang="en-US"/>
              <a:t>Person’s Title</a:t>
            </a:r>
          </a:p>
        </p:txBody>
      </p:sp>
      <p:sp>
        <p:nvSpPr>
          <p:cNvPr id="13" name="Content Placeholder 2">
            <a:extLst>
              <a:ext uri="{FF2B5EF4-FFF2-40B4-BE49-F238E27FC236}">
                <a16:creationId xmlns:a16="http://schemas.microsoft.com/office/drawing/2014/main" id="{B0DA942F-8789-0A78-B32F-A3F02D4D01D5}"/>
              </a:ext>
            </a:extLst>
          </p:cNvPr>
          <p:cNvSpPr>
            <a:spLocks noGrp="1"/>
          </p:cNvSpPr>
          <p:nvPr>
            <p:ph idx="18" hasCustomPrompt="1"/>
          </p:nvPr>
        </p:nvSpPr>
        <p:spPr>
          <a:xfrm>
            <a:off x="8656320" y="4486591"/>
            <a:ext cx="2123440" cy="303349"/>
          </a:xfrm>
        </p:spPr>
        <p:txBody>
          <a:bodyPr/>
          <a:lstStyle>
            <a:lvl1pPr marL="0" indent="0">
              <a:buNone/>
              <a:defRPr sz="1600" b="1" baseline="0"/>
            </a:lvl1pPr>
          </a:lstStyle>
          <a:p>
            <a:pPr lvl="0"/>
            <a:r>
              <a:rPr lang="en-US"/>
              <a:t>Person’s Name</a:t>
            </a:r>
          </a:p>
        </p:txBody>
      </p:sp>
      <p:sp>
        <p:nvSpPr>
          <p:cNvPr id="14" name="Picture Placeholder 3">
            <a:extLst>
              <a:ext uri="{FF2B5EF4-FFF2-40B4-BE49-F238E27FC236}">
                <a16:creationId xmlns:a16="http://schemas.microsoft.com/office/drawing/2014/main" id="{09E46AE9-4FA8-F007-665C-C73B2C74D649}"/>
              </a:ext>
            </a:extLst>
          </p:cNvPr>
          <p:cNvSpPr>
            <a:spLocks noGrp="1"/>
          </p:cNvSpPr>
          <p:nvPr>
            <p:ph type="pic" sz="quarter" idx="19"/>
          </p:nvPr>
        </p:nvSpPr>
        <p:spPr>
          <a:xfrm>
            <a:off x="8656320" y="2560320"/>
            <a:ext cx="2123440" cy="1921208"/>
          </a:xfrm>
        </p:spPr>
        <p:txBody>
          <a:bodyPr/>
          <a:lstStyle/>
          <a:p>
            <a:endParaRPr lang="en-US"/>
          </a:p>
        </p:txBody>
      </p:sp>
      <p:sp>
        <p:nvSpPr>
          <p:cNvPr id="15" name="Content Placeholder 2">
            <a:extLst>
              <a:ext uri="{FF2B5EF4-FFF2-40B4-BE49-F238E27FC236}">
                <a16:creationId xmlns:a16="http://schemas.microsoft.com/office/drawing/2014/main" id="{18C8B043-A6B4-F72B-1003-46EAA698AA20}"/>
              </a:ext>
            </a:extLst>
          </p:cNvPr>
          <p:cNvSpPr>
            <a:spLocks noGrp="1"/>
          </p:cNvSpPr>
          <p:nvPr>
            <p:ph idx="20" hasCustomPrompt="1"/>
          </p:nvPr>
        </p:nvSpPr>
        <p:spPr>
          <a:xfrm>
            <a:off x="8656320" y="4777102"/>
            <a:ext cx="2123440" cy="303349"/>
          </a:xfrm>
        </p:spPr>
        <p:txBody>
          <a:bodyPr/>
          <a:lstStyle>
            <a:lvl1pPr marL="0" indent="0">
              <a:buNone/>
              <a:defRPr sz="1600" b="0" baseline="0"/>
            </a:lvl1pPr>
          </a:lstStyle>
          <a:p>
            <a:pPr lvl="0"/>
            <a:r>
              <a:rPr lang="en-US"/>
              <a:t>Person’s Title</a:t>
            </a:r>
          </a:p>
        </p:txBody>
      </p:sp>
      <p:pic>
        <p:nvPicPr>
          <p:cNvPr id="33" name="Picture 32">
            <a:extLst>
              <a:ext uri="{FF2B5EF4-FFF2-40B4-BE49-F238E27FC236}">
                <a16:creationId xmlns:a16="http://schemas.microsoft.com/office/drawing/2014/main" id="{078C32F0-FBA0-B79D-1F3C-D91955316AA4}"/>
              </a:ext>
            </a:extLst>
          </p:cNvPr>
          <p:cNvPicPr>
            <a:picLocks noChangeAspect="1"/>
          </p:cNvPicPr>
          <p:nvPr userDrawn="1"/>
        </p:nvPicPr>
        <p:blipFill>
          <a:blip r:embed="rId2"/>
          <a:stretch>
            <a:fillRect/>
          </a:stretch>
        </p:blipFill>
        <p:spPr>
          <a:xfrm>
            <a:off x="10121526" y="5931711"/>
            <a:ext cx="1684992" cy="584243"/>
          </a:xfrm>
          <a:prstGeom prst="rect">
            <a:avLst/>
          </a:prstGeom>
        </p:spPr>
      </p:pic>
    </p:spTree>
    <p:extLst>
      <p:ext uri="{BB962C8B-B14F-4D97-AF65-F5344CB8AC3E}">
        <p14:creationId xmlns:p14="http://schemas.microsoft.com/office/powerpoint/2010/main" val="35752069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4_Right-Title+Sub+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3340A5-6185-521E-C36B-D616FF681716}"/>
              </a:ext>
            </a:extLst>
          </p:cNvPr>
          <p:cNvSpPr/>
          <p:nvPr userDrawn="1"/>
        </p:nvSpPr>
        <p:spPr>
          <a:xfrm>
            <a:off x="0" y="0"/>
            <a:ext cx="4307840" cy="6858000"/>
          </a:xfrm>
          <a:prstGeom prst="rect">
            <a:avLst/>
          </a:prstGeom>
          <a:gradFill flip="none" rotWithShape="1">
            <a:gsLst>
              <a:gs pos="18000">
                <a:schemeClr val="accent1"/>
              </a:gs>
              <a:gs pos="91000">
                <a:schemeClr val="accent3"/>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A9C43533-7263-960C-2CB4-586AA97F3E41}"/>
              </a:ext>
            </a:extLst>
          </p:cNvPr>
          <p:cNvSpPr>
            <a:spLocks noGrp="1"/>
          </p:cNvSpPr>
          <p:nvPr>
            <p:ph type="title"/>
          </p:nvPr>
        </p:nvSpPr>
        <p:spPr>
          <a:xfrm>
            <a:off x="6799385" y="874061"/>
            <a:ext cx="4472354" cy="1585181"/>
          </a:xfrm>
        </p:spPr>
        <p:txBody>
          <a:bodyPr anchor="b" anchorCtr="0">
            <a:normAutofit/>
          </a:bodyPr>
          <a:lstStyle>
            <a:lvl1pPr>
              <a:defRPr sz="3600"/>
            </a:lvl1pPr>
          </a:lstStyle>
          <a:p>
            <a:endParaRPr lang="en-US"/>
          </a:p>
        </p:txBody>
      </p:sp>
      <p:sp>
        <p:nvSpPr>
          <p:cNvPr id="5" name="Content Placeholder 2">
            <a:extLst>
              <a:ext uri="{FF2B5EF4-FFF2-40B4-BE49-F238E27FC236}">
                <a16:creationId xmlns:a16="http://schemas.microsoft.com/office/drawing/2014/main" id="{C7482196-2C88-320D-8497-481FBB717C49}"/>
              </a:ext>
            </a:extLst>
          </p:cNvPr>
          <p:cNvSpPr>
            <a:spLocks noGrp="1"/>
          </p:cNvSpPr>
          <p:nvPr>
            <p:ph idx="1"/>
          </p:nvPr>
        </p:nvSpPr>
        <p:spPr>
          <a:xfrm>
            <a:off x="6799385" y="3128759"/>
            <a:ext cx="4472354" cy="28551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2">
            <a:extLst>
              <a:ext uri="{FF2B5EF4-FFF2-40B4-BE49-F238E27FC236}">
                <a16:creationId xmlns:a16="http://schemas.microsoft.com/office/drawing/2014/main" id="{68919125-92B2-AB53-BB88-F8E13F765C6C}"/>
              </a:ext>
            </a:extLst>
          </p:cNvPr>
          <p:cNvSpPr>
            <a:spLocks noGrp="1"/>
          </p:cNvSpPr>
          <p:nvPr>
            <p:ph idx="11" hasCustomPrompt="1"/>
          </p:nvPr>
        </p:nvSpPr>
        <p:spPr>
          <a:xfrm>
            <a:off x="6799385" y="2658535"/>
            <a:ext cx="4472354" cy="491066"/>
          </a:xfrm>
        </p:spPr>
        <p:txBody>
          <a:bodyPr>
            <a:noAutofit/>
          </a:bodyPr>
          <a:lstStyle>
            <a:lvl1pPr marL="0" indent="0">
              <a:buNone/>
              <a:defRPr sz="2200" b="1">
                <a:solidFill>
                  <a:schemeClr val="accent1"/>
                </a:solidFill>
              </a:defRPr>
            </a:lvl1pPr>
            <a:lvl2pPr>
              <a:defRPr sz="1800"/>
            </a:lvl2pPr>
            <a:lvl3pPr>
              <a:defRPr sz="1800"/>
            </a:lvl3pPr>
            <a:lvl4pPr>
              <a:defRPr sz="1800"/>
            </a:lvl4pPr>
            <a:lvl5pPr>
              <a:defRPr sz="1800"/>
            </a:lvl5pPr>
          </a:lstStyle>
          <a:p>
            <a:pPr lvl="0"/>
            <a:r>
              <a:rPr lang="en-US"/>
              <a:t>Subheading</a:t>
            </a:r>
          </a:p>
        </p:txBody>
      </p:sp>
      <p:sp>
        <p:nvSpPr>
          <p:cNvPr id="8" name="Picture Placeholder 2">
            <a:extLst>
              <a:ext uri="{FF2B5EF4-FFF2-40B4-BE49-F238E27FC236}">
                <a16:creationId xmlns:a16="http://schemas.microsoft.com/office/drawing/2014/main" id="{BF3C5B3D-58B4-B2DB-EFED-A015EBE5C7EC}"/>
              </a:ext>
            </a:extLst>
          </p:cNvPr>
          <p:cNvSpPr>
            <a:spLocks noGrp="1"/>
          </p:cNvSpPr>
          <p:nvPr>
            <p:ph type="pic" idx="19" hasCustomPrompt="1"/>
          </p:nvPr>
        </p:nvSpPr>
        <p:spPr>
          <a:xfrm>
            <a:off x="4307840" y="0"/>
            <a:ext cx="1788160" cy="6858000"/>
          </a:xfrm>
        </p:spPr>
        <p:txBody>
          <a:bodyPr lIns="0" tIns="0" rIns="0" bIns="0" anchor="ctr" anchorCtr="0">
            <a:normAutofit/>
          </a:bodyPr>
          <a:lstStyle>
            <a:lvl1pPr marL="0" indent="0" algn="ctr">
              <a:buNone/>
              <a:defRPr sz="1800" b="1">
                <a:solidFill>
                  <a:srgbClr val="3EB1C8"/>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Tree>
    <p:extLst>
      <p:ext uri="{BB962C8B-B14F-4D97-AF65-F5344CB8AC3E}">
        <p14:creationId xmlns:p14="http://schemas.microsoft.com/office/powerpoint/2010/main" val="13191482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Right-Title+Sub+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3340A5-6185-521E-C36B-D616FF681716}"/>
              </a:ext>
            </a:extLst>
          </p:cNvPr>
          <p:cNvSpPr/>
          <p:nvPr userDrawn="1"/>
        </p:nvSpPr>
        <p:spPr>
          <a:xfrm>
            <a:off x="0" y="0"/>
            <a:ext cx="4307840" cy="6858000"/>
          </a:xfrm>
          <a:prstGeom prst="rect">
            <a:avLst/>
          </a:prstGeom>
          <a:solidFill>
            <a:srgbClr val="004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A9C43533-7263-960C-2CB4-586AA97F3E41}"/>
              </a:ext>
            </a:extLst>
          </p:cNvPr>
          <p:cNvSpPr>
            <a:spLocks noGrp="1"/>
          </p:cNvSpPr>
          <p:nvPr>
            <p:ph type="title"/>
          </p:nvPr>
        </p:nvSpPr>
        <p:spPr>
          <a:xfrm>
            <a:off x="6799385" y="874061"/>
            <a:ext cx="4472354" cy="1585181"/>
          </a:xfrm>
        </p:spPr>
        <p:txBody>
          <a:bodyPr anchor="b" anchorCtr="0">
            <a:normAutofit/>
          </a:bodyPr>
          <a:lstStyle>
            <a:lvl1pPr>
              <a:defRPr sz="3600"/>
            </a:lvl1pPr>
          </a:lstStyle>
          <a:p>
            <a:endParaRPr lang="en-US"/>
          </a:p>
        </p:txBody>
      </p:sp>
      <p:sp>
        <p:nvSpPr>
          <p:cNvPr id="5" name="Content Placeholder 2">
            <a:extLst>
              <a:ext uri="{FF2B5EF4-FFF2-40B4-BE49-F238E27FC236}">
                <a16:creationId xmlns:a16="http://schemas.microsoft.com/office/drawing/2014/main" id="{C7482196-2C88-320D-8497-481FBB717C49}"/>
              </a:ext>
            </a:extLst>
          </p:cNvPr>
          <p:cNvSpPr>
            <a:spLocks noGrp="1"/>
          </p:cNvSpPr>
          <p:nvPr>
            <p:ph idx="1"/>
          </p:nvPr>
        </p:nvSpPr>
        <p:spPr>
          <a:xfrm>
            <a:off x="6799385" y="3128759"/>
            <a:ext cx="4472354" cy="28551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2">
            <a:extLst>
              <a:ext uri="{FF2B5EF4-FFF2-40B4-BE49-F238E27FC236}">
                <a16:creationId xmlns:a16="http://schemas.microsoft.com/office/drawing/2014/main" id="{68919125-92B2-AB53-BB88-F8E13F765C6C}"/>
              </a:ext>
            </a:extLst>
          </p:cNvPr>
          <p:cNvSpPr>
            <a:spLocks noGrp="1"/>
          </p:cNvSpPr>
          <p:nvPr>
            <p:ph idx="11" hasCustomPrompt="1"/>
          </p:nvPr>
        </p:nvSpPr>
        <p:spPr>
          <a:xfrm>
            <a:off x="6799385" y="2658535"/>
            <a:ext cx="4472354" cy="491066"/>
          </a:xfrm>
        </p:spPr>
        <p:txBody>
          <a:bodyPr>
            <a:noAutofit/>
          </a:bodyPr>
          <a:lstStyle>
            <a:lvl1pPr marL="0" indent="0">
              <a:buNone/>
              <a:defRPr sz="2200" b="1">
                <a:solidFill>
                  <a:schemeClr val="accent1"/>
                </a:solidFill>
              </a:defRPr>
            </a:lvl1pPr>
            <a:lvl2pPr>
              <a:defRPr sz="1800"/>
            </a:lvl2pPr>
            <a:lvl3pPr>
              <a:defRPr sz="1800"/>
            </a:lvl3pPr>
            <a:lvl4pPr>
              <a:defRPr sz="1800"/>
            </a:lvl4pPr>
            <a:lvl5pPr>
              <a:defRPr sz="1800"/>
            </a:lvl5pPr>
          </a:lstStyle>
          <a:p>
            <a:pPr lvl="0"/>
            <a:r>
              <a:rPr lang="en-US"/>
              <a:t>Subheading</a:t>
            </a:r>
          </a:p>
        </p:txBody>
      </p:sp>
      <p:sp>
        <p:nvSpPr>
          <p:cNvPr id="3" name="Picture Placeholder 2">
            <a:extLst>
              <a:ext uri="{FF2B5EF4-FFF2-40B4-BE49-F238E27FC236}">
                <a16:creationId xmlns:a16="http://schemas.microsoft.com/office/drawing/2014/main" id="{08534B67-69D6-6363-C2DA-3C8D728A4C84}"/>
              </a:ext>
            </a:extLst>
          </p:cNvPr>
          <p:cNvSpPr>
            <a:spLocks noGrp="1"/>
          </p:cNvSpPr>
          <p:nvPr>
            <p:ph type="pic" idx="19" hasCustomPrompt="1"/>
          </p:nvPr>
        </p:nvSpPr>
        <p:spPr>
          <a:xfrm>
            <a:off x="4307840" y="0"/>
            <a:ext cx="1788160" cy="6858000"/>
          </a:xfrm>
        </p:spPr>
        <p:txBody>
          <a:bodyPr lIns="0" tIns="0" rIns="0" bIns="0" anchor="ctr" anchorCtr="0">
            <a:normAutofit/>
          </a:bodyPr>
          <a:lstStyle>
            <a:lvl1pPr marL="0" indent="0" algn="ctr">
              <a:buNone/>
              <a:defRPr sz="1800" b="1">
                <a:solidFill>
                  <a:srgbClr val="3EB1C8"/>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Tree>
    <p:extLst>
      <p:ext uri="{BB962C8B-B14F-4D97-AF65-F5344CB8AC3E}">
        <p14:creationId xmlns:p14="http://schemas.microsoft.com/office/powerpoint/2010/main" val="2538391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Right-Title+Sub+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3340A5-6185-521E-C36B-D616FF681716}"/>
              </a:ext>
            </a:extLst>
          </p:cNvPr>
          <p:cNvSpPr/>
          <p:nvPr userDrawn="1"/>
        </p:nvSpPr>
        <p:spPr>
          <a:xfrm>
            <a:off x="0" y="0"/>
            <a:ext cx="4307840" cy="6858000"/>
          </a:xfrm>
          <a:prstGeom prst="rect">
            <a:avLst/>
          </a:prstGeom>
          <a:solidFill>
            <a:srgbClr val="007D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A9C43533-7263-960C-2CB4-586AA97F3E41}"/>
              </a:ext>
            </a:extLst>
          </p:cNvPr>
          <p:cNvSpPr>
            <a:spLocks noGrp="1"/>
          </p:cNvSpPr>
          <p:nvPr>
            <p:ph type="title"/>
          </p:nvPr>
        </p:nvSpPr>
        <p:spPr>
          <a:xfrm>
            <a:off x="6799385" y="874061"/>
            <a:ext cx="4472354" cy="1585181"/>
          </a:xfrm>
        </p:spPr>
        <p:txBody>
          <a:bodyPr anchor="b" anchorCtr="0">
            <a:normAutofit/>
          </a:bodyPr>
          <a:lstStyle>
            <a:lvl1pPr>
              <a:defRPr sz="3600"/>
            </a:lvl1pPr>
          </a:lstStyle>
          <a:p>
            <a:endParaRPr lang="en-US"/>
          </a:p>
        </p:txBody>
      </p:sp>
      <p:sp>
        <p:nvSpPr>
          <p:cNvPr id="5" name="Content Placeholder 2">
            <a:extLst>
              <a:ext uri="{FF2B5EF4-FFF2-40B4-BE49-F238E27FC236}">
                <a16:creationId xmlns:a16="http://schemas.microsoft.com/office/drawing/2014/main" id="{C7482196-2C88-320D-8497-481FBB717C49}"/>
              </a:ext>
            </a:extLst>
          </p:cNvPr>
          <p:cNvSpPr>
            <a:spLocks noGrp="1"/>
          </p:cNvSpPr>
          <p:nvPr>
            <p:ph idx="1"/>
          </p:nvPr>
        </p:nvSpPr>
        <p:spPr>
          <a:xfrm>
            <a:off x="6799385" y="3128759"/>
            <a:ext cx="4472354" cy="28551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2">
            <a:extLst>
              <a:ext uri="{FF2B5EF4-FFF2-40B4-BE49-F238E27FC236}">
                <a16:creationId xmlns:a16="http://schemas.microsoft.com/office/drawing/2014/main" id="{68919125-92B2-AB53-BB88-F8E13F765C6C}"/>
              </a:ext>
            </a:extLst>
          </p:cNvPr>
          <p:cNvSpPr>
            <a:spLocks noGrp="1"/>
          </p:cNvSpPr>
          <p:nvPr>
            <p:ph idx="11" hasCustomPrompt="1"/>
          </p:nvPr>
        </p:nvSpPr>
        <p:spPr>
          <a:xfrm>
            <a:off x="6799385" y="2658535"/>
            <a:ext cx="4472354" cy="491066"/>
          </a:xfrm>
        </p:spPr>
        <p:txBody>
          <a:bodyPr>
            <a:noAutofit/>
          </a:bodyPr>
          <a:lstStyle>
            <a:lvl1pPr marL="0" indent="0">
              <a:buNone/>
              <a:defRPr sz="2200" b="1">
                <a:solidFill>
                  <a:schemeClr val="accent1"/>
                </a:solidFill>
              </a:defRPr>
            </a:lvl1pPr>
            <a:lvl2pPr>
              <a:defRPr sz="1800"/>
            </a:lvl2pPr>
            <a:lvl3pPr>
              <a:defRPr sz="1800"/>
            </a:lvl3pPr>
            <a:lvl4pPr>
              <a:defRPr sz="1800"/>
            </a:lvl4pPr>
            <a:lvl5pPr>
              <a:defRPr sz="1800"/>
            </a:lvl5pPr>
          </a:lstStyle>
          <a:p>
            <a:pPr lvl="0"/>
            <a:r>
              <a:rPr lang="en-US"/>
              <a:t>Subheading</a:t>
            </a:r>
          </a:p>
        </p:txBody>
      </p:sp>
      <p:sp>
        <p:nvSpPr>
          <p:cNvPr id="8" name="Picture Placeholder 2">
            <a:extLst>
              <a:ext uri="{FF2B5EF4-FFF2-40B4-BE49-F238E27FC236}">
                <a16:creationId xmlns:a16="http://schemas.microsoft.com/office/drawing/2014/main" id="{FC23AFCA-A12D-02A6-DC11-D38DAE419F8E}"/>
              </a:ext>
            </a:extLst>
          </p:cNvPr>
          <p:cNvSpPr>
            <a:spLocks noGrp="1"/>
          </p:cNvSpPr>
          <p:nvPr>
            <p:ph type="pic" idx="19" hasCustomPrompt="1"/>
          </p:nvPr>
        </p:nvSpPr>
        <p:spPr>
          <a:xfrm>
            <a:off x="4307840" y="0"/>
            <a:ext cx="1788160" cy="6858000"/>
          </a:xfrm>
        </p:spPr>
        <p:txBody>
          <a:bodyPr lIns="0" tIns="0" rIns="0" bIns="0" anchor="ctr" anchorCtr="0">
            <a:normAutofit/>
          </a:bodyPr>
          <a:lstStyle>
            <a:lvl1pPr marL="0" indent="0" algn="ctr">
              <a:buNone/>
              <a:defRPr sz="1800" b="1">
                <a:solidFill>
                  <a:srgbClr val="3EB1C8"/>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Graphic Here</a:t>
            </a:r>
          </a:p>
        </p:txBody>
      </p:sp>
    </p:spTree>
    <p:extLst>
      <p:ext uri="{BB962C8B-B14F-4D97-AF65-F5344CB8AC3E}">
        <p14:creationId xmlns:p14="http://schemas.microsoft.com/office/powerpoint/2010/main" val="141121575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and Building">
    <p:bg>
      <p:bgPr>
        <a:solidFill>
          <a:srgbClr val="00416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281FF8-6766-3090-3E10-705881485BDD}"/>
              </a:ext>
            </a:extLst>
          </p:cNvPr>
          <p:cNvSpPr/>
          <p:nvPr userDrawn="1"/>
        </p:nvSpPr>
        <p:spPr>
          <a:xfrm flipH="1">
            <a:off x="7611035" y="-1"/>
            <a:ext cx="4580965" cy="6858000"/>
          </a:xfrm>
          <a:prstGeom prst="rect">
            <a:avLst/>
          </a:prstGeom>
          <a:gradFill flip="none" rotWithShape="1">
            <a:gsLst>
              <a:gs pos="95000">
                <a:schemeClr val="accent1"/>
              </a:gs>
              <a:gs pos="9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F63A8E1-1BDD-F688-1189-11B5CCC41A74}"/>
              </a:ext>
            </a:extLst>
          </p:cNvPr>
          <p:cNvSpPr>
            <a:spLocks noGrp="1"/>
          </p:cNvSpPr>
          <p:nvPr>
            <p:ph type="title"/>
          </p:nvPr>
        </p:nvSpPr>
        <p:spPr>
          <a:xfrm>
            <a:off x="839788" y="580278"/>
            <a:ext cx="4686953" cy="1325563"/>
          </a:xfrm>
        </p:spPr>
        <p:txBody>
          <a:bodyPr>
            <a:normAutofit/>
          </a:bodyPr>
          <a:lstStyle>
            <a:lvl1pPr>
              <a:defRPr sz="3600" baseline="0">
                <a:solidFill>
                  <a:schemeClr val="bg2"/>
                </a:solidFill>
              </a:defRPr>
            </a:lvl1pPr>
          </a:lstStyle>
          <a:p>
            <a:r>
              <a:rPr lang="en-US"/>
              <a:t>Click to edit Master title style</a:t>
            </a:r>
          </a:p>
        </p:txBody>
      </p:sp>
      <p:sp>
        <p:nvSpPr>
          <p:cNvPr id="3" name="Text Placeholder 2">
            <a:extLst>
              <a:ext uri="{FF2B5EF4-FFF2-40B4-BE49-F238E27FC236}">
                <a16:creationId xmlns:a16="http://schemas.microsoft.com/office/drawing/2014/main" id="{282CB1EC-9B6C-331E-255B-54CCEB3AB192}"/>
              </a:ext>
            </a:extLst>
          </p:cNvPr>
          <p:cNvSpPr>
            <a:spLocks noGrp="1"/>
          </p:cNvSpPr>
          <p:nvPr>
            <p:ph type="body" idx="1"/>
          </p:nvPr>
        </p:nvSpPr>
        <p:spPr>
          <a:xfrm>
            <a:off x="839788" y="1896316"/>
            <a:ext cx="4686953" cy="823912"/>
          </a:xfrm>
        </p:spPr>
        <p:txBody>
          <a:bodyPr anchor="b"/>
          <a:lstStyle>
            <a:lvl1pPr marL="0" indent="0">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29F25F0-69CE-7361-A917-30B7F8BC6C2D}"/>
              </a:ext>
            </a:extLst>
          </p:cNvPr>
          <p:cNvSpPr>
            <a:spLocks noGrp="1"/>
          </p:cNvSpPr>
          <p:nvPr>
            <p:ph sz="half" idx="2"/>
          </p:nvPr>
        </p:nvSpPr>
        <p:spPr>
          <a:xfrm>
            <a:off x="839788" y="2720228"/>
            <a:ext cx="4686953" cy="36845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a:extLst>
              <a:ext uri="{FF2B5EF4-FFF2-40B4-BE49-F238E27FC236}">
                <a16:creationId xmlns:a16="http://schemas.microsoft.com/office/drawing/2014/main" id="{FF7F6B1E-4CA8-1199-B1A4-A144296E6B5C}"/>
              </a:ext>
            </a:extLst>
          </p:cNvPr>
          <p:cNvSpPr>
            <a:spLocks noGrp="1"/>
          </p:cNvSpPr>
          <p:nvPr>
            <p:ph type="pic" sz="quarter" idx="10"/>
          </p:nvPr>
        </p:nvSpPr>
        <p:spPr>
          <a:xfrm>
            <a:off x="6096000" y="0"/>
            <a:ext cx="1810871" cy="6858000"/>
          </a:xfrm>
        </p:spPr>
        <p:txBody>
          <a:bodyPr/>
          <a:lstStyle/>
          <a:p>
            <a:endParaRPr lang="en-US"/>
          </a:p>
        </p:txBody>
      </p:sp>
    </p:spTree>
    <p:extLst>
      <p:ext uri="{BB962C8B-B14F-4D97-AF65-F5344CB8AC3E}">
        <p14:creationId xmlns:p14="http://schemas.microsoft.com/office/powerpoint/2010/main" val="336953695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198AA-9792-244E-B8E2-5654D2750CB7}"/>
              </a:ext>
            </a:extLst>
          </p:cNvPr>
          <p:cNvSpPr>
            <a:spLocks noGrp="1"/>
          </p:cNvSpPr>
          <p:nvPr>
            <p:ph type="title"/>
          </p:nvPr>
        </p:nvSpPr>
        <p:spPr>
          <a:xfrm>
            <a:off x="2113280" y="365125"/>
            <a:ext cx="9240520" cy="1325563"/>
          </a:xfrm>
        </p:spPr>
        <p:txBody>
          <a:bodyPr/>
          <a:lstStyle>
            <a:lvl1pPr>
              <a:defRPr>
                <a:solidFill>
                  <a:schemeClr val="bg2"/>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20008491-34A6-AFC6-6AED-0E26209F2C66}"/>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7" name="Rectangle 6">
            <a:extLst>
              <a:ext uri="{FF2B5EF4-FFF2-40B4-BE49-F238E27FC236}">
                <a16:creationId xmlns:a16="http://schemas.microsoft.com/office/drawing/2014/main" id="{B053A230-4DA3-4151-EB1A-01158DC24D14}"/>
              </a:ext>
            </a:extLst>
          </p:cNvPr>
          <p:cNvSpPr/>
          <p:nvPr userDrawn="1"/>
        </p:nvSpPr>
        <p:spPr>
          <a:xfrm rot="16200000" flipH="1">
            <a:off x="-2678906" y="2678906"/>
            <a:ext cx="6858000" cy="1500187"/>
          </a:xfrm>
          <a:prstGeom prst="rect">
            <a:avLst/>
          </a:prstGeom>
          <a:gradFill flip="none" rotWithShape="1">
            <a:gsLst>
              <a:gs pos="95000">
                <a:schemeClr val="accent1"/>
              </a:gs>
              <a:gs pos="9000">
                <a:schemeClr val="accent3"/>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E0FF8645-F1AD-4F06-2B7A-FDF507615A42}"/>
              </a:ext>
            </a:extLst>
          </p:cNvPr>
          <p:cNvSpPr>
            <a:spLocks noGrp="1"/>
          </p:cNvSpPr>
          <p:nvPr>
            <p:ph type="body" idx="13"/>
          </p:nvPr>
        </p:nvSpPr>
        <p:spPr>
          <a:xfrm>
            <a:off x="2113280" y="1773238"/>
            <a:ext cx="9240520" cy="422116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814192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2_Picture with Caption">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F5DC313-6A76-03A5-F132-5B6562357753}"/>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E70E0CF5-574A-0A92-2D3F-215999A514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07650" y="5991225"/>
            <a:ext cx="1463476" cy="561974"/>
          </a:xfrm>
          <a:prstGeom prst="rect">
            <a:avLst/>
          </a:prstGeom>
        </p:spPr>
      </p:pic>
      <p:sp>
        <p:nvSpPr>
          <p:cNvPr id="11" name="Title 1">
            <a:extLst>
              <a:ext uri="{FF2B5EF4-FFF2-40B4-BE49-F238E27FC236}">
                <a16:creationId xmlns:a16="http://schemas.microsoft.com/office/drawing/2014/main" id="{E18CBFB3-5031-4B6A-F498-676AE0C0C796}"/>
              </a:ext>
            </a:extLst>
          </p:cNvPr>
          <p:cNvSpPr>
            <a:spLocks noGrp="1"/>
          </p:cNvSpPr>
          <p:nvPr>
            <p:ph type="title" hasCustomPrompt="1"/>
          </p:nvPr>
        </p:nvSpPr>
        <p:spPr>
          <a:xfrm>
            <a:off x="839788" y="479505"/>
            <a:ext cx="9741674" cy="801577"/>
          </a:xfrm>
        </p:spPr>
        <p:txBody>
          <a:bodyPr anchor="b" anchorCtr="0">
            <a:noAutofit/>
          </a:bodyPr>
          <a:lstStyle>
            <a:lvl1pPr>
              <a:defRPr sz="4400">
                <a:solidFill>
                  <a:schemeClr val="bg2"/>
                </a:solidFill>
              </a:defRPr>
            </a:lvl1pPr>
          </a:lstStyle>
          <a:p>
            <a:r>
              <a:rPr lang="en-US"/>
              <a:t>Title Goes Here</a:t>
            </a:r>
          </a:p>
        </p:txBody>
      </p:sp>
      <p:sp>
        <p:nvSpPr>
          <p:cNvPr id="14" name="Text Placeholder 3">
            <a:extLst>
              <a:ext uri="{FF2B5EF4-FFF2-40B4-BE49-F238E27FC236}">
                <a16:creationId xmlns:a16="http://schemas.microsoft.com/office/drawing/2014/main" id="{D66D6131-02B2-04C4-7274-0EF2ADACB0EF}"/>
              </a:ext>
            </a:extLst>
          </p:cNvPr>
          <p:cNvSpPr>
            <a:spLocks noGrp="1"/>
          </p:cNvSpPr>
          <p:nvPr>
            <p:ph type="body" sz="quarter" idx="15" hasCustomPrompt="1"/>
          </p:nvPr>
        </p:nvSpPr>
        <p:spPr>
          <a:xfrm>
            <a:off x="839786" y="1371602"/>
            <a:ext cx="9741673" cy="696639"/>
          </a:xfrm>
        </p:spPr>
        <p:txBody>
          <a:bodyPr>
            <a:normAutofit/>
          </a:bodyPr>
          <a:lstStyle>
            <a:lvl1pPr marL="0" indent="0">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
        <p:nvSpPr>
          <p:cNvPr id="16" name="Text Placeholder 3">
            <a:extLst>
              <a:ext uri="{FF2B5EF4-FFF2-40B4-BE49-F238E27FC236}">
                <a16:creationId xmlns:a16="http://schemas.microsoft.com/office/drawing/2014/main" id="{3D075F20-7C49-33A2-A0FD-BE9CD872BB14}"/>
              </a:ext>
            </a:extLst>
          </p:cNvPr>
          <p:cNvSpPr>
            <a:spLocks noGrp="1"/>
          </p:cNvSpPr>
          <p:nvPr>
            <p:ph type="body" sz="quarter" idx="16" hasCustomPrompt="1"/>
          </p:nvPr>
        </p:nvSpPr>
        <p:spPr>
          <a:xfrm>
            <a:off x="839789" y="2241395"/>
            <a:ext cx="9741670" cy="3895636"/>
          </a:xfrm>
        </p:spPr>
        <p:txBody>
          <a:bodyPr>
            <a:noAutofit/>
          </a:bodyPr>
          <a:lstStyle>
            <a:lvl1pPr marL="0" indent="0">
              <a:lnSpc>
                <a:spcPct val="150000"/>
              </a:lnSpc>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py</a:t>
            </a:r>
          </a:p>
        </p:txBody>
      </p:sp>
    </p:spTree>
    <p:extLst>
      <p:ext uri="{BB962C8B-B14F-4D97-AF65-F5344CB8AC3E}">
        <p14:creationId xmlns:p14="http://schemas.microsoft.com/office/powerpoint/2010/main" val="36213162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tx2"/>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9B1F75-6FA1-AE94-C92A-2ED25A53C1D1}"/>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3" name="Footer Placeholder 2">
            <a:extLst>
              <a:ext uri="{FF2B5EF4-FFF2-40B4-BE49-F238E27FC236}">
                <a16:creationId xmlns:a16="http://schemas.microsoft.com/office/drawing/2014/main" id="{5B6C2B9B-A985-C40F-1222-22DDFD87A878}"/>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 name="Slide Number Placeholder 3">
            <a:extLst>
              <a:ext uri="{FF2B5EF4-FFF2-40B4-BE49-F238E27FC236}">
                <a16:creationId xmlns:a16="http://schemas.microsoft.com/office/drawing/2014/main" id="{F8F04EEA-081B-1985-CB21-C19C345D3230}"/>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6" name="Rectangle 5">
            <a:extLst>
              <a:ext uri="{FF2B5EF4-FFF2-40B4-BE49-F238E27FC236}">
                <a16:creationId xmlns:a16="http://schemas.microsoft.com/office/drawing/2014/main" id="{0E4420DA-417C-FAD4-934D-22112B074121}"/>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332796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3_Title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163F91-5CD2-88A5-6F45-0B9D02C1FEED}"/>
              </a:ext>
            </a:extLst>
          </p:cNvPr>
          <p:cNvSpPr>
            <a:spLocks noGrp="1"/>
          </p:cNvSpPr>
          <p:nvPr>
            <p:ph type="ctrTitle"/>
          </p:nvPr>
        </p:nvSpPr>
        <p:spPr>
          <a:xfrm>
            <a:off x="1524000" y="1122363"/>
            <a:ext cx="9144000" cy="2387600"/>
          </a:xfrm>
        </p:spPr>
        <p:txBody>
          <a:bodyPr anchor="b"/>
          <a:lstStyle>
            <a:lvl1pPr algn="ctr">
              <a:defRPr sz="6000">
                <a:solidFill>
                  <a:schemeClr val="bg2"/>
                </a:solidFill>
              </a:defRPr>
            </a:lvl1pPr>
          </a:lstStyle>
          <a:p>
            <a:r>
              <a:rPr lang="en-US"/>
              <a:t>Click to edit Master title style</a:t>
            </a:r>
          </a:p>
        </p:txBody>
      </p:sp>
      <p:sp>
        <p:nvSpPr>
          <p:cNvPr id="3" name="Subtitle 2">
            <a:extLst>
              <a:ext uri="{FF2B5EF4-FFF2-40B4-BE49-F238E27FC236}">
                <a16:creationId xmlns:a16="http://schemas.microsoft.com/office/drawing/2014/main" id="{D0408F5A-F364-8D3D-5EF3-8BB43397FE2F}"/>
              </a:ext>
            </a:extLst>
          </p:cNvPr>
          <p:cNvSpPr>
            <a:spLocks noGrp="1"/>
          </p:cNvSpPr>
          <p:nvPr>
            <p:ph type="subTitle" idx="1"/>
          </p:nvPr>
        </p:nvSpPr>
        <p:spPr>
          <a:xfrm>
            <a:off x="1524000" y="3602038"/>
            <a:ext cx="9144000" cy="1655762"/>
          </a:xfrm>
        </p:spPr>
        <p:txBody>
          <a:bodyPr/>
          <a:lstStyle>
            <a:lvl1pPr marL="0" indent="0" algn="ctr">
              <a:buNone/>
              <a:defRPr sz="2400">
                <a:solidFill>
                  <a:srgbClr val="3EB1C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231EE56-5C6D-9E89-3CBC-F81FC21909B5}"/>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5" name="Footer Placeholder 4">
            <a:extLst>
              <a:ext uri="{FF2B5EF4-FFF2-40B4-BE49-F238E27FC236}">
                <a16:creationId xmlns:a16="http://schemas.microsoft.com/office/drawing/2014/main" id="{D2B74E14-18E5-9BCD-821A-BEA7631436F3}"/>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 name="Slide Number Placeholder 5">
            <a:extLst>
              <a:ext uri="{FF2B5EF4-FFF2-40B4-BE49-F238E27FC236}">
                <a16:creationId xmlns:a16="http://schemas.microsoft.com/office/drawing/2014/main" id="{C86A3CEA-E2CD-438B-2BA2-268F46A7FD3D}"/>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8" name="Rectangle 7">
            <a:extLst>
              <a:ext uri="{FF2B5EF4-FFF2-40B4-BE49-F238E27FC236}">
                <a16:creationId xmlns:a16="http://schemas.microsoft.com/office/drawing/2014/main" id="{B6619D3C-16B2-5029-98EB-23C7E6E79467}"/>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633693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8378B-57E0-D1B7-0C39-EA7AC3003CCC}"/>
              </a:ext>
            </a:extLst>
          </p:cNvPr>
          <p:cNvSpPr>
            <a:spLocks noGrp="1"/>
          </p:cNvSpPr>
          <p:nvPr>
            <p:ph type="title"/>
          </p:nvPr>
        </p:nvSpPr>
        <p:spPr>
          <a:xfrm>
            <a:off x="831850" y="1709738"/>
            <a:ext cx="10515600" cy="2852737"/>
          </a:xfrm>
        </p:spPr>
        <p:txBody>
          <a:bodyPr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832C171-5089-9C72-AF76-6733320F24B3}"/>
              </a:ext>
            </a:extLst>
          </p:cNvPr>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B41121-FC11-70B2-185E-B05510EE08DD}"/>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5" name="Footer Placeholder 4">
            <a:extLst>
              <a:ext uri="{FF2B5EF4-FFF2-40B4-BE49-F238E27FC236}">
                <a16:creationId xmlns:a16="http://schemas.microsoft.com/office/drawing/2014/main" id="{16D10D6C-AF06-030D-3318-C043EAECCD4F}"/>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 name="Slide Number Placeholder 5">
            <a:extLst>
              <a:ext uri="{FF2B5EF4-FFF2-40B4-BE49-F238E27FC236}">
                <a16:creationId xmlns:a16="http://schemas.microsoft.com/office/drawing/2014/main" id="{864E0716-285E-99EF-608C-5822B1074319}"/>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8" name="Rectangle 7">
            <a:extLst>
              <a:ext uri="{FF2B5EF4-FFF2-40B4-BE49-F238E27FC236}">
                <a16:creationId xmlns:a16="http://schemas.microsoft.com/office/drawing/2014/main" id="{703578A0-936D-51F3-7FDC-EE4B57AFFC2C}"/>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729131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198AA-9792-244E-B8E2-5654D2750CB7}"/>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Date Placeholder 2">
            <a:extLst>
              <a:ext uri="{FF2B5EF4-FFF2-40B4-BE49-F238E27FC236}">
                <a16:creationId xmlns:a16="http://schemas.microsoft.com/office/drawing/2014/main" id="{389C4F64-3F59-975F-A7EC-A8C1F30129AD}"/>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4" name="Footer Placeholder 3">
            <a:extLst>
              <a:ext uri="{FF2B5EF4-FFF2-40B4-BE49-F238E27FC236}">
                <a16:creationId xmlns:a16="http://schemas.microsoft.com/office/drawing/2014/main" id="{C75EC3AC-0904-7153-166F-4758B90EFED8}"/>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 name="Slide Number Placeholder 4">
            <a:extLst>
              <a:ext uri="{FF2B5EF4-FFF2-40B4-BE49-F238E27FC236}">
                <a16:creationId xmlns:a16="http://schemas.microsoft.com/office/drawing/2014/main" id="{20008491-34A6-AFC6-6AED-0E26209F2C66}"/>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7" name="Rectangle 6">
            <a:extLst>
              <a:ext uri="{FF2B5EF4-FFF2-40B4-BE49-F238E27FC236}">
                <a16:creationId xmlns:a16="http://schemas.microsoft.com/office/drawing/2014/main" id="{B053A230-4DA3-4151-EB1A-01158DC24D14}"/>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E0FF8645-F1AD-4F06-2B7A-FDF507615A42}"/>
              </a:ext>
            </a:extLst>
          </p:cNvPr>
          <p:cNvSpPr>
            <a:spLocks noGrp="1"/>
          </p:cNvSpPr>
          <p:nvPr>
            <p:ph type="body" idx="13"/>
          </p:nvPr>
        </p:nvSpPr>
        <p:spPr>
          <a:xfrm>
            <a:off x="838200" y="1773238"/>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5257145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am Intr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9DDB6F-FDD8-86D5-F411-44BC5443D641}"/>
              </a:ext>
            </a:extLst>
          </p:cNvPr>
          <p:cNvSpPr/>
          <p:nvPr userDrawn="1"/>
        </p:nvSpPr>
        <p:spPr>
          <a:xfrm>
            <a:off x="0" y="0"/>
            <a:ext cx="670560" cy="6858000"/>
          </a:xfrm>
          <a:prstGeom prst="rect">
            <a:avLst/>
          </a:prstGeom>
          <a:gradFill flip="none" rotWithShape="1">
            <a:gsLst>
              <a:gs pos="18000">
                <a:schemeClr val="accent1"/>
              </a:gs>
              <a:gs pos="91000">
                <a:schemeClr val="accent3"/>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A9C43533-7263-960C-2CB4-586AA97F3E41}"/>
              </a:ext>
            </a:extLst>
          </p:cNvPr>
          <p:cNvSpPr>
            <a:spLocks noGrp="1"/>
          </p:cNvSpPr>
          <p:nvPr>
            <p:ph type="title" hasCustomPrompt="1"/>
          </p:nvPr>
        </p:nvSpPr>
        <p:spPr>
          <a:xfrm>
            <a:off x="1623646" y="1551560"/>
            <a:ext cx="9156114" cy="666652"/>
          </a:xfrm>
        </p:spPr>
        <p:txBody>
          <a:bodyPr anchor="b" anchorCtr="0">
            <a:normAutofit/>
          </a:bodyPr>
          <a:lstStyle>
            <a:lvl1pPr>
              <a:defRPr sz="3600"/>
            </a:lvl1pPr>
          </a:lstStyle>
          <a:p>
            <a:r>
              <a:rPr lang="en-US"/>
              <a:t>Introductions</a:t>
            </a:r>
          </a:p>
        </p:txBody>
      </p:sp>
      <p:sp>
        <p:nvSpPr>
          <p:cNvPr id="5" name="Content Placeholder 2">
            <a:extLst>
              <a:ext uri="{FF2B5EF4-FFF2-40B4-BE49-F238E27FC236}">
                <a16:creationId xmlns:a16="http://schemas.microsoft.com/office/drawing/2014/main" id="{C7482196-2C88-320D-8497-481FBB717C49}"/>
              </a:ext>
            </a:extLst>
          </p:cNvPr>
          <p:cNvSpPr>
            <a:spLocks noGrp="1"/>
          </p:cNvSpPr>
          <p:nvPr>
            <p:ph idx="1" hasCustomPrompt="1"/>
          </p:nvPr>
        </p:nvSpPr>
        <p:spPr>
          <a:xfrm>
            <a:off x="1623646" y="4486591"/>
            <a:ext cx="2123440" cy="303349"/>
          </a:xfrm>
        </p:spPr>
        <p:txBody>
          <a:bodyPr/>
          <a:lstStyle>
            <a:lvl1pPr marL="0" indent="0">
              <a:buNone/>
              <a:defRPr sz="1600" b="1" baseline="0"/>
            </a:lvl1pPr>
          </a:lstStyle>
          <a:p>
            <a:pPr lvl="0"/>
            <a:r>
              <a:rPr lang="en-US"/>
              <a:t>Person’s Name</a:t>
            </a:r>
          </a:p>
        </p:txBody>
      </p:sp>
      <p:sp>
        <p:nvSpPr>
          <p:cNvPr id="3" name="Picture Placeholder 3">
            <a:extLst>
              <a:ext uri="{FF2B5EF4-FFF2-40B4-BE49-F238E27FC236}">
                <a16:creationId xmlns:a16="http://schemas.microsoft.com/office/drawing/2014/main" id="{967B5704-D10B-79D9-490D-83D3C3496382}"/>
              </a:ext>
            </a:extLst>
          </p:cNvPr>
          <p:cNvSpPr>
            <a:spLocks noGrp="1"/>
          </p:cNvSpPr>
          <p:nvPr>
            <p:ph type="pic" sz="quarter" idx="10"/>
          </p:nvPr>
        </p:nvSpPr>
        <p:spPr>
          <a:xfrm>
            <a:off x="1623646" y="2560320"/>
            <a:ext cx="2123440" cy="1921208"/>
          </a:xfrm>
        </p:spPr>
      </p:sp>
      <p:sp>
        <p:nvSpPr>
          <p:cNvPr id="2" name="Content Placeholder 2">
            <a:extLst>
              <a:ext uri="{FF2B5EF4-FFF2-40B4-BE49-F238E27FC236}">
                <a16:creationId xmlns:a16="http://schemas.microsoft.com/office/drawing/2014/main" id="{80921226-EE10-59F9-AD74-D42207BEA3B6}"/>
              </a:ext>
            </a:extLst>
          </p:cNvPr>
          <p:cNvSpPr>
            <a:spLocks noGrp="1"/>
          </p:cNvSpPr>
          <p:nvPr>
            <p:ph idx="11" hasCustomPrompt="1"/>
          </p:nvPr>
        </p:nvSpPr>
        <p:spPr>
          <a:xfrm>
            <a:off x="1623646" y="4777102"/>
            <a:ext cx="2123440" cy="303349"/>
          </a:xfrm>
        </p:spPr>
        <p:txBody>
          <a:bodyPr/>
          <a:lstStyle>
            <a:lvl1pPr marL="0" indent="0">
              <a:buNone/>
              <a:defRPr sz="1600" b="0" baseline="0"/>
            </a:lvl1pPr>
          </a:lstStyle>
          <a:p>
            <a:pPr lvl="0"/>
            <a:r>
              <a:rPr lang="en-US"/>
              <a:t>Person’s Title</a:t>
            </a:r>
          </a:p>
        </p:txBody>
      </p:sp>
      <p:sp>
        <p:nvSpPr>
          <p:cNvPr id="7" name="Content Placeholder 2">
            <a:extLst>
              <a:ext uri="{FF2B5EF4-FFF2-40B4-BE49-F238E27FC236}">
                <a16:creationId xmlns:a16="http://schemas.microsoft.com/office/drawing/2014/main" id="{6FC73289-90C4-0544-DCC9-387D7882CF83}"/>
              </a:ext>
            </a:extLst>
          </p:cNvPr>
          <p:cNvSpPr>
            <a:spLocks noGrp="1"/>
          </p:cNvSpPr>
          <p:nvPr>
            <p:ph idx="12" hasCustomPrompt="1"/>
          </p:nvPr>
        </p:nvSpPr>
        <p:spPr>
          <a:xfrm>
            <a:off x="3972560" y="4486591"/>
            <a:ext cx="2123440" cy="303349"/>
          </a:xfrm>
        </p:spPr>
        <p:txBody>
          <a:bodyPr/>
          <a:lstStyle>
            <a:lvl1pPr marL="0" indent="0">
              <a:buNone/>
              <a:defRPr sz="1600" b="1" baseline="0"/>
            </a:lvl1pPr>
          </a:lstStyle>
          <a:p>
            <a:pPr lvl="0"/>
            <a:r>
              <a:rPr lang="en-US"/>
              <a:t>Person’s Name</a:t>
            </a:r>
          </a:p>
        </p:txBody>
      </p:sp>
      <p:sp>
        <p:nvSpPr>
          <p:cNvPr id="8" name="Picture Placeholder 3">
            <a:extLst>
              <a:ext uri="{FF2B5EF4-FFF2-40B4-BE49-F238E27FC236}">
                <a16:creationId xmlns:a16="http://schemas.microsoft.com/office/drawing/2014/main" id="{7C7C3782-D072-514B-CD08-1893FD5DD3B8}"/>
              </a:ext>
            </a:extLst>
          </p:cNvPr>
          <p:cNvSpPr>
            <a:spLocks noGrp="1"/>
          </p:cNvSpPr>
          <p:nvPr>
            <p:ph type="pic" sz="quarter" idx="13"/>
          </p:nvPr>
        </p:nvSpPr>
        <p:spPr>
          <a:xfrm>
            <a:off x="3972560" y="2560320"/>
            <a:ext cx="2123440" cy="1921208"/>
          </a:xfrm>
        </p:spPr>
      </p:sp>
      <p:sp>
        <p:nvSpPr>
          <p:cNvPr id="9" name="Content Placeholder 2">
            <a:extLst>
              <a:ext uri="{FF2B5EF4-FFF2-40B4-BE49-F238E27FC236}">
                <a16:creationId xmlns:a16="http://schemas.microsoft.com/office/drawing/2014/main" id="{139D3FD1-754B-D2F1-57B7-15C76735BCAD}"/>
              </a:ext>
            </a:extLst>
          </p:cNvPr>
          <p:cNvSpPr>
            <a:spLocks noGrp="1"/>
          </p:cNvSpPr>
          <p:nvPr>
            <p:ph idx="14" hasCustomPrompt="1"/>
          </p:nvPr>
        </p:nvSpPr>
        <p:spPr>
          <a:xfrm>
            <a:off x="3972560" y="4777102"/>
            <a:ext cx="2123440" cy="303349"/>
          </a:xfrm>
        </p:spPr>
        <p:txBody>
          <a:bodyPr/>
          <a:lstStyle>
            <a:lvl1pPr marL="0" indent="0">
              <a:buNone/>
              <a:defRPr sz="1600" b="0" baseline="0"/>
            </a:lvl1pPr>
          </a:lstStyle>
          <a:p>
            <a:pPr lvl="0"/>
            <a:r>
              <a:rPr lang="en-US"/>
              <a:t>Person’s Title</a:t>
            </a:r>
          </a:p>
        </p:txBody>
      </p:sp>
      <p:sp>
        <p:nvSpPr>
          <p:cNvPr id="10" name="Content Placeholder 2">
            <a:extLst>
              <a:ext uri="{FF2B5EF4-FFF2-40B4-BE49-F238E27FC236}">
                <a16:creationId xmlns:a16="http://schemas.microsoft.com/office/drawing/2014/main" id="{B66BFA48-83E8-6D7C-3654-07C9702EACB1}"/>
              </a:ext>
            </a:extLst>
          </p:cNvPr>
          <p:cNvSpPr>
            <a:spLocks noGrp="1"/>
          </p:cNvSpPr>
          <p:nvPr>
            <p:ph idx="15" hasCustomPrompt="1"/>
          </p:nvPr>
        </p:nvSpPr>
        <p:spPr>
          <a:xfrm>
            <a:off x="6319520" y="4486591"/>
            <a:ext cx="2123440" cy="303349"/>
          </a:xfrm>
        </p:spPr>
        <p:txBody>
          <a:bodyPr/>
          <a:lstStyle>
            <a:lvl1pPr marL="0" indent="0">
              <a:buNone/>
              <a:defRPr sz="1600" b="1" baseline="0"/>
            </a:lvl1pPr>
          </a:lstStyle>
          <a:p>
            <a:pPr lvl="0"/>
            <a:r>
              <a:rPr lang="en-US"/>
              <a:t>Person’s Name</a:t>
            </a:r>
          </a:p>
        </p:txBody>
      </p:sp>
      <p:sp>
        <p:nvSpPr>
          <p:cNvPr id="11" name="Picture Placeholder 3">
            <a:extLst>
              <a:ext uri="{FF2B5EF4-FFF2-40B4-BE49-F238E27FC236}">
                <a16:creationId xmlns:a16="http://schemas.microsoft.com/office/drawing/2014/main" id="{E8A96E3F-8243-C2B2-7A64-230960329CD9}"/>
              </a:ext>
            </a:extLst>
          </p:cNvPr>
          <p:cNvSpPr>
            <a:spLocks noGrp="1"/>
          </p:cNvSpPr>
          <p:nvPr>
            <p:ph type="pic" sz="quarter" idx="16"/>
          </p:nvPr>
        </p:nvSpPr>
        <p:spPr>
          <a:xfrm>
            <a:off x="6319520" y="2560320"/>
            <a:ext cx="2123440" cy="1921208"/>
          </a:xfrm>
        </p:spPr>
      </p:sp>
      <p:sp>
        <p:nvSpPr>
          <p:cNvPr id="12" name="Content Placeholder 2">
            <a:extLst>
              <a:ext uri="{FF2B5EF4-FFF2-40B4-BE49-F238E27FC236}">
                <a16:creationId xmlns:a16="http://schemas.microsoft.com/office/drawing/2014/main" id="{D01A1BC2-6CCA-422F-3718-521584C66C33}"/>
              </a:ext>
            </a:extLst>
          </p:cNvPr>
          <p:cNvSpPr>
            <a:spLocks noGrp="1"/>
          </p:cNvSpPr>
          <p:nvPr>
            <p:ph idx="17" hasCustomPrompt="1"/>
          </p:nvPr>
        </p:nvSpPr>
        <p:spPr>
          <a:xfrm>
            <a:off x="6319520" y="4777102"/>
            <a:ext cx="2123440" cy="303349"/>
          </a:xfrm>
        </p:spPr>
        <p:txBody>
          <a:bodyPr/>
          <a:lstStyle>
            <a:lvl1pPr marL="0" indent="0">
              <a:buNone/>
              <a:defRPr sz="1600" b="0" baseline="0"/>
            </a:lvl1pPr>
          </a:lstStyle>
          <a:p>
            <a:pPr lvl="0"/>
            <a:r>
              <a:rPr lang="en-US"/>
              <a:t>Person’s Title</a:t>
            </a:r>
          </a:p>
        </p:txBody>
      </p:sp>
      <p:sp>
        <p:nvSpPr>
          <p:cNvPr id="13" name="Content Placeholder 2">
            <a:extLst>
              <a:ext uri="{FF2B5EF4-FFF2-40B4-BE49-F238E27FC236}">
                <a16:creationId xmlns:a16="http://schemas.microsoft.com/office/drawing/2014/main" id="{B0DA942F-8789-0A78-B32F-A3F02D4D01D5}"/>
              </a:ext>
            </a:extLst>
          </p:cNvPr>
          <p:cNvSpPr>
            <a:spLocks noGrp="1"/>
          </p:cNvSpPr>
          <p:nvPr>
            <p:ph idx="18" hasCustomPrompt="1"/>
          </p:nvPr>
        </p:nvSpPr>
        <p:spPr>
          <a:xfrm>
            <a:off x="8656320" y="4486591"/>
            <a:ext cx="2123440" cy="303349"/>
          </a:xfrm>
        </p:spPr>
        <p:txBody>
          <a:bodyPr/>
          <a:lstStyle>
            <a:lvl1pPr marL="0" indent="0">
              <a:buNone/>
              <a:defRPr sz="1600" b="1" baseline="0"/>
            </a:lvl1pPr>
          </a:lstStyle>
          <a:p>
            <a:pPr lvl="0"/>
            <a:r>
              <a:rPr lang="en-US"/>
              <a:t>Person’s Name</a:t>
            </a:r>
          </a:p>
        </p:txBody>
      </p:sp>
      <p:sp>
        <p:nvSpPr>
          <p:cNvPr id="14" name="Picture Placeholder 3">
            <a:extLst>
              <a:ext uri="{FF2B5EF4-FFF2-40B4-BE49-F238E27FC236}">
                <a16:creationId xmlns:a16="http://schemas.microsoft.com/office/drawing/2014/main" id="{09E46AE9-4FA8-F007-665C-C73B2C74D649}"/>
              </a:ext>
            </a:extLst>
          </p:cNvPr>
          <p:cNvSpPr>
            <a:spLocks noGrp="1"/>
          </p:cNvSpPr>
          <p:nvPr>
            <p:ph type="pic" sz="quarter" idx="19"/>
          </p:nvPr>
        </p:nvSpPr>
        <p:spPr>
          <a:xfrm>
            <a:off x="8656320" y="2560320"/>
            <a:ext cx="2123440" cy="1921208"/>
          </a:xfrm>
        </p:spPr>
        <p:txBody>
          <a:bodyPr/>
          <a:lstStyle/>
          <a:p>
            <a:endParaRPr lang="en-US"/>
          </a:p>
        </p:txBody>
      </p:sp>
      <p:sp>
        <p:nvSpPr>
          <p:cNvPr id="15" name="Content Placeholder 2">
            <a:extLst>
              <a:ext uri="{FF2B5EF4-FFF2-40B4-BE49-F238E27FC236}">
                <a16:creationId xmlns:a16="http://schemas.microsoft.com/office/drawing/2014/main" id="{18C8B043-A6B4-F72B-1003-46EAA698AA20}"/>
              </a:ext>
            </a:extLst>
          </p:cNvPr>
          <p:cNvSpPr>
            <a:spLocks noGrp="1"/>
          </p:cNvSpPr>
          <p:nvPr>
            <p:ph idx="20" hasCustomPrompt="1"/>
          </p:nvPr>
        </p:nvSpPr>
        <p:spPr>
          <a:xfrm>
            <a:off x="8656320" y="4777102"/>
            <a:ext cx="2123440" cy="303349"/>
          </a:xfrm>
        </p:spPr>
        <p:txBody>
          <a:bodyPr/>
          <a:lstStyle>
            <a:lvl1pPr marL="0" indent="0">
              <a:buNone/>
              <a:defRPr sz="1600" b="0" baseline="0"/>
            </a:lvl1pPr>
          </a:lstStyle>
          <a:p>
            <a:pPr lvl="0"/>
            <a:r>
              <a:rPr lang="en-US"/>
              <a:t>Person’s Title</a:t>
            </a:r>
          </a:p>
        </p:txBody>
      </p:sp>
      <p:pic>
        <p:nvPicPr>
          <p:cNvPr id="33" name="Picture 32">
            <a:extLst>
              <a:ext uri="{FF2B5EF4-FFF2-40B4-BE49-F238E27FC236}">
                <a16:creationId xmlns:a16="http://schemas.microsoft.com/office/drawing/2014/main" id="{078C32F0-FBA0-B79D-1F3C-D91955316AA4}"/>
              </a:ext>
            </a:extLst>
          </p:cNvPr>
          <p:cNvPicPr>
            <a:picLocks noChangeAspect="1"/>
          </p:cNvPicPr>
          <p:nvPr userDrawn="1"/>
        </p:nvPicPr>
        <p:blipFill>
          <a:blip r:embed="rId2"/>
          <a:stretch>
            <a:fillRect/>
          </a:stretch>
        </p:blipFill>
        <p:spPr>
          <a:xfrm>
            <a:off x="10121526" y="5931711"/>
            <a:ext cx="1684992" cy="584243"/>
          </a:xfrm>
          <a:prstGeom prst="rect">
            <a:avLst/>
          </a:prstGeom>
        </p:spPr>
      </p:pic>
    </p:spTree>
    <p:extLst>
      <p:ext uri="{BB962C8B-B14F-4D97-AF65-F5344CB8AC3E}">
        <p14:creationId xmlns:p14="http://schemas.microsoft.com/office/powerpoint/2010/main" val="101622526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Image">
    <p:bg>
      <p:bgPr>
        <a:solidFill>
          <a:srgbClr val="00416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3A8E1-1BDD-F688-1189-11B5CCC41A74}"/>
              </a:ext>
            </a:extLst>
          </p:cNvPr>
          <p:cNvSpPr>
            <a:spLocks noGrp="1"/>
          </p:cNvSpPr>
          <p:nvPr>
            <p:ph type="title"/>
          </p:nvPr>
        </p:nvSpPr>
        <p:spPr>
          <a:xfrm>
            <a:off x="839788" y="580278"/>
            <a:ext cx="4686953" cy="1325563"/>
          </a:xfrm>
        </p:spPr>
        <p:txBody>
          <a:bodyPr>
            <a:normAutofit/>
          </a:bodyPr>
          <a:lstStyle>
            <a:lvl1pPr>
              <a:defRPr sz="3600" baseline="0">
                <a:solidFill>
                  <a:schemeClr val="bg2"/>
                </a:solidFill>
              </a:defRPr>
            </a:lvl1pPr>
          </a:lstStyle>
          <a:p>
            <a:r>
              <a:rPr lang="en-US"/>
              <a:t>Click to edit Master title style</a:t>
            </a:r>
          </a:p>
        </p:txBody>
      </p:sp>
      <p:sp>
        <p:nvSpPr>
          <p:cNvPr id="3" name="Text Placeholder 2">
            <a:extLst>
              <a:ext uri="{FF2B5EF4-FFF2-40B4-BE49-F238E27FC236}">
                <a16:creationId xmlns:a16="http://schemas.microsoft.com/office/drawing/2014/main" id="{282CB1EC-9B6C-331E-255B-54CCEB3AB192}"/>
              </a:ext>
            </a:extLst>
          </p:cNvPr>
          <p:cNvSpPr>
            <a:spLocks noGrp="1"/>
          </p:cNvSpPr>
          <p:nvPr>
            <p:ph type="body" idx="1"/>
          </p:nvPr>
        </p:nvSpPr>
        <p:spPr>
          <a:xfrm>
            <a:off x="839788" y="1896316"/>
            <a:ext cx="4686953" cy="823912"/>
          </a:xfrm>
        </p:spPr>
        <p:txBody>
          <a:bodyPr anchor="b"/>
          <a:lstStyle>
            <a:lvl1pPr marL="0" indent="0">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29F25F0-69CE-7361-A917-30B7F8BC6C2D}"/>
              </a:ext>
            </a:extLst>
          </p:cNvPr>
          <p:cNvSpPr>
            <a:spLocks noGrp="1"/>
          </p:cNvSpPr>
          <p:nvPr>
            <p:ph sz="half" idx="2"/>
          </p:nvPr>
        </p:nvSpPr>
        <p:spPr>
          <a:xfrm>
            <a:off x="839788" y="2720228"/>
            <a:ext cx="4686953" cy="36845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ABCFD481-10E1-CDA2-B470-ECE7ACA5EFD3}"/>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FF7F6B1E-4CA8-1199-B1A4-A144296E6B5C}"/>
              </a:ext>
            </a:extLst>
          </p:cNvPr>
          <p:cNvSpPr>
            <a:spLocks noGrp="1"/>
          </p:cNvSpPr>
          <p:nvPr>
            <p:ph type="pic" sz="quarter" idx="10"/>
          </p:nvPr>
        </p:nvSpPr>
        <p:spPr>
          <a:xfrm>
            <a:off x="6096000" y="580278"/>
            <a:ext cx="5683624" cy="5824538"/>
          </a:xfrm>
        </p:spPr>
        <p:txBody>
          <a:bodyPr/>
          <a:lstStyle/>
          <a:p>
            <a:endParaRPr lang="en-US"/>
          </a:p>
        </p:txBody>
      </p:sp>
    </p:spTree>
    <p:extLst>
      <p:ext uri="{BB962C8B-B14F-4D97-AF65-F5344CB8AC3E}">
        <p14:creationId xmlns:p14="http://schemas.microsoft.com/office/powerpoint/2010/main" val="33552259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Image 2">
    <p:bg>
      <p:bgPr>
        <a:solidFill>
          <a:srgbClr val="00416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3A8E1-1BDD-F688-1189-11B5CCC41A74}"/>
              </a:ext>
            </a:extLst>
          </p:cNvPr>
          <p:cNvSpPr>
            <a:spLocks noGrp="1"/>
          </p:cNvSpPr>
          <p:nvPr>
            <p:ph type="title"/>
          </p:nvPr>
        </p:nvSpPr>
        <p:spPr>
          <a:xfrm>
            <a:off x="839788" y="580278"/>
            <a:ext cx="4686953" cy="1325563"/>
          </a:xfrm>
        </p:spPr>
        <p:txBody>
          <a:bodyPr>
            <a:normAutofit/>
          </a:bodyPr>
          <a:lstStyle>
            <a:lvl1pPr>
              <a:defRPr sz="3600" baseline="0">
                <a:solidFill>
                  <a:schemeClr val="bg2"/>
                </a:solidFill>
              </a:defRPr>
            </a:lvl1pPr>
          </a:lstStyle>
          <a:p>
            <a:r>
              <a:rPr lang="en-US"/>
              <a:t>Click to edit Master title style</a:t>
            </a:r>
          </a:p>
        </p:txBody>
      </p:sp>
      <p:sp>
        <p:nvSpPr>
          <p:cNvPr id="3" name="Text Placeholder 2">
            <a:extLst>
              <a:ext uri="{FF2B5EF4-FFF2-40B4-BE49-F238E27FC236}">
                <a16:creationId xmlns:a16="http://schemas.microsoft.com/office/drawing/2014/main" id="{282CB1EC-9B6C-331E-255B-54CCEB3AB192}"/>
              </a:ext>
            </a:extLst>
          </p:cNvPr>
          <p:cNvSpPr>
            <a:spLocks noGrp="1"/>
          </p:cNvSpPr>
          <p:nvPr>
            <p:ph type="body" idx="1"/>
          </p:nvPr>
        </p:nvSpPr>
        <p:spPr>
          <a:xfrm>
            <a:off x="839788" y="1896316"/>
            <a:ext cx="4686953" cy="823912"/>
          </a:xfrm>
        </p:spPr>
        <p:txBody>
          <a:bodyPr anchor="b"/>
          <a:lstStyle>
            <a:lvl1pPr marL="0" indent="0">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29F25F0-69CE-7361-A917-30B7F8BC6C2D}"/>
              </a:ext>
            </a:extLst>
          </p:cNvPr>
          <p:cNvSpPr>
            <a:spLocks noGrp="1"/>
          </p:cNvSpPr>
          <p:nvPr>
            <p:ph sz="half" idx="2"/>
          </p:nvPr>
        </p:nvSpPr>
        <p:spPr>
          <a:xfrm>
            <a:off x="839788" y="2720228"/>
            <a:ext cx="4686953" cy="36845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a:extLst>
              <a:ext uri="{FF2B5EF4-FFF2-40B4-BE49-F238E27FC236}">
                <a16:creationId xmlns:a16="http://schemas.microsoft.com/office/drawing/2014/main" id="{FF7F6B1E-4CA8-1199-B1A4-A144296E6B5C}"/>
              </a:ext>
            </a:extLst>
          </p:cNvPr>
          <p:cNvSpPr>
            <a:spLocks noGrp="1"/>
          </p:cNvSpPr>
          <p:nvPr>
            <p:ph type="pic" sz="quarter" idx="10"/>
          </p:nvPr>
        </p:nvSpPr>
        <p:spPr>
          <a:xfrm>
            <a:off x="6096000" y="0"/>
            <a:ext cx="6096000" cy="6858000"/>
          </a:xfrm>
        </p:spPr>
        <p:txBody>
          <a:bodyPr/>
          <a:lstStyle/>
          <a:p>
            <a:endParaRPr lang="en-US"/>
          </a:p>
        </p:txBody>
      </p:sp>
      <p:sp>
        <p:nvSpPr>
          <p:cNvPr id="5" name="Rectangle 4">
            <a:extLst>
              <a:ext uri="{FF2B5EF4-FFF2-40B4-BE49-F238E27FC236}">
                <a16:creationId xmlns:a16="http://schemas.microsoft.com/office/drawing/2014/main" id="{73F00B29-D664-B074-FBFB-752BECD88066}"/>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775411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1_Content with Captio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819AD7-F1DD-43C6-A0B3-FB1B4B027F88}"/>
              </a:ext>
            </a:extLst>
          </p:cNvPr>
          <p:cNvSpPr>
            <a:spLocks noGrp="1"/>
          </p:cNvSpPr>
          <p:nvPr>
            <p:ph type="title"/>
          </p:nvPr>
        </p:nvSpPr>
        <p:spPr>
          <a:xfrm>
            <a:off x="839788" y="457200"/>
            <a:ext cx="3932237" cy="1600200"/>
          </a:xfrm>
        </p:spPr>
        <p:txBody>
          <a:bodyPr anchor="b"/>
          <a:lstStyle>
            <a:lvl1pPr>
              <a:defRPr sz="320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6C35766-A220-2A3A-FB13-DA707AFFB839}"/>
              </a:ext>
            </a:extLst>
          </p:cNvPr>
          <p:cNvSpPr>
            <a:spLocks noGrp="1"/>
          </p:cNvSpPr>
          <p:nvPr>
            <p:ph idx="1"/>
          </p:nvPr>
        </p:nvSpPr>
        <p:spPr>
          <a:xfrm>
            <a:off x="5183188" y="987425"/>
            <a:ext cx="6172200" cy="4873625"/>
          </a:xfrm>
        </p:spPr>
        <p:txBody>
          <a:bodyPr/>
          <a:lstStyle>
            <a:lvl1pPr>
              <a:defRPr sz="3200">
                <a:solidFill>
                  <a:schemeClr val="bg1"/>
                </a:solidFill>
              </a:defRPr>
            </a:lvl1pPr>
            <a:lvl2pPr>
              <a:defRPr sz="2800">
                <a:solidFill>
                  <a:schemeClr val="bg1"/>
                </a:solidFill>
              </a:defRPr>
            </a:lvl2pPr>
            <a:lvl3pPr>
              <a:defRPr sz="2400">
                <a:solidFill>
                  <a:schemeClr val="bg1"/>
                </a:solidFill>
              </a:defRPr>
            </a:lvl3pPr>
            <a:lvl4pPr>
              <a:defRPr sz="2000">
                <a:solidFill>
                  <a:schemeClr val="bg1"/>
                </a:solidFill>
              </a:defRPr>
            </a:lvl4pPr>
            <a:lvl5pPr>
              <a:defRPr sz="2000">
                <a:solidFill>
                  <a:schemeClr val="bg1"/>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8344FBF-2977-F188-164A-3C562E3D12DB}"/>
              </a:ext>
            </a:extLst>
          </p:cNvPr>
          <p:cNvSpPr>
            <a:spLocks noGrp="1"/>
          </p:cNvSpPr>
          <p:nvPr>
            <p:ph type="body" sz="half" idx="2"/>
          </p:nvPr>
        </p:nvSpPr>
        <p:spPr>
          <a:xfrm>
            <a:off x="839788" y="2057400"/>
            <a:ext cx="3932237" cy="3811588"/>
          </a:xfrm>
        </p:spPr>
        <p:txBody>
          <a:bodyPr/>
          <a:lstStyle>
            <a:lvl1pPr marL="0" indent="0">
              <a:buNone/>
              <a:defRPr sz="1600">
                <a:solidFill>
                  <a:schemeClr val="accent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97338A-2FAD-369A-4FBE-57E534B0CDC2}"/>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6" name="Footer Placeholder 5">
            <a:extLst>
              <a:ext uri="{FF2B5EF4-FFF2-40B4-BE49-F238E27FC236}">
                <a16:creationId xmlns:a16="http://schemas.microsoft.com/office/drawing/2014/main" id="{A38E4BF6-3B1A-1BBD-34EF-BE5FA6F1CA4A}"/>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 name="Slide Number Placeholder 6">
            <a:extLst>
              <a:ext uri="{FF2B5EF4-FFF2-40B4-BE49-F238E27FC236}">
                <a16:creationId xmlns:a16="http://schemas.microsoft.com/office/drawing/2014/main" id="{5BA03B71-D24B-C7ED-7767-5DAE13D58C9A}"/>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9" name="Rectangle 8">
            <a:extLst>
              <a:ext uri="{FF2B5EF4-FFF2-40B4-BE49-F238E27FC236}">
                <a16:creationId xmlns:a16="http://schemas.microsoft.com/office/drawing/2014/main" id="{03CA2B1E-915D-2FD1-AB9D-2C5A7E73F56B}"/>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45871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1_Picture with Captio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8D47A-3E46-99E4-C755-F0D40FEAF3EE}"/>
              </a:ext>
            </a:extLst>
          </p:cNvPr>
          <p:cNvSpPr>
            <a:spLocks noGrp="1"/>
          </p:cNvSpPr>
          <p:nvPr>
            <p:ph type="title"/>
          </p:nvPr>
        </p:nvSpPr>
        <p:spPr>
          <a:xfrm>
            <a:off x="839788" y="457200"/>
            <a:ext cx="3932237" cy="1600200"/>
          </a:xfrm>
        </p:spPr>
        <p:txBody>
          <a:bodyPr anchor="b"/>
          <a:lstStyle>
            <a:lvl1pPr>
              <a:defRPr sz="3200">
                <a:solidFill>
                  <a:schemeClr val="bg1"/>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6A3C9EBF-5C78-10E3-C34B-086841027087}"/>
              </a:ext>
            </a:extLst>
          </p:cNvPr>
          <p:cNvSpPr>
            <a:spLocks noGrp="1"/>
          </p:cNvSpPr>
          <p:nvPr>
            <p:ph type="pic" idx="1" hasCustomPrompt="1"/>
          </p:nvPr>
        </p:nvSpPr>
        <p:spPr>
          <a:xfrm>
            <a:off x="5183188" y="987425"/>
            <a:ext cx="6172200" cy="4873625"/>
          </a:xfrm>
        </p:spPr>
        <p:txBody>
          <a:bodyPr anchor="ctr" anchorCtr="0">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1">
                <a:solidFill>
                  <a:schemeClr val="tx2">
                    <a:lumMod val="50000"/>
                    <a:lumOff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Place Graphic Here</a:t>
            </a:r>
          </a:p>
        </p:txBody>
      </p:sp>
      <p:sp>
        <p:nvSpPr>
          <p:cNvPr id="4" name="Text Placeholder 3">
            <a:extLst>
              <a:ext uri="{FF2B5EF4-FFF2-40B4-BE49-F238E27FC236}">
                <a16:creationId xmlns:a16="http://schemas.microsoft.com/office/drawing/2014/main" id="{3FC57F57-7422-8CC4-703D-6D6529DA8F19}"/>
              </a:ext>
            </a:extLst>
          </p:cNvPr>
          <p:cNvSpPr>
            <a:spLocks noGrp="1"/>
          </p:cNvSpPr>
          <p:nvPr>
            <p:ph type="body" sz="half" idx="2"/>
          </p:nvPr>
        </p:nvSpPr>
        <p:spPr>
          <a:xfrm>
            <a:off x="839788" y="2057400"/>
            <a:ext cx="3932237" cy="3811588"/>
          </a:xfrm>
        </p:spPr>
        <p:txBody>
          <a:bodyPr/>
          <a:lstStyle>
            <a:lvl1pPr marL="0" indent="0">
              <a:buNone/>
              <a:defRPr sz="1600">
                <a:solidFill>
                  <a:schemeClr val="accent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F46B74-AE11-F4A9-FE86-98C728BEED44}"/>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7D8A40-4B51-7449-9A29-ED423BC56398}" type="datetimeFigureOut">
              <a:rPr lang="en-US" smtClean="0"/>
              <a:pPr/>
              <a:t>4/17/2024</a:t>
            </a:fld>
            <a:endParaRPr lang="en-US"/>
          </a:p>
        </p:txBody>
      </p:sp>
      <p:sp>
        <p:nvSpPr>
          <p:cNvPr id="6" name="Footer Placeholder 5">
            <a:extLst>
              <a:ext uri="{FF2B5EF4-FFF2-40B4-BE49-F238E27FC236}">
                <a16:creationId xmlns:a16="http://schemas.microsoft.com/office/drawing/2014/main" id="{476DE610-C340-93BF-8441-97A46E896778}"/>
              </a:ext>
            </a:extLst>
          </p:cNvP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 name="Slide Number Placeholder 6">
            <a:extLst>
              <a:ext uri="{FF2B5EF4-FFF2-40B4-BE49-F238E27FC236}">
                <a16:creationId xmlns:a16="http://schemas.microsoft.com/office/drawing/2014/main" id="{99D3EEE5-CF9C-C3AB-FEA4-E69AAFF39CA7}"/>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D7DCCF-32BB-0847-B185-853C3EE580DE}" type="slidenum">
              <a:rPr lang="en-US" smtClean="0"/>
              <a:pPr/>
              <a:t>‹#›</a:t>
            </a:fld>
            <a:endParaRPr lang="en-US"/>
          </a:p>
        </p:txBody>
      </p:sp>
      <p:sp>
        <p:nvSpPr>
          <p:cNvPr id="9" name="Rectangle 8">
            <a:extLst>
              <a:ext uri="{FF2B5EF4-FFF2-40B4-BE49-F238E27FC236}">
                <a16:creationId xmlns:a16="http://schemas.microsoft.com/office/drawing/2014/main" id="{0051A5C2-10CF-08D1-45CA-5AE631BD06E6}"/>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10964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_Photo_MDU">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34D1B58-4002-E446-6BEF-9DC6728BC383}"/>
              </a:ext>
            </a:extLst>
          </p:cNvPr>
          <p:cNvPicPr>
            <a:picLocks noChangeAspect="1"/>
          </p:cNvPicPr>
          <p:nvPr userDrawn="1"/>
        </p:nvPicPr>
        <p:blipFill rotWithShape="1">
          <a:blip r:embed="rId2"/>
          <a:srcRect b="10000"/>
          <a:stretch/>
        </p:blipFill>
        <p:spPr>
          <a:xfrm>
            <a:off x="0" y="1"/>
            <a:ext cx="12192000" cy="6858000"/>
          </a:xfrm>
          <a:prstGeom prst="rect">
            <a:avLst/>
          </a:prstGeom>
        </p:spPr>
      </p:pic>
      <p:sp>
        <p:nvSpPr>
          <p:cNvPr id="2" name="Title 1">
            <a:extLst>
              <a:ext uri="{FF2B5EF4-FFF2-40B4-BE49-F238E27FC236}">
                <a16:creationId xmlns:a16="http://schemas.microsoft.com/office/drawing/2014/main" id="{E8A366D3-BE88-686B-E387-3A8405ADFF3B}"/>
              </a:ext>
            </a:extLst>
          </p:cNvPr>
          <p:cNvSpPr>
            <a:spLocks noGrp="1"/>
          </p:cNvSpPr>
          <p:nvPr>
            <p:ph type="title" hasCustomPrompt="1"/>
          </p:nvPr>
        </p:nvSpPr>
        <p:spPr>
          <a:xfrm>
            <a:off x="839788" y="479505"/>
            <a:ext cx="6475414" cy="801577"/>
          </a:xfrm>
        </p:spPr>
        <p:txBody>
          <a:bodyPr anchor="b" anchorCtr="0">
            <a:noAutofit/>
          </a:bodyPr>
          <a:lstStyle>
            <a:lvl1pPr>
              <a:defRPr sz="4400">
                <a:solidFill>
                  <a:srgbClr val="004161"/>
                </a:solidFill>
              </a:defRPr>
            </a:lvl1pPr>
          </a:lstStyle>
          <a:p>
            <a:r>
              <a:rPr lang="en-US"/>
              <a:t>Title Goes Here</a:t>
            </a:r>
          </a:p>
        </p:txBody>
      </p:sp>
      <p:sp>
        <p:nvSpPr>
          <p:cNvPr id="3" name="Text Placeholder 3">
            <a:extLst>
              <a:ext uri="{FF2B5EF4-FFF2-40B4-BE49-F238E27FC236}">
                <a16:creationId xmlns:a16="http://schemas.microsoft.com/office/drawing/2014/main" id="{6D072398-6AA4-838B-5E77-051BE8B8D8B6}"/>
              </a:ext>
            </a:extLst>
          </p:cNvPr>
          <p:cNvSpPr>
            <a:spLocks noGrp="1"/>
          </p:cNvSpPr>
          <p:nvPr>
            <p:ph type="body" sz="quarter" idx="15" hasCustomPrompt="1"/>
          </p:nvPr>
        </p:nvSpPr>
        <p:spPr>
          <a:xfrm>
            <a:off x="839786" y="1371602"/>
            <a:ext cx="6475413" cy="696639"/>
          </a:xfrm>
        </p:spPr>
        <p:txBody>
          <a:bodyPr>
            <a:normAutofit/>
          </a:bodyPr>
          <a:lstStyle>
            <a:lvl1pPr marL="0" indent="0">
              <a:buNone/>
              <a:defRPr sz="2400">
                <a:solidFill>
                  <a:srgbClr val="007DB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pic>
        <p:nvPicPr>
          <p:cNvPr id="8" name="Picture 7">
            <a:extLst>
              <a:ext uri="{FF2B5EF4-FFF2-40B4-BE49-F238E27FC236}">
                <a16:creationId xmlns:a16="http://schemas.microsoft.com/office/drawing/2014/main" id="{DA9DC93B-BCF1-0488-45D2-CE37DBC4C02C}"/>
              </a:ext>
            </a:extLst>
          </p:cNvPr>
          <p:cNvPicPr>
            <a:picLocks noChangeAspect="1"/>
          </p:cNvPicPr>
          <p:nvPr userDrawn="1"/>
        </p:nvPicPr>
        <p:blipFill rotWithShape="1">
          <a:blip r:embed="rId3">
            <a:alphaModFix amt="76000"/>
          </a:blip>
          <a:srcRect r="34694"/>
          <a:stretch/>
        </p:blipFill>
        <p:spPr>
          <a:xfrm>
            <a:off x="9712960" y="5376721"/>
            <a:ext cx="2479040" cy="1155863"/>
          </a:xfrm>
          <a:prstGeom prst="rect">
            <a:avLst/>
          </a:prstGeom>
        </p:spPr>
      </p:pic>
      <p:pic>
        <p:nvPicPr>
          <p:cNvPr id="9" name="Picture 8">
            <a:extLst>
              <a:ext uri="{FF2B5EF4-FFF2-40B4-BE49-F238E27FC236}">
                <a16:creationId xmlns:a16="http://schemas.microsoft.com/office/drawing/2014/main" id="{6B2A0DD8-3CD4-CA2E-C3FC-1B44AC077EDB}"/>
              </a:ext>
            </a:extLst>
          </p:cNvPr>
          <p:cNvPicPr>
            <a:picLocks noChangeAspect="1"/>
          </p:cNvPicPr>
          <p:nvPr userDrawn="1"/>
        </p:nvPicPr>
        <p:blipFill>
          <a:blip r:embed="rId4"/>
          <a:stretch>
            <a:fillRect/>
          </a:stretch>
        </p:blipFill>
        <p:spPr>
          <a:xfrm>
            <a:off x="10121526" y="5662710"/>
            <a:ext cx="1684992" cy="584243"/>
          </a:xfrm>
          <a:prstGeom prst="rect">
            <a:avLst/>
          </a:prstGeom>
        </p:spPr>
      </p:pic>
    </p:spTree>
    <p:extLst>
      <p:ext uri="{BB962C8B-B14F-4D97-AF65-F5344CB8AC3E}">
        <p14:creationId xmlns:p14="http://schemas.microsoft.com/office/powerpoint/2010/main" val="20136648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hape 9642">
            <a:extLst>
              <a:ext uri="{FF2B5EF4-FFF2-40B4-BE49-F238E27FC236}">
                <a16:creationId xmlns:a16="http://schemas.microsoft.com/office/drawing/2014/main" id="{83E1D049-DDF4-75B9-723E-342A99E26BE3}"/>
              </a:ext>
            </a:extLst>
          </p:cNvPr>
          <p:cNvSpPr/>
          <p:nvPr userDrawn="1"/>
        </p:nvSpPr>
        <p:spPr>
          <a:xfrm>
            <a:off x="1239447" y="1938620"/>
            <a:ext cx="4546396" cy="74601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8971" y="21600"/>
                </a:lnTo>
                <a:lnTo>
                  <a:pt x="21600" y="10800"/>
                </a:lnTo>
                <a:lnTo>
                  <a:pt x="18971" y="0"/>
                </a:lnTo>
                <a:lnTo>
                  <a:pt x="0" y="0"/>
                </a:lnTo>
                <a:close/>
              </a:path>
            </a:pathLst>
          </a:custGeom>
          <a:solidFill>
            <a:schemeClr val="accent1"/>
          </a:solidFill>
          <a:ln w="12700" cap="flat">
            <a:noFill/>
            <a:miter lim="400000"/>
          </a:ln>
          <a:effectLst/>
        </p:spPr>
        <p:txBody>
          <a:bodyPr wrap="square" lIns="0" tIns="0" rIns="0" bIns="0" numCol="1" anchor="t">
            <a:noAutofit/>
          </a:bodyPr>
          <a:lstStyle/>
          <a:p>
            <a:endParaRPr sz="2532">
              <a:solidFill>
                <a:srgbClr val="007DB2"/>
              </a:solidFill>
              <a:latin typeface="Lato Light" panose="020F0502020204030203" pitchFamily="34" charset="0"/>
            </a:endParaRPr>
          </a:p>
        </p:txBody>
      </p:sp>
      <p:sp>
        <p:nvSpPr>
          <p:cNvPr id="5" name="Shape 9643">
            <a:extLst>
              <a:ext uri="{FF2B5EF4-FFF2-40B4-BE49-F238E27FC236}">
                <a16:creationId xmlns:a16="http://schemas.microsoft.com/office/drawing/2014/main" id="{B4C3A2C1-7293-AFB6-B102-6137CC7ACCF1}"/>
              </a:ext>
            </a:extLst>
          </p:cNvPr>
          <p:cNvSpPr/>
          <p:nvPr userDrawn="1"/>
        </p:nvSpPr>
        <p:spPr>
          <a:xfrm>
            <a:off x="762000" y="1938579"/>
            <a:ext cx="477447" cy="746054"/>
          </a:xfrm>
          <a:prstGeom prst="rect">
            <a:avLst/>
          </a:prstGeom>
          <a:solidFill>
            <a:schemeClr val="accent1">
              <a:lumMod val="75000"/>
            </a:schemeClr>
          </a:solidFill>
          <a:ln w="12700" cap="flat">
            <a:noFill/>
            <a:miter lim="400000"/>
          </a:ln>
          <a:effectLst/>
        </p:spPr>
        <p:txBody>
          <a:bodyPr wrap="square" lIns="0" tIns="0" rIns="0" bIns="0" numCol="1" anchor="t">
            <a:noAutofit/>
          </a:bodyPr>
          <a:lstStyle/>
          <a:p>
            <a:endParaRPr sz="2532">
              <a:latin typeface="Lato Light" panose="020F0502020204030203" pitchFamily="34" charset="0"/>
            </a:endParaRPr>
          </a:p>
        </p:txBody>
      </p:sp>
      <p:sp>
        <p:nvSpPr>
          <p:cNvPr id="6" name="Shape 9649">
            <a:extLst>
              <a:ext uri="{FF2B5EF4-FFF2-40B4-BE49-F238E27FC236}">
                <a16:creationId xmlns:a16="http://schemas.microsoft.com/office/drawing/2014/main" id="{DD2053FD-B9DB-0279-FFAD-BD3B645D829A}"/>
              </a:ext>
            </a:extLst>
          </p:cNvPr>
          <p:cNvSpPr/>
          <p:nvPr userDrawn="1"/>
        </p:nvSpPr>
        <p:spPr>
          <a:xfrm>
            <a:off x="1239447" y="3068694"/>
            <a:ext cx="4546396" cy="7460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8971" y="21600"/>
                </a:lnTo>
                <a:lnTo>
                  <a:pt x="21600" y="10800"/>
                </a:lnTo>
                <a:lnTo>
                  <a:pt x="18971" y="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2532">
              <a:latin typeface="Lato Light" panose="020F0502020204030203" pitchFamily="34" charset="0"/>
            </a:endParaRPr>
          </a:p>
        </p:txBody>
      </p:sp>
      <p:sp>
        <p:nvSpPr>
          <p:cNvPr id="7" name="Shape 9650">
            <a:extLst>
              <a:ext uri="{FF2B5EF4-FFF2-40B4-BE49-F238E27FC236}">
                <a16:creationId xmlns:a16="http://schemas.microsoft.com/office/drawing/2014/main" id="{EAD9CBF2-CC02-620E-2641-E923711C8635}"/>
              </a:ext>
            </a:extLst>
          </p:cNvPr>
          <p:cNvSpPr/>
          <p:nvPr userDrawn="1"/>
        </p:nvSpPr>
        <p:spPr>
          <a:xfrm>
            <a:off x="762000" y="3068653"/>
            <a:ext cx="477447" cy="746055"/>
          </a:xfrm>
          <a:prstGeom prst="rect">
            <a:avLst/>
          </a:prstGeom>
          <a:solidFill>
            <a:schemeClr val="accent2">
              <a:lumMod val="75000"/>
            </a:schemeClr>
          </a:solidFill>
          <a:ln w="12700" cap="flat">
            <a:noFill/>
            <a:miter lim="400000"/>
          </a:ln>
          <a:effectLst/>
        </p:spPr>
        <p:txBody>
          <a:bodyPr wrap="square" lIns="0" tIns="0" rIns="0" bIns="0" numCol="1" anchor="t">
            <a:noAutofit/>
          </a:bodyPr>
          <a:lstStyle/>
          <a:p>
            <a:endParaRPr sz="2532">
              <a:latin typeface="Lato Light" panose="020F0502020204030203" pitchFamily="34" charset="0"/>
            </a:endParaRPr>
          </a:p>
        </p:txBody>
      </p:sp>
      <p:sp>
        <p:nvSpPr>
          <p:cNvPr id="8" name="Shape 9656">
            <a:extLst>
              <a:ext uri="{FF2B5EF4-FFF2-40B4-BE49-F238E27FC236}">
                <a16:creationId xmlns:a16="http://schemas.microsoft.com/office/drawing/2014/main" id="{E88A9029-2583-AC2B-89D5-A20C6719790F}"/>
              </a:ext>
            </a:extLst>
          </p:cNvPr>
          <p:cNvSpPr/>
          <p:nvPr userDrawn="1"/>
        </p:nvSpPr>
        <p:spPr>
          <a:xfrm>
            <a:off x="1239447" y="4198768"/>
            <a:ext cx="4546396" cy="7460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8971" y="21600"/>
                </a:lnTo>
                <a:lnTo>
                  <a:pt x="21600" y="10800"/>
                </a:lnTo>
                <a:lnTo>
                  <a:pt x="18971" y="0"/>
                </a:lnTo>
                <a:lnTo>
                  <a:pt x="0" y="0"/>
                </a:lnTo>
                <a:close/>
              </a:path>
            </a:pathLst>
          </a:custGeom>
          <a:solidFill>
            <a:schemeClr val="accent3"/>
          </a:solidFill>
          <a:ln w="12700" cap="flat">
            <a:noFill/>
            <a:miter lim="400000"/>
          </a:ln>
          <a:effectLst/>
        </p:spPr>
        <p:txBody>
          <a:bodyPr wrap="square" lIns="0" tIns="0" rIns="0" bIns="0" numCol="1" anchor="t">
            <a:noAutofit/>
          </a:bodyPr>
          <a:lstStyle/>
          <a:p>
            <a:endParaRPr sz="2532">
              <a:latin typeface="Lato Light" panose="020F0502020204030203" pitchFamily="34" charset="0"/>
            </a:endParaRPr>
          </a:p>
        </p:txBody>
      </p:sp>
      <p:sp>
        <p:nvSpPr>
          <p:cNvPr id="9" name="Shape 9657">
            <a:extLst>
              <a:ext uri="{FF2B5EF4-FFF2-40B4-BE49-F238E27FC236}">
                <a16:creationId xmlns:a16="http://schemas.microsoft.com/office/drawing/2014/main" id="{5F723BF0-E313-728B-6093-1687BC3B793E}"/>
              </a:ext>
            </a:extLst>
          </p:cNvPr>
          <p:cNvSpPr/>
          <p:nvPr userDrawn="1"/>
        </p:nvSpPr>
        <p:spPr>
          <a:xfrm>
            <a:off x="762000" y="4198727"/>
            <a:ext cx="477447" cy="746055"/>
          </a:xfrm>
          <a:prstGeom prst="rect">
            <a:avLst/>
          </a:prstGeom>
          <a:solidFill>
            <a:schemeClr val="accent3">
              <a:lumMod val="75000"/>
            </a:schemeClr>
          </a:solidFill>
          <a:ln w="12700" cap="flat">
            <a:noFill/>
            <a:miter lim="400000"/>
          </a:ln>
          <a:effectLst/>
        </p:spPr>
        <p:txBody>
          <a:bodyPr wrap="square" lIns="0" tIns="0" rIns="0" bIns="0" numCol="1" anchor="t">
            <a:noAutofit/>
          </a:bodyPr>
          <a:lstStyle/>
          <a:p>
            <a:endParaRPr sz="2532">
              <a:latin typeface="Lato Light" panose="020F0502020204030203" pitchFamily="34" charset="0"/>
            </a:endParaRPr>
          </a:p>
        </p:txBody>
      </p:sp>
      <p:sp>
        <p:nvSpPr>
          <p:cNvPr id="10" name="Shape 9663">
            <a:extLst>
              <a:ext uri="{FF2B5EF4-FFF2-40B4-BE49-F238E27FC236}">
                <a16:creationId xmlns:a16="http://schemas.microsoft.com/office/drawing/2014/main" id="{9B3DF777-5E56-4C81-A9AC-201118B650D5}"/>
              </a:ext>
            </a:extLst>
          </p:cNvPr>
          <p:cNvSpPr/>
          <p:nvPr userDrawn="1"/>
        </p:nvSpPr>
        <p:spPr>
          <a:xfrm>
            <a:off x="1239447" y="5328844"/>
            <a:ext cx="4546396" cy="7460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8971" y="21600"/>
                </a:lnTo>
                <a:lnTo>
                  <a:pt x="21600" y="10800"/>
                </a:lnTo>
                <a:lnTo>
                  <a:pt x="18971" y="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2532">
              <a:latin typeface="Lato Light" panose="020F0502020204030203" pitchFamily="34" charset="0"/>
            </a:endParaRPr>
          </a:p>
        </p:txBody>
      </p:sp>
      <p:sp>
        <p:nvSpPr>
          <p:cNvPr id="11" name="Shape 9664">
            <a:extLst>
              <a:ext uri="{FF2B5EF4-FFF2-40B4-BE49-F238E27FC236}">
                <a16:creationId xmlns:a16="http://schemas.microsoft.com/office/drawing/2014/main" id="{B79C404A-4C9B-4D89-6A3B-2BB2B3EBBF61}"/>
              </a:ext>
            </a:extLst>
          </p:cNvPr>
          <p:cNvSpPr/>
          <p:nvPr userDrawn="1"/>
        </p:nvSpPr>
        <p:spPr>
          <a:xfrm>
            <a:off x="762000" y="5328803"/>
            <a:ext cx="477447" cy="746055"/>
          </a:xfrm>
          <a:prstGeom prst="rect">
            <a:avLst/>
          </a:prstGeom>
          <a:solidFill>
            <a:schemeClr val="accent4">
              <a:lumMod val="75000"/>
            </a:schemeClr>
          </a:solidFill>
          <a:ln w="12700" cap="flat">
            <a:noFill/>
            <a:miter lim="400000"/>
          </a:ln>
          <a:effectLst/>
        </p:spPr>
        <p:txBody>
          <a:bodyPr wrap="square" lIns="0" tIns="0" rIns="0" bIns="0" numCol="1" anchor="t">
            <a:noAutofit/>
          </a:bodyPr>
          <a:lstStyle/>
          <a:p>
            <a:endParaRPr sz="2532">
              <a:latin typeface="Lato Light" panose="020F0502020204030203" pitchFamily="34" charset="0"/>
            </a:endParaRPr>
          </a:p>
        </p:txBody>
      </p:sp>
      <p:sp>
        <p:nvSpPr>
          <p:cNvPr id="14" name="Freeform 4">
            <a:extLst>
              <a:ext uri="{FF2B5EF4-FFF2-40B4-BE49-F238E27FC236}">
                <a16:creationId xmlns:a16="http://schemas.microsoft.com/office/drawing/2014/main" id="{F4FDC7C2-BE49-27B1-A672-A68C9E82F727}"/>
              </a:ext>
            </a:extLst>
          </p:cNvPr>
          <p:cNvSpPr>
            <a:spLocks noChangeArrowheads="1"/>
          </p:cNvSpPr>
          <p:nvPr userDrawn="1"/>
        </p:nvSpPr>
        <p:spPr bwMode="auto">
          <a:xfrm>
            <a:off x="1546941" y="4344742"/>
            <a:ext cx="339725" cy="454025"/>
          </a:xfrm>
          <a:custGeom>
            <a:avLst/>
            <a:gdLst>
              <a:gd name="T0" fmla="*/ 1337 w 1889"/>
              <a:gd name="T1" fmla="*/ 552 h 2521"/>
              <a:gd name="T2" fmla="*/ 1337 w 1889"/>
              <a:gd name="T3" fmla="*/ 190 h 2521"/>
              <a:gd name="T4" fmla="*/ 1698 w 1889"/>
              <a:gd name="T5" fmla="*/ 552 h 2521"/>
              <a:gd name="T6" fmla="*/ 1337 w 1889"/>
              <a:gd name="T7" fmla="*/ 552 h 2521"/>
              <a:gd name="T8" fmla="*/ 1652 w 1889"/>
              <a:gd name="T9" fmla="*/ 1103 h 2521"/>
              <a:gd name="T10" fmla="*/ 1180 w 1889"/>
              <a:gd name="T11" fmla="*/ 1103 h 2521"/>
              <a:gd name="T12" fmla="*/ 1180 w 1889"/>
              <a:gd name="T13" fmla="*/ 945 h 2521"/>
              <a:gd name="T14" fmla="*/ 1652 w 1889"/>
              <a:gd name="T15" fmla="*/ 945 h 2521"/>
              <a:gd name="T16" fmla="*/ 1652 w 1889"/>
              <a:gd name="T17" fmla="*/ 1103 h 2521"/>
              <a:gd name="T18" fmla="*/ 1652 w 1889"/>
              <a:gd name="T19" fmla="*/ 1732 h 2521"/>
              <a:gd name="T20" fmla="*/ 1101 w 1889"/>
              <a:gd name="T21" fmla="*/ 1732 h 2521"/>
              <a:gd name="T22" fmla="*/ 1101 w 1889"/>
              <a:gd name="T23" fmla="*/ 1575 h 2521"/>
              <a:gd name="T24" fmla="*/ 1652 w 1889"/>
              <a:gd name="T25" fmla="*/ 1575 h 2521"/>
              <a:gd name="T26" fmla="*/ 1652 w 1889"/>
              <a:gd name="T27" fmla="*/ 1732 h 2521"/>
              <a:gd name="T28" fmla="*/ 945 w 1889"/>
              <a:gd name="T29" fmla="*/ 1732 h 2521"/>
              <a:gd name="T30" fmla="*/ 236 w 1889"/>
              <a:gd name="T31" fmla="*/ 1732 h 2521"/>
              <a:gd name="T32" fmla="*/ 236 w 1889"/>
              <a:gd name="T33" fmla="*/ 1575 h 2521"/>
              <a:gd name="T34" fmla="*/ 945 w 1889"/>
              <a:gd name="T35" fmla="*/ 1575 h 2521"/>
              <a:gd name="T36" fmla="*/ 945 w 1889"/>
              <a:gd name="T37" fmla="*/ 1732 h 2521"/>
              <a:gd name="T38" fmla="*/ 945 w 1889"/>
              <a:gd name="T39" fmla="*/ 2047 h 2521"/>
              <a:gd name="T40" fmla="*/ 236 w 1889"/>
              <a:gd name="T41" fmla="*/ 2047 h 2521"/>
              <a:gd name="T42" fmla="*/ 236 w 1889"/>
              <a:gd name="T43" fmla="*/ 1890 h 2521"/>
              <a:gd name="T44" fmla="*/ 945 w 1889"/>
              <a:gd name="T45" fmla="*/ 1890 h 2521"/>
              <a:gd name="T46" fmla="*/ 945 w 1889"/>
              <a:gd name="T47" fmla="*/ 2047 h 2521"/>
              <a:gd name="T48" fmla="*/ 236 w 1889"/>
              <a:gd name="T49" fmla="*/ 1260 h 2521"/>
              <a:gd name="T50" fmla="*/ 551 w 1889"/>
              <a:gd name="T51" fmla="*/ 1260 h 2521"/>
              <a:gd name="T52" fmla="*/ 551 w 1889"/>
              <a:gd name="T53" fmla="*/ 1418 h 2521"/>
              <a:gd name="T54" fmla="*/ 236 w 1889"/>
              <a:gd name="T55" fmla="*/ 1418 h 2521"/>
              <a:gd name="T56" fmla="*/ 236 w 1889"/>
              <a:gd name="T57" fmla="*/ 1260 h 2521"/>
              <a:gd name="T58" fmla="*/ 1416 w 1889"/>
              <a:gd name="T59" fmla="*/ 1418 h 2521"/>
              <a:gd name="T60" fmla="*/ 708 w 1889"/>
              <a:gd name="T61" fmla="*/ 1418 h 2521"/>
              <a:gd name="T62" fmla="*/ 708 w 1889"/>
              <a:gd name="T63" fmla="*/ 1260 h 2521"/>
              <a:gd name="T64" fmla="*/ 1416 w 1889"/>
              <a:gd name="T65" fmla="*/ 1260 h 2521"/>
              <a:gd name="T66" fmla="*/ 1416 w 1889"/>
              <a:gd name="T67" fmla="*/ 1418 h 2521"/>
              <a:gd name="T68" fmla="*/ 236 w 1889"/>
              <a:gd name="T69" fmla="*/ 945 h 2521"/>
              <a:gd name="T70" fmla="*/ 1022 w 1889"/>
              <a:gd name="T71" fmla="*/ 945 h 2521"/>
              <a:gd name="T72" fmla="*/ 1022 w 1889"/>
              <a:gd name="T73" fmla="*/ 1103 h 2521"/>
              <a:gd name="T74" fmla="*/ 236 w 1889"/>
              <a:gd name="T75" fmla="*/ 1103 h 2521"/>
              <a:gd name="T76" fmla="*/ 236 w 1889"/>
              <a:gd name="T77" fmla="*/ 945 h 2521"/>
              <a:gd name="T78" fmla="*/ 1370 w 1889"/>
              <a:gd name="T79" fmla="*/ 0 h 2521"/>
              <a:gd name="T80" fmla="*/ 0 w 1889"/>
              <a:gd name="T81" fmla="*/ 0 h 2521"/>
              <a:gd name="T82" fmla="*/ 0 w 1889"/>
              <a:gd name="T83" fmla="*/ 2520 h 2521"/>
              <a:gd name="T84" fmla="*/ 1888 w 1889"/>
              <a:gd name="T85" fmla="*/ 2520 h 2521"/>
              <a:gd name="T86" fmla="*/ 1888 w 1889"/>
              <a:gd name="T87" fmla="*/ 519 h 2521"/>
              <a:gd name="T88" fmla="*/ 1370 w 1889"/>
              <a:gd name="T89" fmla="*/ 0 h 2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89" h="2521">
                <a:moveTo>
                  <a:pt x="1337" y="552"/>
                </a:moveTo>
                <a:lnTo>
                  <a:pt x="1337" y="190"/>
                </a:lnTo>
                <a:lnTo>
                  <a:pt x="1698" y="552"/>
                </a:lnTo>
                <a:lnTo>
                  <a:pt x="1337" y="552"/>
                </a:lnTo>
                <a:close/>
                <a:moveTo>
                  <a:pt x="1652" y="1103"/>
                </a:moveTo>
                <a:lnTo>
                  <a:pt x="1180" y="1103"/>
                </a:lnTo>
                <a:lnTo>
                  <a:pt x="1180" y="945"/>
                </a:lnTo>
                <a:lnTo>
                  <a:pt x="1652" y="945"/>
                </a:lnTo>
                <a:lnTo>
                  <a:pt x="1652" y="1103"/>
                </a:lnTo>
                <a:close/>
                <a:moveTo>
                  <a:pt x="1652" y="1732"/>
                </a:moveTo>
                <a:lnTo>
                  <a:pt x="1101" y="1732"/>
                </a:lnTo>
                <a:lnTo>
                  <a:pt x="1101" y="1575"/>
                </a:lnTo>
                <a:lnTo>
                  <a:pt x="1652" y="1575"/>
                </a:lnTo>
                <a:lnTo>
                  <a:pt x="1652" y="1732"/>
                </a:lnTo>
                <a:close/>
                <a:moveTo>
                  <a:pt x="945" y="1732"/>
                </a:moveTo>
                <a:lnTo>
                  <a:pt x="236" y="1732"/>
                </a:lnTo>
                <a:lnTo>
                  <a:pt x="236" y="1575"/>
                </a:lnTo>
                <a:lnTo>
                  <a:pt x="945" y="1575"/>
                </a:lnTo>
                <a:lnTo>
                  <a:pt x="945" y="1732"/>
                </a:lnTo>
                <a:close/>
                <a:moveTo>
                  <a:pt x="945" y="2047"/>
                </a:moveTo>
                <a:lnTo>
                  <a:pt x="236" y="2047"/>
                </a:lnTo>
                <a:lnTo>
                  <a:pt x="236" y="1890"/>
                </a:lnTo>
                <a:lnTo>
                  <a:pt x="945" y="1890"/>
                </a:lnTo>
                <a:lnTo>
                  <a:pt x="945" y="2047"/>
                </a:lnTo>
                <a:close/>
                <a:moveTo>
                  <a:pt x="236" y="1260"/>
                </a:moveTo>
                <a:lnTo>
                  <a:pt x="551" y="1260"/>
                </a:lnTo>
                <a:lnTo>
                  <a:pt x="551" y="1418"/>
                </a:lnTo>
                <a:lnTo>
                  <a:pt x="236" y="1418"/>
                </a:lnTo>
                <a:lnTo>
                  <a:pt x="236" y="1260"/>
                </a:lnTo>
                <a:close/>
                <a:moveTo>
                  <a:pt x="1416" y="1418"/>
                </a:moveTo>
                <a:lnTo>
                  <a:pt x="708" y="1418"/>
                </a:lnTo>
                <a:lnTo>
                  <a:pt x="708" y="1260"/>
                </a:lnTo>
                <a:lnTo>
                  <a:pt x="1416" y="1260"/>
                </a:lnTo>
                <a:lnTo>
                  <a:pt x="1416" y="1418"/>
                </a:lnTo>
                <a:close/>
                <a:moveTo>
                  <a:pt x="236" y="945"/>
                </a:moveTo>
                <a:lnTo>
                  <a:pt x="1022" y="945"/>
                </a:lnTo>
                <a:lnTo>
                  <a:pt x="1022" y="1103"/>
                </a:lnTo>
                <a:lnTo>
                  <a:pt x="236" y="1103"/>
                </a:lnTo>
                <a:lnTo>
                  <a:pt x="236" y="945"/>
                </a:lnTo>
                <a:close/>
                <a:moveTo>
                  <a:pt x="1370" y="0"/>
                </a:moveTo>
                <a:lnTo>
                  <a:pt x="0" y="0"/>
                </a:lnTo>
                <a:lnTo>
                  <a:pt x="0" y="2520"/>
                </a:lnTo>
                <a:lnTo>
                  <a:pt x="1888" y="2520"/>
                </a:lnTo>
                <a:lnTo>
                  <a:pt x="1888" y="519"/>
                </a:lnTo>
                <a:lnTo>
                  <a:pt x="1370" y="0"/>
                </a:lnTo>
                <a:close/>
              </a:path>
            </a:pathLst>
          </a:custGeom>
          <a:solidFill>
            <a:schemeClr val="bg1"/>
          </a:solidFill>
          <a:ln>
            <a:noFill/>
          </a:ln>
          <a:effectLst/>
        </p:spPr>
        <p:txBody>
          <a:bodyPr wrap="none" anchor="ctr"/>
          <a:lstStyle/>
          <a:p>
            <a:endParaRPr lang="en-US" sz="900">
              <a:latin typeface="Lato Light" panose="020F0502020204030203" pitchFamily="34" charset="0"/>
            </a:endParaRPr>
          </a:p>
        </p:txBody>
      </p:sp>
      <p:sp>
        <p:nvSpPr>
          <p:cNvPr id="15" name="Freeform 14">
            <a:extLst>
              <a:ext uri="{FF2B5EF4-FFF2-40B4-BE49-F238E27FC236}">
                <a16:creationId xmlns:a16="http://schemas.microsoft.com/office/drawing/2014/main" id="{D36A7E6B-6D62-079A-F554-71952214DDBD}"/>
              </a:ext>
            </a:extLst>
          </p:cNvPr>
          <p:cNvSpPr>
            <a:spLocks noChangeArrowheads="1"/>
          </p:cNvSpPr>
          <p:nvPr userDrawn="1"/>
        </p:nvSpPr>
        <p:spPr bwMode="auto">
          <a:xfrm>
            <a:off x="1489881" y="5489195"/>
            <a:ext cx="453845" cy="425270"/>
          </a:xfrm>
          <a:custGeom>
            <a:avLst/>
            <a:gdLst>
              <a:gd name="connsiteX0" fmla="*/ 282575 w 907690"/>
              <a:gd name="connsiteY0" fmla="*/ 681037 h 850540"/>
              <a:gd name="connsiteX1" fmla="*/ 621941 w 907690"/>
              <a:gd name="connsiteY1" fmla="*/ 681037 h 850540"/>
              <a:gd name="connsiteX2" fmla="*/ 621941 w 907690"/>
              <a:gd name="connsiteY2" fmla="*/ 737825 h 850540"/>
              <a:gd name="connsiteX3" fmla="*/ 282575 w 907690"/>
              <a:gd name="connsiteY3" fmla="*/ 737825 h 850540"/>
              <a:gd name="connsiteX4" fmla="*/ 311150 w 907690"/>
              <a:gd name="connsiteY4" fmla="*/ 566737 h 850540"/>
              <a:gd name="connsiteX5" fmla="*/ 594952 w 907690"/>
              <a:gd name="connsiteY5" fmla="*/ 566737 h 850540"/>
              <a:gd name="connsiteX6" fmla="*/ 594952 w 907690"/>
              <a:gd name="connsiteY6" fmla="*/ 623525 h 850540"/>
              <a:gd name="connsiteX7" fmla="*/ 311150 w 907690"/>
              <a:gd name="connsiteY7" fmla="*/ 623525 h 850540"/>
              <a:gd name="connsiteX8" fmla="*/ 226923 w 907690"/>
              <a:gd name="connsiteY8" fmla="*/ 510696 h 850540"/>
              <a:gd name="connsiteX9" fmla="*/ 226923 w 907690"/>
              <a:gd name="connsiteY9" fmla="*/ 794019 h 850540"/>
              <a:gd name="connsiteX10" fmla="*/ 680768 w 907690"/>
              <a:gd name="connsiteY10" fmla="*/ 794019 h 850540"/>
              <a:gd name="connsiteX11" fmla="*/ 680768 w 907690"/>
              <a:gd name="connsiteY11" fmla="*/ 510696 h 850540"/>
              <a:gd name="connsiteX12" fmla="*/ 226923 w 907690"/>
              <a:gd name="connsiteY12" fmla="*/ 311973 h 850540"/>
              <a:gd name="connsiteX13" fmla="*/ 198467 w 907690"/>
              <a:gd name="connsiteY13" fmla="*/ 340414 h 850540"/>
              <a:gd name="connsiteX14" fmla="*/ 226923 w 907690"/>
              <a:gd name="connsiteY14" fmla="*/ 368854 h 850540"/>
              <a:gd name="connsiteX15" fmla="*/ 255378 w 907690"/>
              <a:gd name="connsiteY15" fmla="*/ 340414 h 850540"/>
              <a:gd name="connsiteX16" fmla="*/ 226923 w 907690"/>
              <a:gd name="connsiteY16" fmla="*/ 311973 h 850540"/>
              <a:gd name="connsiteX17" fmla="*/ 113461 w 907690"/>
              <a:gd name="connsiteY17" fmla="*/ 311973 h 850540"/>
              <a:gd name="connsiteX18" fmla="*/ 85006 w 907690"/>
              <a:gd name="connsiteY18" fmla="*/ 340414 h 850540"/>
              <a:gd name="connsiteX19" fmla="*/ 113461 w 907690"/>
              <a:gd name="connsiteY19" fmla="*/ 368854 h 850540"/>
              <a:gd name="connsiteX20" fmla="*/ 141917 w 907690"/>
              <a:gd name="connsiteY20" fmla="*/ 340414 h 850540"/>
              <a:gd name="connsiteX21" fmla="*/ 113461 w 907690"/>
              <a:gd name="connsiteY21" fmla="*/ 311973 h 850540"/>
              <a:gd name="connsiteX22" fmla="*/ 73480 w 907690"/>
              <a:gd name="connsiteY22" fmla="*/ 227012 h 850540"/>
              <a:gd name="connsiteX23" fmla="*/ 834210 w 907690"/>
              <a:gd name="connsiteY23" fmla="*/ 227012 h 850540"/>
              <a:gd name="connsiteX24" fmla="*/ 907690 w 907690"/>
              <a:gd name="connsiteY24" fmla="*/ 300453 h 850540"/>
              <a:gd name="connsiteX25" fmla="*/ 907690 w 907690"/>
              <a:gd name="connsiteY25" fmla="*/ 623737 h 850540"/>
              <a:gd name="connsiteX26" fmla="*/ 737318 w 907690"/>
              <a:gd name="connsiteY26" fmla="*/ 623737 h 850540"/>
              <a:gd name="connsiteX27" fmla="*/ 737318 w 907690"/>
              <a:gd name="connsiteY27" fmla="*/ 850540 h 850540"/>
              <a:gd name="connsiteX28" fmla="*/ 170012 w 907690"/>
              <a:gd name="connsiteY28" fmla="*/ 850540 h 850540"/>
              <a:gd name="connsiteX29" fmla="*/ 170012 w 907690"/>
              <a:gd name="connsiteY29" fmla="*/ 623737 h 850540"/>
              <a:gd name="connsiteX30" fmla="*/ 0 w 907690"/>
              <a:gd name="connsiteY30" fmla="*/ 623737 h 850540"/>
              <a:gd name="connsiteX31" fmla="*/ 0 w 907690"/>
              <a:gd name="connsiteY31" fmla="*/ 300453 h 850540"/>
              <a:gd name="connsiteX32" fmla="*/ 169862 w 907690"/>
              <a:gd name="connsiteY32" fmla="*/ 0 h 850540"/>
              <a:gd name="connsiteX33" fmla="*/ 736241 w 907690"/>
              <a:gd name="connsiteY33" fmla="*/ 0 h 850540"/>
              <a:gd name="connsiteX34" fmla="*/ 736241 w 907690"/>
              <a:gd name="connsiteY34" fmla="*/ 198078 h 850540"/>
              <a:gd name="connsiteX35" fmla="*/ 679782 w 907690"/>
              <a:gd name="connsiteY35" fmla="*/ 198078 h 850540"/>
              <a:gd name="connsiteX36" fmla="*/ 679782 w 907690"/>
              <a:gd name="connsiteY36" fmla="*/ 56799 h 850540"/>
              <a:gd name="connsiteX37" fmla="*/ 226680 w 907690"/>
              <a:gd name="connsiteY37" fmla="*/ 56799 h 850540"/>
              <a:gd name="connsiteX38" fmla="*/ 226680 w 907690"/>
              <a:gd name="connsiteY38" fmla="*/ 198078 h 850540"/>
              <a:gd name="connsiteX39" fmla="*/ 169862 w 907690"/>
              <a:gd name="connsiteY39" fmla="*/ 198078 h 85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07690" h="850540">
                <a:moveTo>
                  <a:pt x="282575" y="681037"/>
                </a:moveTo>
                <a:lnTo>
                  <a:pt x="621941" y="681037"/>
                </a:lnTo>
                <a:lnTo>
                  <a:pt x="621941" y="737825"/>
                </a:lnTo>
                <a:lnTo>
                  <a:pt x="282575" y="737825"/>
                </a:lnTo>
                <a:close/>
                <a:moveTo>
                  <a:pt x="311150" y="566737"/>
                </a:moveTo>
                <a:lnTo>
                  <a:pt x="594952" y="566737"/>
                </a:lnTo>
                <a:lnTo>
                  <a:pt x="594952" y="623525"/>
                </a:lnTo>
                <a:lnTo>
                  <a:pt x="311150" y="623525"/>
                </a:lnTo>
                <a:close/>
                <a:moveTo>
                  <a:pt x="226923" y="510696"/>
                </a:moveTo>
                <a:lnTo>
                  <a:pt x="226923" y="794019"/>
                </a:lnTo>
                <a:lnTo>
                  <a:pt x="680768" y="794019"/>
                </a:lnTo>
                <a:lnTo>
                  <a:pt x="680768" y="510696"/>
                </a:lnTo>
                <a:close/>
                <a:moveTo>
                  <a:pt x="226923" y="311973"/>
                </a:moveTo>
                <a:cubicBezTo>
                  <a:pt x="211074" y="311973"/>
                  <a:pt x="198467" y="324573"/>
                  <a:pt x="198467" y="340414"/>
                </a:cubicBezTo>
                <a:cubicBezTo>
                  <a:pt x="198467" y="356254"/>
                  <a:pt x="211074" y="368854"/>
                  <a:pt x="226923" y="368854"/>
                </a:cubicBezTo>
                <a:cubicBezTo>
                  <a:pt x="242771" y="368854"/>
                  <a:pt x="255378" y="356254"/>
                  <a:pt x="255378" y="340414"/>
                </a:cubicBezTo>
                <a:cubicBezTo>
                  <a:pt x="255378" y="324573"/>
                  <a:pt x="242771" y="311973"/>
                  <a:pt x="226923" y="311973"/>
                </a:cubicBezTo>
                <a:close/>
                <a:moveTo>
                  <a:pt x="113461" y="311973"/>
                </a:moveTo>
                <a:cubicBezTo>
                  <a:pt x="97613" y="311973"/>
                  <a:pt x="85006" y="324573"/>
                  <a:pt x="85006" y="340414"/>
                </a:cubicBezTo>
                <a:cubicBezTo>
                  <a:pt x="85006" y="356254"/>
                  <a:pt x="97613" y="368854"/>
                  <a:pt x="113461" y="368854"/>
                </a:cubicBezTo>
                <a:cubicBezTo>
                  <a:pt x="128950" y="368854"/>
                  <a:pt x="141917" y="356254"/>
                  <a:pt x="141917" y="340414"/>
                </a:cubicBezTo>
                <a:cubicBezTo>
                  <a:pt x="141917" y="324573"/>
                  <a:pt x="128950" y="311973"/>
                  <a:pt x="113461" y="311973"/>
                </a:cubicBezTo>
                <a:close/>
                <a:moveTo>
                  <a:pt x="73480" y="227012"/>
                </a:moveTo>
                <a:lnTo>
                  <a:pt x="834210" y="227012"/>
                </a:lnTo>
                <a:lnTo>
                  <a:pt x="907690" y="300453"/>
                </a:lnTo>
                <a:lnTo>
                  <a:pt x="907690" y="623737"/>
                </a:lnTo>
                <a:lnTo>
                  <a:pt x="737318" y="623737"/>
                </a:lnTo>
                <a:lnTo>
                  <a:pt x="737318" y="850540"/>
                </a:lnTo>
                <a:lnTo>
                  <a:pt x="170012" y="850540"/>
                </a:lnTo>
                <a:lnTo>
                  <a:pt x="170012" y="623737"/>
                </a:lnTo>
                <a:lnTo>
                  <a:pt x="0" y="623737"/>
                </a:lnTo>
                <a:lnTo>
                  <a:pt x="0" y="300453"/>
                </a:lnTo>
                <a:close/>
                <a:moveTo>
                  <a:pt x="169862" y="0"/>
                </a:moveTo>
                <a:lnTo>
                  <a:pt x="736241" y="0"/>
                </a:lnTo>
                <a:lnTo>
                  <a:pt x="736241" y="198078"/>
                </a:lnTo>
                <a:lnTo>
                  <a:pt x="679782" y="198078"/>
                </a:lnTo>
                <a:lnTo>
                  <a:pt x="679782" y="56799"/>
                </a:lnTo>
                <a:lnTo>
                  <a:pt x="226680" y="56799"/>
                </a:lnTo>
                <a:lnTo>
                  <a:pt x="226680" y="198078"/>
                </a:lnTo>
                <a:lnTo>
                  <a:pt x="169862" y="198078"/>
                </a:lnTo>
                <a:close/>
              </a:path>
            </a:pathLst>
          </a:custGeom>
          <a:solidFill>
            <a:schemeClr val="bg1"/>
          </a:solidFill>
          <a:ln>
            <a:noFill/>
          </a:ln>
          <a:effectLst/>
        </p:spPr>
        <p:txBody>
          <a:bodyPr wrap="square" anchor="ctr">
            <a:noAutofit/>
          </a:bodyPr>
          <a:lstStyle/>
          <a:p>
            <a:endParaRPr lang="en-US" sz="900">
              <a:latin typeface="Lato Light" panose="020F0502020204030203" pitchFamily="34" charset="0"/>
            </a:endParaRPr>
          </a:p>
        </p:txBody>
      </p:sp>
      <p:sp>
        <p:nvSpPr>
          <p:cNvPr id="16" name="Freeform 15">
            <a:extLst>
              <a:ext uri="{FF2B5EF4-FFF2-40B4-BE49-F238E27FC236}">
                <a16:creationId xmlns:a16="http://schemas.microsoft.com/office/drawing/2014/main" id="{F9BBCC4D-21C4-19A0-4612-101058051162}"/>
              </a:ext>
            </a:extLst>
          </p:cNvPr>
          <p:cNvSpPr>
            <a:spLocks noChangeArrowheads="1"/>
          </p:cNvSpPr>
          <p:nvPr userDrawn="1"/>
        </p:nvSpPr>
        <p:spPr bwMode="auto">
          <a:xfrm>
            <a:off x="1489881" y="3215154"/>
            <a:ext cx="453845" cy="453052"/>
          </a:xfrm>
          <a:custGeom>
            <a:avLst/>
            <a:gdLst>
              <a:gd name="connsiteX0" fmla="*/ 595312 w 907690"/>
              <a:gd name="connsiteY0" fmla="*/ 623887 h 906103"/>
              <a:gd name="connsiteX1" fmla="*/ 709250 w 907690"/>
              <a:gd name="connsiteY1" fmla="*/ 623887 h 906103"/>
              <a:gd name="connsiteX2" fmla="*/ 709250 w 907690"/>
              <a:gd name="connsiteY2" fmla="*/ 737825 h 906103"/>
              <a:gd name="connsiteX3" fmla="*/ 595312 w 907690"/>
              <a:gd name="connsiteY3" fmla="*/ 737825 h 906103"/>
              <a:gd name="connsiteX4" fmla="*/ 396875 w 907690"/>
              <a:gd name="connsiteY4" fmla="*/ 623887 h 906103"/>
              <a:gd name="connsiteX5" fmla="*/ 509229 w 907690"/>
              <a:gd name="connsiteY5" fmla="*/ 623887 h 906103"/>
              <a:gd name="connsiteX6" fmla="*/ 509229 w 907690"/>
              <a:gd name="connsiteY6" fmla="*/ 737825 h 906103"/>
              <a:gd name="connsiteX7" fmla="*/ 396875 w 907690"/>
              <a:gd name="connsiteY7" fmla="*/ 737825 h 906103"/>
              <a:gd name="connsiteX8" fmla="*/ 198437 w 907690"/>
              <a:gd name="connsiteY8" fmla="*/ 623887 h 906103"/>
              <a:gd name="connsiteX9" fmla="*/ 310792 w 907690"/>
              <a:gd name="connsiteY9" fmla="*/ 623887 h 906103"/>
              <a:gd name="connsiteX10" fmla="*/ 310792 w 907690"/>
              <a:gd name="connsiteY10" fmla="*/ 737825 h 906103"/>
              <a:gd name="connsiteX11" fmla="*/ 198437 w 907690"/>
              <a:gd name="connsiteY11" fmla="*/ 737825 h 906103"/>
              <a:gd name="connsiteX12" fmla="*/ 595312 w 907690"/>
              <a:gd name="connsiteY12" fmla="*/ 454025 h 906103"/>
              <a:gd name="connsiteX13" fmla="*/ 709250 w 907690"/>
              <a:gd name="connsiteY13" fmla="*/ 454025 h 906103"/>
              <a:gd name="connsiteX14" fmla="*/ 709250 w 907690"/>
              <a:gd name="connsiteY14" fmla="*/ 567963 h 906103"/>
              <a:gd name="connsiteX15" fmla="*/ 595312 w 907690"/>
              <a:gd name="connsiteY15" fmla="*/ 567963 h 906103"/>
              <a:gd name="connsiteX16" fmla="*/ 396875 w 907690"/>
              <a:gd name="connsiteY16" fmla="*/ 454025 h 906103"/>
              <a:gd name="connsiteX17" fmla="*/ 509229 w 907690"/>
              <a:gd name="connsiteY17" fmla="*/ 454025 h 906103"/>
              <a:gd name="connsiteX18" fmla="*/ 509229 w 907690"/>
              <a:gd name="connsiteY18" fmla="*/ 567963 h 906103"/>
              <a:gd name="connsiteX19" fmla="*/ 396875 w 907690"/>
              <a:gd name="connsiteY19" fmla="*/ 567963 h 906103"/>
              <a:gd name="connsiteX20" fmla="*/ 198437 w 907690"/>
              <a:gd name="connsiteY20" fmla="*/ 454025 h 906103"/>
              <a:gd name="connsiteX21" fmla="*/ 310792 w 907690"/>
              <a:gd name="connsiteY21" fmla="*/ 454025 h 906103"/>
              <a:gd name="connsiteX22" fmla="*/ 310792 w 907690"/>
              <a:gd name="connsiteY22" fmla="*/ 567963 h 906103"/>
              <a:gd name="connsiteX23" fmla="*/ 198437 w 907690"/>
              <a:gd name="connsiteY23" fmla="*/ 567963 h 906103"/>
              <a:gd name="connsiteX24" fmla="*/ 0 w 907690"/>
              <a:gd name="connsiteY24" fmla="*/ 368300 h 906103"/>
              <a:gd name="connsiteX25" fmla="*/ 56911 w 907690"/>
              <a:gd name="connsiteY25" fmla="*/ 368300 h 906103"/>
              <a:gd name="connsiteX26" fmla="*/ 56911 w 907690"/>
              <a:gd name="connsiteY26" fmla="*/ 849662 h 906103"/>
              <a:gd name="connsiteX27" fmla="*/ 737678 w 907690"/>
              <a:gd name="connsiteY27" fmla="*/ 849662 h 906103"/>
              <a:gd name="connsiteX28" fmla="*/ 737678 w 907690"/>
              <a:gd name="connsiteY28" fmla="*/ 736062 h 906103"/>
              <a:gd name="connsiteX29" fmla="*/ 850779 w 907690"/>
              <a:gd name="connsiteY29" fmla="*/ 736062 h 906103"/>
              <a:gd name="connsiteX30" fmla="*/ 850779 w 907690"/>
              <a:gd name="connsiteY30" fmla="*/ 368300 h 906103"/>
              <a:gd name="connsiteX31" fmla="*/ 907690 w 907690"/>
              <a:gd name="connsiteY31" fmla="*/ 368300 h 906103"/>
              <a:gd name="connsiteX32" fmla="*/ 907690 w 907690"/>
              <a:gd name="connsiteY32" fmla="*/ 776325 h 906103"/>
              <a:gd name="connsiteX33" fmla="*/ 777660 w 907690"/>
              <a:gd name="connsiteY33" fmla="*/ 906103 h 906103"/>
              <a:gd name="connsiteX34" fmla="*/ 0 w 907690"/>
              <a:gd name="connsiteY34" fmla="*/ 906103 h 906103"/>
              <a:gd name="connsiteX35" fmla="*/ 227283 w 907690"/>
              <a:gd name="connsiteY35" fmla="*/ 0 h 906103"/>
              <a:gd name="connsiteX36" fmla="*/ 283833 w 907690"/>
              <a:gd name="connsiteY36" fmla="*/ 0 h 906103"/>
              <a:gd name="connsiteX37" fmla="*/ 283833 w 907690"/>
              <a:gd name="connsiteY37" fmla="*/ 227301 h 906103"/>
              <a:gd name="connsiteX38" fmla="*/ 340384 w 907690"/>
              <a:gd name="connsiteY38" fmla="*/ 113650 h 906103"/>
              <a:gd name="connsiteX39" fmla="*/ 624217 w 907690"/>
              <a:gd name="connsiteY39" fmla="*/ 113650 h 906103"/>
              <a:gd name="connsiteX40" fmla="*/ 624217 w 907690"/>
              <a:gd name="connsiteY40" fmla="*/ 0 h 906103"/>
              <a:gd name="connsiteX41" fmla="*/ 680768 w 907690"/>
              <a:gd name="connsiteY41" fmla="*/ 0 h 906103"/>
              <a:gd name="connsiteX42" fmla="*/ 680768 w 907690"/>
              <a:gd name="connsiteY42" fmla="*/ 227301 h 906103"/>
              <a:gd name="connsiteX43" fmla="*/ 737678 w 907690"/>
              <a:gd name="connsiteY43" fmla="*/ 113650 h 906103"/>
              <a:gd name="connsiteX44" fmla="*/ 834571 w 907690"/>
              <a:gd name="connsiteY44" fmla="*/ 113650 h 906103"/>
              <a:gd name="connsiteX45" fmla="*/ 907690 w 907690"/>
              <a:gd name="connsiteY45" fmla="*/ 187252 h 906103"/>
              <a:gd name="connsiteX46" fmla="*/ 907690 w 907690"/>
              <a:gd name="connsiteY46" fmla="*/ 340951 h 906103"/>
              <a:gd name="connsiteX47" fmla="*/ 0 w 907690"/>
              <a:gd name="connsiteY47" fmla="*/ 340951 h 906103"/>
              <a:gd name="connsiteX48" fmla="*/ 0 w 907690"/>
              <a:gd name="connsiteY48" fmla="*/ 187252 h 906103"/>
              <a:gd name="connsiteX49" fmla="*/ 73480 w 907690"/>
              <a:gd name="connsiteY49" fmla="*/ 113650 h 906103"/>
              <a:gd name="connsiteX50" fmla="*/ 227283 w 907690"/>
              <a:gd name="connsiteY50" fmla="*/ 113650 h 90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07690" h="906103">
                <a:moveTo>
                  <a:pt x="595312" y="623887"/>
                </a:moveTo>
                <a:lnTo>
                  <a:pt x="709250" y="623887"/>
                </a:lnTo>
                <a:lnTo>
                  <a:pt x="709250" y="737825"/>
                </a:lnTo>
                <a:lnTo>
                  <a:pt x="595312" y="737825"/>
                </a:lnTo>
                <a:close/>
                <a:moveTo>
                  <a:pt x="396875" y="623887"/>
                </a:moveTo>
                <a:lnTo>
                  <a:pt x="509229" y="623887"/>
                </a:lnTo>
                <a:lnTo>
                  <a:pt x="509229" y="737825"/>
                </a:lnTo>
                <a:lnTo>
                  <a:pt x="396875" y="737825"/>
                </a:lnTo>
                <a:close/>
                <a:moveTo>
                  <a:pt x="198437" y="623887"/>
                </a:moveTo>
                <a:lnTo>
                  <a:pt x="310792" y="623887"/>
                </a:lnTo>
                <a:lnTo>
                  <a:pt x="310792" y="737825"/>
                </a:lnTo>
                <a:lnTo>
                  <a:pt x="198437" y="737825"/>
                </a:lnTo>
                <a:close/>
                <a:moveTo>
                  <a:pt x="595312" y="454025"/>
                </a:moveTo>
                <a:lnTo>
                  <a:pt x="709250" y="454025"/>
                </a:lnTo>
                <a:lnTo>
                  <a:pt x="709250" y="567963"/>
                </a:lnTo>
                <a:lnTo>
                  <a:pt x="595312" y="567963"/>
                </a:lnTo>
                <a:close/>
                <a:moveTo>
                  <a:pt x="396875" y="454025"/>
                </a:moveTo>
                <a:lnTo>
                  <a:pt x="509229" y="454025"/>
                </a:lnTo>
                <a:lnTo>
                  <a:pt x="509229" y="567963"/>
                </a:lnTo>
                <a:lnTo>
                  <a:pt x="396875" y="567963"/>
                </a:lnTo>
                <a:close/>
                <a:moveTo>
                  <a:pt x="198437" y="454025"/>
                </a:moveTo>
                <a:lnTo>
                  <a:pt x="310792" y="454025"/>
                </a:lnTo>
                <a:lnTo>
                  <a:pt x="310792" y="567963"/>
                </a:lnTo>
                <a:lnTo>
                  <a:pt x="198437" y="567963"/>
                </a:lnTo>
                <a:close/>
                <a:moveTo>
                  <a:pt x="0" y="368300"/>
                </a:moveTo>
                <a:lnTo>
                  <a:pt x="56911" y="368300"/>
                </a:lnTo>
                <a:lnTo>
                  <a:pt x="56911" y="849662"/>
                </a:lnTo>
                <a:lnTo>
                  <a:pt x="737678" y="849662"/>
                </a:lnTo>
                <a:lnTo>
                  <a:pt x="737678" y="736062"/>
                </a:lnTo>
                <a:lnTo>
                  <a:pt x="850779" y="736062"/>
                </a:lnTo>
                <a:lnTo>
                  <a:pt x="850779" y="368300"/>
                </a:lnTo>
                <a:lnTo>
                  <a:pt x="907690" y="368300"/>
                </a:lnTo>
                <a:lnTo>
                  <a:pt x="907690" y="776325"/>
                </a:lnTo>
                <a:lnTo>
                  <a:pt x="777660" y="906103"/>
                </a:lnTo>
                <a:lnTo>
                  <a:pt x="0" y="906103"/>
                </a:lnTo>
                <a:close/>
                <a:moveTo>
                  <a:pt x="227283" y="0"/>
                </a:moveTo>
                <a:lnTo>
                  <a:pt x="283833" y="0"/>
                </a:lnTo>
                <a:lnTo>
                  <a:pt x="283833" y="227301"/>
                </a:lnTo>
                <a:lnTo>
                  <a:pt x="340384" y="113650"/>
                </a:lnTo>
                <a:lnTo>
                  <a:pt x="624217" y="113650"/>
                </a:lnTo>
                <a:lnTo>
                  <a:pt x="624217" y="0"/>
                </a:lnTo>
                <a:lnTo>
                  <a:pt x="680768" y="0"/>
                </a:lnTo>
                <a:lnTo>
                  <a:pt x="680768" y="227301"/>
                </a:lnTo>
                <a:lnTo>
                  <a:pt x="737678" y="113650"/>
                </a:lnTo>
                <a:lnTo>
                  <a:pt x="834571" y="113650"/>
                </a:lnTo>
                <a:lnTo>
                  <a:pt x="907690" y="187252"/>
                </a:lnTo>
                <a:lnTo>
                  <a:pt x="907690" y="340951"/>
                </a:lnTo>
                <a:lnTo>
                  <a:pt x="0" y="340951"/>
                </a:lnTo>
                <a:lnTo>
                  <a:pt x="0" y="187252"/>
                </a:lnTo>
                <a:lnTo>
                  <a:pt x="73480" y="113650"/>
                </a:lnTo>
                <a:lnTo>
                  <a:pt x="227283" y="113650"/>
                </a:lnTo>
                <a:close/>
              </a:path>
            </a:pathLst>
          </a:custGeom>
          <a:solidFill>
            <a:schemeClr val="bg1"/>
          </a:solidFill>
          <a:ln>
            <a:noFill/>
          </a:ln>
          <a:effectLst/>
        </p:spPr>
        <p:txBody>
          <a:bodyPr wrap="square" anchor="ctr">
            <a:noAutofit/>
          </a:bodyPr>
          <a:lstStyle/>
          <a:p>
            <a:endParaRPr lang="en-US" sz="900">
              <a:latin typeface="Lato Light" panose="020F0502020204030203" pitchFamily="34" charset="0"/>
            </a:endParaRPr>
          </a:p>
        </p:txBody>
      </p:sp>
      <p:sp>
        <p:nvSpPr>
          <p:cNvPr id="17" name="Freeform 26">
            <a:extLst>
              <a:ext uri="{FF2B5EF4-FFF2-40B4-BE49-F238E27FC236}">
                <a16:creationId xmlns:a16="http://schemas.microsoft.com/office/drawing/2014/main" id="{85651147-1311-E68A-A847-FCD754844BA6}"/>
              </a:ext>
            </a:extLst>
          </p:cNvPr>
          <p:cNvSpPr>
            <a:spLocks noChangeArrowheads="1"/>
          </p:cNvSpPr>
          <p:nvPr userDrawn="1"/>
        </p:nvSpPr>
        <p:spPr bwMode="auto">
          <a:xfrm>
            <a:off x="1489881" y="2113168"/>
            <a:ext cx="454025" cy="396875"/>
          </a:xfrm>
          <a:custGeom>
            <a:avLst/>
            <a:gdLst>
              <a:gd name="T0" fmla="*/ 1969 w 2521"/>
              <a:gd name="T1" fmla="*/ 1260 h 2206"/>
              <a:gd name="T2" fmla="*/ 1024 w 2521"/>
              <a:gd name="T3" fmla="*/ 1260 h 2206"/>
              <a:gd name="T4" fmla="*/ 1024 w 2521"/>
              <a:gd name="T5" fmla="*/ 1103 h 2206"/>
              <a:gd name="T6" fmla="*/ 1969 w 2521"/>
              <a:gd name="T7" fmla="*/ 1103 h 2206"/>
              <a:gd name="T8" fmla="*/ 1969 w 2521"/>
              <a:gd name="T9" fmla="*/ 1260 h 2206"/>
              <a:gd name="T10" fmla="*/ 1732 w 2521"/>
              <a:gd name="T11" fmla="*/ 1575 h 2206"/>
              <a:gd name="T12" fmla="*/ 1260 w 2521"/>
              <a:gd name="T13" fmla="*/ 1575 h 2206"/>
              <a:gd name="T14" fmla="*/ 1260 w 2521"/>
              <a:gd name="T15" fmla="*/ 1418 h 2206"/>
              <a:gd name="T16" fmla="*/ 1732 w 2521"/>
              <a:gd name="T17" fmla="*/ 1418 h 2206"/>
              <a:gd name="T18" fmla="*/ 1732 w 2521"/>
              <a:gd name="T19" fmla="*/ 1575 h 2206"/>
              <a:gd name="T20" fmla="*/ 2395 w 2521"/>
              <a:gd name="T21" fmla="*/ 473 h 2206"/>
              <a:gd name="T22" fmla="*/ 597 w 2521"/>
              <a:gd name="T23" fmla="*/ 473 h 2206"/>
              <a:gd name="T24" fmla="*/ 472 w 2521"/>
              <a:gd name="T25" fmla="*/ 598 h 2206"/>
              <a:gd name="T26" fmla="*/ 472 w 2521"/>
              <a:gd name="T27" fmla="*/ 1890 h 2206"/>
              <a:gd name="T28" fmla="*/ 472 w 2521"/>
              <a:gd name="T29" fmla="*/ 1890 h 2206"/>
              <a:gd name="T30" fmla="*/ 315 w 2521"/>
              <a:gd name="T31" fmla="*/ 2048 h 2206"/>
              <a:gd name="T32" fmla="*/ 315 w 2521"/>
              <a:gd name="T33" fmla="*/ 2048 h 2206"/>
              <a:gd name="T34" fmla="*/ 158 w 2521"/>
              <a:gd name="T35" fmla="*/ 1890 h 2206"/>
              <a:gd name="T36" fmla="*/ 158 w 2521"/>
              <a:gd name="T37" fmla="*/ 191 h 2206"/>
              <a:gd name="T38" fmla="*/ 190 w 2521"/>
              <a:gd name="T39" fmla="*/ 158 h 2206"/>
              <a:gd name="T40" fmla="*/ 842 w 2521"/>
              <a:gd name="T41" fmla="*/ 158 h 2206"/>
              <a:gd name="T42" fmla="*/ 1078 w 2521"/>
              <a:gd name="T43" fmla="*/ 315 h 2206"/>
              <a:gd name="T44" fmla="*/ 1857 w 2521"/>
              <a:gd name="T45" fmla="*/ 315 h 2206"/>
              <a:gd name="T46" fmla="*/ 1890 w 2521"/>
              <a:gd name="T47" fmla="*/ 348 h 2206"/>
              <a:gd name="T48" fmla="*/ 1890 w 2521"/>
              <a:gd name="T49" fmla="*/ 394 h 2206"/>
              <a:gd name="T50" fmla="*/ 2047 w 2521"/>
              <a:gd name="T51" fmla="*/ 394 h 2206"/>
              <a:gd name="T52" fmla="*/ 2047 w 2521"/>
              <a:gd name="T53" fmla="*/ 283 h 2206"/>
              <a:gd name="T54" fmla="*/ 1922 w 2521"/>
              <a:gd name="T55" fmla="*/ 158 h 2206"/>
              <a:gd name="T56" fmla="*/ 1126 w 2521"/>
              <a:gd name="T57" fmla="*/ 158 h 2206"/>
              <a:gd name="T58" fmla="*/ 890 w 2521"/>
              <a:gd name="T59" fmla="*/ 0 h 2206"/>
              <a:gd name="T60" fmla="*/ 125 w 2521"/>
              <a:gd name="T61" fmla="*/ 0 h 2206"/>
              <a:gd name="T62" fmla="*/ 0 w 2521"/>
              <a:gd name="T63" fmla="*/ 125 h 2206"/>
              <a:gd name="T64" fmla="*/ 0 w 2521"/>
              <a:gd name="T65" fmla="*/ 1890 h 2206"/>
              <a:gd name="T66" fmla="*/ 0 w 2521"/>
              <a:gd name="T67" fmla="*/ 1890 h 2206"/>
              <a:gd name="T68" fmla="*/ 315 w 2521"/>
              <a:gd name="T69" fmla="*/ 2205 h 2206"/>
              <a:gd name="T70" fmla="*/ 2205 w 2521"/>
              <a:gd name="T71" fmla="*/ 2205 h 2206"/>
              <a:gd name="T72" fmla="*/ 2205 w 2521"/>
              <a:gd name="T73" fmla="*/ 2205 h 2206"/>
              <a:gd name="T74" fmla="*/ 2520 w 2521"/>
              <a:gd name="T75" fmla="*/ 1890 h 2206"/>
              <a:gd name="T76" fmla="*/ 2520 w 2521"/>
              <a:gd name="T77" fmla="*/ 598 h 2206"/>
              <a:gd name="T78" fmla="*/ 2395 w 2521"/>
              <a:gd name="T79" fmla="*/ 473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21" h="2206">
                <a:moveTo>
                  <a:pt x="1969" y="1260"/>
                </a:moveTo>
                <a:lnTo>
                  <a:pt x="1024" y="1260"/>
                </a:lnTo>
                <a:lnTo>
                  <a:pt x="1024" y="1103"/>
                </a:lnTo>
                <a:lnTo>
                  <a:pt x="1969" y="1103"/>
                </a:lnTo>
                <a:lnTo>
                  <a:pt x="1969" y="1260"/>
                </a:lnTo>
                <a:close/>
                <a:moveTo>
                  <a:pt x="1732" y="1575"/>
                </a:moveTo>
                <a:lnTo>
                  <a:pt x="1260" y="1575"/>
                </a:lnTo>
                <a:lnTo>
                  <a:pt x="1260" y="1418"/>
                </a:lnTo>
                <a:lnTo>
                  <a:pt x="1732" y="1418"/>
                </a:lnTo>
                <a:lnTo>
                  <a:pt x="1732" y="1575"/>
                </a:lnTo>
                <a:close/>
                <a:moveTo>
                  <a:pt x="2395" y="473"/>
                </a:moveTo>
                <a:lnTo>
                  <a:pt x="597" y="473"/>
                </a:lnTo>
                <a:lnTo>
                  <a:pt x="472" y="598"/>
                </a:lnTo>
                <a:lnTo>
                  <a:pt x="472" y="1890"/>
                </a:lnTo>
                <a:lnTo>
                  <a:pt x="472" y="1890"/>
                </a:lnTo>
                <a:cubicBezTo>
                  <a:pt x="472" y="1977"/>
                  <a:pt x="402" y="2048"/>
                  <a:pt x="315" y="2048"/>
                </a:cubicBezTo>
                <a:lnTo>
                  <a:pt x="315" y="2048"/>
                </a:lnTo>
                <a:cubicBezTo>
                  <a:pt x="228" y="2048"/>
                  <a:pt x="158" y="1977"/>
                  <a:pt x="158" y="1890"/>
                </a:cubicBezTo>
                <a:lnTo>
                  <a:pt x="158" y="191"/>
                </a:lnTo>
                <a:lnTo>
                  <a:pt x="190" y="158"/>
                </a:lnTo>
                <a:lnTo>
                  <a:pt x="842" y="158"/>
                </a:lnTo>
                <a:lnTo>
                  <a:pt x="1078" y="315"/>
                </a:lnTo>
                <a:lnTo>
                  <a:pt x="1857" y="315"/>
                </a:lnTo>
                <a:lnTo>
                  <a:pt x="1890" y="348"/>
                </a:lnTo>
                <a:lnTo>
                  <a:pt x="1890" y="394"/>
                </a:lnTo>
                <a:lnTo>
                  <a:pt x="2047" y="394"/>
                </a:lnTo>
                <a:lnTo>
                  <a:pt x="2047" y="283"/>
                </a:lnTo>
                <a:lnTo>
                  <a:pt x="1922" y="158"/>
                </a:lnTo>
                <a:lnTo>
                  <a:pt x="1126" y="158"/>
                </a:lnTo>
                <a:lnTo>
                  <a:pt x="890" y="0"/>
                </a:lnTo>
                <a:lnTo>
                  <a:pt x="125" y="0"/>
                </a:lnTo>
                <a:lnTo>
                  <a:pt x="0" y="125"/>
                </a:lnTo>
                <a:lnTo>
                  <a:pt x="0" y="1890"/>
                </a:lnTo>
                <a:lnTo>
                  <a:pt x="0" y="1890"/>
                </a:lnTo>
                <a:cubicBezTo>
                  <a:pt x="0" y="2064"/>
                  <a:pt x="142" y="2205"/>
                  <a:pt x="315" y="2205"/>
                </a:cubicBezTo>
                <a:lnTo>
                  <a:pt x="2205" y="2205"/>
                </a:lnTo>
                <a:lnTo>
                  <a:pt x="2205" y="2205"/>
                </a:lnTo>
                <a:cubicBezTo>
                  <a:pt x="2378" y="2205"/>
                  <a:pt x="2520" y="2064"/>
                  <a:pt x="2520" y="1890"/>
                </a:cubicBezTo>
                <a:lnTo>
                  <a:pt x="2520" y="598"/>
                </a:lnTo>
                <a:lnTo>
                  <a:pt x="2395" y="473"/>
                </a:lnTo>
                <a:close/>
              </a:path>
            </a:pathLst>
          </a:custGeom>
          <a:solidFill>
            <a:schemeClr val="bg1"/>
          </a:solidFill>
          <a:ln>
            <a:noFill/>
          </a:ln>
          <a:effectLst/>
        </p:spPr>
        <p:txBody>
          <a:bodyPr wrap="none" anchor="ctr"/>
          <a:lstStyle/>
          <a:p>
            <a:endParaRPr lang="en-US" sz="900">
              <a:latin typeface="Lato Light" panose="020F0502020204030203" pitchFamily="34" charset="0"/>
            </a:endParaRPr>
          </a:p>
        </p:txBody>
      </p:sp>
      <p:sp>
        <p:nvSpPr>
          <p:cNvPr id="32" name="Title 31">
            <a:extLst>
              <a:ext uri="{FF2B5EF4-FFF2-40B4-BE49-F238E27FC236}">
                <a16:creationId xmlns:a16="http://schemas.microsoft.com/office/drawing/2014/main" id="{EADEF2F0-C76F-673A-6B27-6336289F4AAE}"/>
              </a:ext>
            </a:extLst>
          </p:cNvPr>
          <p:cNvSpPr>
            <a:spLocks noGrp="1"/>
          </p:cNvSpPr>
          <p:nvPr>
            <p:ph type="title"/>
          </p:nvPr>
        </p:nvSpPr>
        <p:spPr>
          <a:xfrm>
            <a:off x="760412" y="365125"/>
            <a:ext cx="10593388" cy="1325563"/>
          </a:xfrm>
        </p:spPr>
        <p:txBody>
          <a:bodyPr/>
          <a:lstStyle/>
          <a:p>
            <a:r>
              <a:rPr lang="en-US"/>
              <a:t>Click to edit Master title style</a:t>
            </a:r>
          </a:p>
        </p:txBody>
      </p:sp>
      <p:sp>
        <p:nvSpPr>
          <p:cNvPr id="36" name="Text Placeholder 35">
            <a:extLst>
              <a:ext uri="{FF2B5EF4-FFF2-40B4-BE49-F238E27FC236}">
                <a16:creationId xmlns:a16="http://schemas.microsoft.com/office/drawing/2014/main" id="{E0B37181-EEAD-5D0C-C6BE-1FC6F1050F7D}"/>
              </a:ext>
            </a:extLst>
          </p:cNvPr>
          <p:cNvSpPr>
            <a:spLocks noGrp="1"/>
          </p:cNvSpPr>
          <p:nvPr>
            <p:ph type="body" sz="quarter" idx="10" hasCustomPrompt="1"/>
          </p:nvPr>
        </p:nvSpPr>
        <p:spPr>
          <a:xfrm>
            <a:off x="2194340" y="2062367"/>
            <a:ext cx="2906712" cy="498475"/>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sp>
        <p:nvSpPr>
          <p:cNvPr id="37" name="Text Placeholder 35">
            <a:extLst>
              <a:ext uri="{FF2B5EF4-FFF2-40B4-BE49-F238E27FC236}">
                <a16:creationId xmlns:a16="http://schemas.microsoft.com/office/drawing/2014/main" id="{DD535E0E-9AAB-C022-4ADB-2624A95049C6}"/>
              </a:ext>
            </a:extLst>
          </p:cNvPr>
          <p:cNvSpPr>
            <a:spLocks noGrp="1"/>
          </p:cNvSpPr>
          <p:nvPr>
            <p:ph type="body" sz="quarter" idx="11" hasCustomPrompt="1"/>
          </p:nvPr>
        </p:nvSpPr>
        <p:spPr>
          <a:xfrm>
            <a:off x="2194340" y="3179967"/>
            <a:ext cx="2906712" cy="498475"/>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sp>
        <p:nvSpPr>
          <p:cNvPr id="38" name="Text Placeholder 35">
            <a:extLst>
              <a:ext uri="{FF2B5EF4-FFF2-40B4-BE49-F238E27FC236}">
                <a16:creationId xmlns:a16="http://schemas.microsoft.com/office/drawing/2014/main" id="{11041D8C-AC96-63C5-0995-DD1367A30AEC}"/>
              </a:ext>
            </a:extLst>
          </p:cNvPr>
          <p:cNvSpPr>
            <a:spLocks noGrp="1"/>
          </p:cNvSpPr>
          <p:nvPr>
            <p:ph type="body" sz="quarter" idx="12" hasCustomPrompt="1"/>
          </p:nvPr>
        </p:nvSpPr>
        <p:spPr>
          <a:xfrm>
            <a:off x="2194340" y="4314500"/>
            <a:ext cx="2906712" cy="498475"/>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sp>
        <p:nvSpPr>
          <p:cNvPr id="39" name="Text Placeholder 35">
            <a:extLst>
              <a:ext uri="{FF2B5EF4-FFF2-40B4-BE49-F238E27FC236}">
                <a16:creationId xmlns:a16="http://schemas.microsoft.com/office/drawing/2014/main" id="{EA9E67D8-C5B7-ACF8-9767-936F1B2DC2E0}"/>
              </a:ext>
            </a:extLst>
          </p:cNvPr>
          <p:cNvSpPr>
            <a:spLocks noGrp="1"/>
          </p:cNvSpPr>
          <p:nvPr>
            <p:ph type="body" sz="quarter" idx="13" hasCustomPrompt="1"/>
          </p:nvPr>
        </p:nvSpPr>
        <p:spPr>
          <a:xfrm>
            <a:off x="2194340" y="5457500"/>
            <a:ext cx="2906712" cy="498475"/>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sp>
        <p:nvSpPr>
          <p:cNvPr id="42" name="Text Placeholder 41">
            <a:extLst>
              <a:ext uri="{FF2B5EF4-FFF2-40B4-BE49-F238E27FC236}">
                <a16:creationId xmlns:a16="http://schemas.microsoft.com/office/drawing/2014/main" id="{740E69E2-64DF-6B0A-2403-3537C486B9EC}"/>
              </a:ext>
            </a:extLst>
          </p:cNvPr>
          <p:cNvSpPr>
            <a:spLocks noGrp="1"/>
          </p:cNvSpPr>
          <p:nvPr>
            <p:ph type="body" sz="quarter" idx="14" hasCustomPrompt="1"/>
          </p:nvPr>
        </p:nvSpPr>
        <p:spPr>
          <a:xfrm>
            <a:off x="6251510" y="2062367"/>
            <a:ext cx="1160462" cy="483658"/>
          </a:xfrm>
        </p:spPr>
        <p:txBody>
          <a:bodyPr>
            <a:noAutofit/>
          </a:bodyPr>
          <a:lstStyle>
            <a:lvl1pPr marL="0" indent="0">
              <a:buNone/>
              <a:defRPr sz="3200" b="1">
                <a:solidFill>
                  <a:srgbClr val="007DB2"/>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0%</a:t>
            </a:r>
          </a:p>
        </p:txBody>
      </p:sp>
      <p:sp>
        <p:nvSpPr>
          <p:cNvPr id="43" name="Text Placeholder 41">
            <a:extLst>
              <a:ext uri="{FF2B5EF4-FFF2-40B4-BE49-F238E27FC236}">
                <a16:creationId xmlns:a16="http://schemas.microsoft.com/office/drawing/2014/main" id="{9E26AE68-A2E4-3E50-8E77-00DC41FF5565}"/>
              </a:ext>
            </a:extLst>
          </p:cNvPr>
          <p:cNvSpPr>
            <a:spLocks noGrp="1"/>
          </p:cNvSpPr>
          <p:nvPr>
            <p:ph type="body" sz="quarter" idx="15" hasCustomPrompt="1"/>
          </p:nvPr>
        </p:nvSpPr>
        <p:spPr>
          <a:xfrm>
            <a:off x="6251510" y="3171500"/>
            <a:ext cx="1160462" cy="483658"/>
          </a:xfrm>
        </p:spPr>
        <p:txBody>
          <a:bodyPr>
            <a:noAutofit/>
          </a:bodyPr>
          <a:lstStyle>
            <a:lvl1pPr marL="0" indent="0">
              <a:buNone/>
              <a:defRPr sz="3200" b="1">
                <a:solidFill>
                  <a:srgbClr val="3EB1C8"/>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0%</a:t>
            </a:r>
          </a:p>
        </p:txBody>
      </p:sp>
      <p:sp>
        <p:nvSpPr>
          <p:cNvPr id="44" name="Text Placeholder 41">
            <a:extLst>
              <a:ext uri="{FF2B5EF4-FFF2-40B4-BE49-F238E27FC236}">
                <a16:creationId xmlns:a16="http://schemas.microsoft.com/office/drawing/2014/main" id="{CA392734-3CE8-7FBF-CD76-29ACC6E67CD3}"/>
              </a:ext>
            </a:extLst>
          </p:cNvPr>
          <p:cNvSpPr>
            <a:spLocks noGrp="1"/>
          </p:cNvSpPr>
          <p:nvPr>
            <p:ph type="body" sz="quarter" idx="16" hasCustomPrompt="1"/>
          </p:nvPr>
        </p:nvSpPr>
        <p:spPr>
          <a:xfrm>
            <a:off x="6251510" y="4289100"/>
            <a:ext cx="1160462" cy="483658"/>
          </a:xfrm>
        </p:spPr>
        <p:txBody>
          <a:bodyPr>
            <a:noAutofit/>
          </a:bodyPr>
          <a:lstStyle>
            <a:lvl1pPr marL="0" indent="0">
              <a:buNone/>
              <a:defRPr sz="3200" b="1">
                <a:solidFill>
                  <a:srgbClr val="22B990"/>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0%</a:t>
            </a:r>
          </a:p>
        </p:txBody>
      </p:sp>
      <p:sp>
        <p:nvSpPr>
          <p:cNvPr id="45" name="Text Placeholder 41">
            <a:extLst>
              <a:ext uri="{FF2B5EF4-FFF2-40B4-BE49-F238E27FC236}">
                <a16:creationId xmlns:a16="http://schemas.microsoft.com/office/drawing/2014/main" id="{ED8FB399-CE3C-3737-842B-6A2C2DB99831}"/>
              </a:ext>
            </a:extLst>
          </p:cNvPr>
          <p:cNvSpPr>
            <a:spLocks noGrp="1"/>
          </p:cNvSpPr>
          <p:nvPr>
            <p:ph type="body" sz="quarter" idx="17" hasCustomPrompt="1"/>
          </p:nvPr>
        </p:nvSpPr>
        <p:spPr>
          <a:xfrm>
            <a:off x="6251510" y="5423633"/>
            <a:ext cx="1160462" cy="483658"/>
          </a:xfrm>
        </p:spPr>
        <p:txBody>
          <a:bodyPr>
            <a:noAutofit/>
          </a:bodyPr>
          <a:lstStyle>
            <a:lvl1pPr marL="0" indent="0">
              <a:buNone/>
              <a:defRPr sz="3200" b="1">
                <a:solidFill>
                  <a:srgbClr val="FFC36F"/>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0%</a:t>
            </a:r>
          </a:p>
        </p:txBody>
      </p:sp>
      <p:sp>
        <p:nvSpPr>
          <p:cNvPr id="47" name="Text Placeholder 46">
            <a:extLst>
              <a:ext uri="{FF2B5EF4-FFF2-40B4-BE49-F238E27FC236}">
                <a16:creationId xmlns:a16="http://schemas.microsoft.com/office/drawing/2014/main" id="{809BCEF6-F100-D989-5200-DB05E3AF4386}"/>
              </a:ext>
            </a:extLst>
          </p:cNvPr>
          <p:cNvSpPr>
            <a:spLocks noGrp="1"/>
          </p:cNvSpPr>
          <p:nvPr>
            <p:ph type="body" sz="quarter" idx="18" hasCustomPrompt="1"/>
          </p:nvPr>
        </p:nvSpPr>
        <p:spPr>
          <a:xfrm>
            <a:off x="7913688" y="5249863"/>
            <a:ext cx="3516312" cy="939800"/>
          </a:xfrm>
        </p:spPr>
        <p:txBody>
          <a:bodyPr>
            <a:noAutofit/>
          </a:bodyPr>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algn="l">
              <a:lnSpc>
                <a:spcPts val="1750"/>
              </a:lnSpc>
            </a:pPr>
            <a:r>
              <a:rPr lang="en-US" sz="1200">
                <a:latin typeface="Montserrat Medium" panose="00000600000000000000" pitchFamily="2" charset="0"/>
                <a:ea typeface="Lato Light" panose="020F0502020204030203" pitchFamily="34" charset="0"/>
                <a:cs typeface="Lato Light" panose="020F0502020204030203" pitchFamily="34" charset="0"/>
              </a:rPr>
              <a:t>For many small business owners, maintaining positive cash flow and a stable balance sheet can be an ongoing battle that consumes virtually all of. </a:t>
            </a:r>
          </a:p>
        </p:txBody>
      </p:sp>
      <p:sp>
        <p:nvSpPr>
          <p:cNvPr id="48" name="Text Placeholder 46">
            <a:extLst>
              <a:ext uri="{FF2B5EF4-FFF2-40B4-BE49-F238E27FC236}">
                <a16:creationId xmlns:a16="http://schemas.microsoft.com/office/drawing/2014/main" id="{30CACD3A-C04B-3414-8790-23851934C69F}"/>
              </a:ext>
            </a:extLst>
          </p:cNvPr>
          <p:cNvSpPr>
            <a:spLocks noGrp="1"/>
          </p:cNvSpPr>
          <p:nvPr>
            <p:ph type="body" sz="quarter" idx="19" hasCustomPrompt="1"/>
          </p:nvPr>
        </p:nvSpPr>
        <p:spPr>
          <a:xfrm>
            <a:off x="7913688" y="4132263"/>
            <a:ext cx="3516312" cy="939800"/>
          </a:xfrm>
        </p:spPr>
        <p:txBody>
          <a:bodyPr>
            <a:noAutofit/>
          </a:bodyPr>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algn="l">
              <a:lnSpc>
                <a:spcPts val="1750"/>
              </a:lnSpc>
            </a:pPr>
            <a:r>
              <a:rPr lang="en-US" sz="1200">
                <a:latin typeface="Montserrat Medium" panose="00000600000000000000" pitchFamily="2" charset="0"/>
                <a:ea typeface="Lato Light" panose="020F0502020204030203" pitchFamily="34" charset="0"/>
                <a:cs typeface="Lato Light" panose="020F0502020204030203" pitchFamily="34" charset="0"/>
              </a:rPr>
              <a:t>For many small business owners, maintaining positive cash flow and a stable balance sheet can be an ongoing battle that consumes virtually all of. </a:t>
            </a:r>
          </a:p>
        </p:txBody>
      </p:sp>
      <p:sp>
        <p:nvSpPr>
          <p:cNvPr id="49" name="Text Placeholder 46">
            <a:extLst>
              <a:ext uri="{FF2B5EF4-FFF2-40B4-BE49-F238E27FC236}">
                <a16:creationId xmlns:a16="http://schemas.microsoft.com/office/drawing/2014/main" id="{0D450ECD-1401-ED97-619F-9C97D3D0E2ED}"/>
              </a:ext>
            </a:extLst>
          </p:cNvPr>
          <p:cNvSpPr>
            <a:spLocks noGrp="1"/>
          </p:cNvSpPr>
          <p:nvPr>
            <p:ph type="body" sz="quarter" idx="20" hasCustomPrompt="1"/>
          </p:nvPr>
        </p:nvSpPr>
        <p:spPr>
          <a:xfrm>
            <a:off x="7913688" y="3014663"/>
            <a:ext cx="3516312" cy="939800"/>
          </a:xfrm>
        </p:spPr>
        <p:txBody>
          <a:bodyPr>
            <a:noAutofit/>
          </a:bodyPr>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algn="l">
              <a:lnSpc>
                <a:spcPts val="1750"/>
              </a:lnSpc>
            </a:pPr>
            <a:r>
              <a:rPr lang="en-US" sz="1200">
                <a:latin typeface="Montserrat Medium" panose="00000600000000000000" pitchFamily="2" charset="0"/>
                <a:ea typeface="Lato Light" panose="020F0502020204030203" pitchFamily="34" charset="0"/>
                <a:cs typeface="Lato Light" panose="020F0502020204030203" pitchFamily="34" charset="0"/>
              </a:rPr>
              <a:t>For many small business owners, maintaining positive cash flow and a stable balance sheet can be an ongoing battle that consumes virtually all of. </a:t>
            </a:r>
          </a:p>
        </p:txBody>
      </p:sp>
      <p:sp>
        <p:nvSpPr>
          <p:cNvPr id="50" name="Text Placeholder 46">
            <a:extLst>
              <a:ext uri="{FF2B5EF4-FFF2-40B4-BE49-F238E27FC236}">
                <a16:creationId xmlns:a16="http://schemas.microsoft.com/office/drawing/2014/main" id="{FE8C9A9E-EC0F-F20B-E7FE-966319630C9C}"/>
              </a:ext>
            </a:extLst>
          </p:cNvPr>
          <p:cNvSpPr>
            <a:spLocks noGrp="1"/>
          </p:cNvSpPr>
          <p:nvPr>
            <p:ph type="body" sz="quarter" idx="21" hasCustomPrompt="1"/>
          </p:nvPr>
        </p:nvSpPr>
        <p:spPr>
          <a:xfrm>
            <a:off x="7913688" y="1897063"/>
            <a:ext cx="3516312" cy="939800"/>
          </a:xfrm>
        </p:spPr>
        <p:txBody>
          <a:bodyPr>
            <a:noAutofit/>
          </a:bodyPr>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algn="l">
              <a:lnSpc>
                <a:spcPts val="1750"/>
              </a:lnSpc>
            </a:pPr>
            <a:r>
              <a:rPr lang="en-US" sz="1200">
                <a:latin typeface="Montserrat Medium" panose="00000600000000000000" pitchFamily="2" charset="0"/>
                <a:ea typeface="Lato Light" panose="020F0502020204030203" pitchFamily="34" charset="0"/>
                <a:cs typeface="Lato Light" panose="020F0502020204030203" pitchFamily="34" charset="0"/>
              </a:rPr>
              <a:t>For many small business owners, maintaining positive cash flow and a stable balance sheet can be an ongoing battle that consumes virtually all of. </a:t>
            </a:r>
          </a:p>
        </p:txBody>
      </p:sp>
      <p:sp>
        <p:nvSpPr>
          <p:cNvPr id="51" name="Rectangle 50">
            <a:extLst>
              <a:ext uri="{FF2B5EF4-FFF2-40B4-BE49-F238E27FC236}">
                <a16:creationId xmlns:a16="http://schemas.microsoft.com/office/drawing/2014/main" id="{64107F6F-AD3E-3D94-B143-B60FF8D455D5}"/>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208339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758A7-98BA-8D1F-7972-D19C62672FE5}"/>
              </a:ext>
            </a:extLst>
          </p:cNvPr>
          <p:cNvSpPr>
            <a:spLocks noGrp="1"/>
          </p:cNvSpPr>
          <p:nvPr>
            <p:ph type="title"/>
          </p:nvPr>
        </p:nvSpPr>
        <p:spPr>
          <a:xfrm>
            <a:off x="838200" y="365126"/>
            <a:ext cx="10515600" cy="735762"/>
          </a:xfrm>
        </p:spPr>
        <p:txBody>
          <a:bodyPr>
            <a:normAutofit/>
          </a:bodyPr>
          <a:lstStyle>
            <a:lvl1pPr algn="ctr">
              <a:defRPr sz="3600"/>
            </a:lvl1pPr>
          </a:lstStyle>
          <a:p>
            <a:r>
              <a:rPr lang="en-US"/>
              <a:t>Click to edit Master title style</a:t>
            </a:r>
          </a:p>
        </p:txBody>
      </p:sp>
      <p:sp>
        <p:nvSpPr>
          <p:cNvPr id="3" name="Parallelogram 2">
            <a:extLst>
              <a:ext uri="{FF2B5EF4-FFF2-40B4-BE49-F238E27FC236}">
                <a16:creationId xmlns:a16="http://schemas.microsoft.com/office/drawing/2014/main" id="{C087650B-E11D-539D-1634-D966549505F6}"/>
              </a:ext>
            </a:extLst>
          </p:cNvPr>
          <p:cNvSpPr/>
          <p:nvPr userDrawn="1"/>
        </p:nvSpPr>
        <p:spPr>
          <a:xfrm>
            <a:off x="762000" y="1621530"/>
            <a:ext cx="1512427" cy="1240530"/>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4" name="Parallelogram 3">
            <a:extLst>
              <a:ext uri="{FF2B5EF4-FFF2-40B4-BE49-F238E27FC236}">
                <a16:creationId xmlns:a16="http://schemas.microsoft.com/office/drawing/2014/main" id="{6F1CD160-1448-E607-44B9-B32EC330F024}"/>
              </a:ext>
            </a:extLst>
          </p:cNvPr>
          <p:cNvSpPr/>
          <p:nvPr userDrawn="1"/>
        </p:nvSpPr>
        <p:spPr>
          <a:xfrm>
            <a:off x="1961194" y="1621530"/>
            <a:ext cx="3462911" cy="1240530"/>
          </a:xfrm>
          <a:prstGeom prst="parallelogram">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5" name="Parallelogram 4">
            <a:extLst>
              <a:ext uri="{FF2B5EF4-FFF2-40B4-BE49-F238E27FC236}">
                <a16:creationId xmlns:a16="http://schemas.microsoft.com/office/drawing/2014/main" id="{E4C62205-551C-2AB0-3732-5F888334C79F}"/>
              </a:ext>
            </a:extLst>
          </p:cNvPr>
          <p:cNvSpPr/>
          <p:nvPr userDrawn="1"/>
        </p:nvSpPr>
        <p:spPr>
          <a:xfrm>
            <a:off x="6096000" y="1621530"/>
            <a:ext cx="1512427" cy="1240530"/>
          </a:xfrm>
          <a:prstGeom prst="parallelogram">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6" name="Parallelogram 5">
            <a:extLst>
              <a:ext uri="{FF2B5EF4-FFF2-40B4-BE49-F238E27FC236}">
                <a16:creationId xmlns:a16="http://schemas.microsoft.com/office/drawing/2014/main" id="{35547ED1-58AC-577C-44D3-BC197FF55C5E}"/>
              </a:ext>
            </a:extLst>
          </p:cNvPr>
          <p:cNvSpPr/>
          <p:nvPr userDrawn="1"/>
        </p:nvSpPr>
        <p:spPr>
          <a:xfrm>
            <a:off x="7295194" y="1621530"/>
            <a:ext cx="3462911" cy="1240530"/>
          </a:xfrm>
          <a:prstGeom prst="parallelogram">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7" name="Parallelogram 6">
            <a:extLst>
              <a:ext uri="{FF2B5EF4-FFF2-40B4-BE49-F238E27FC236}">
                <a16:creationId xmlns:a16="http://schemas.microsoft.com/office/drawing/2014/main" id="{D8DC3273-6889-5F75-0BF6-7C4A39581E10}"/>
              </a:ext>
            </a:extLst>
          </p:cNvPr>
          <p:cNvSpPr/>
          <p:nvPr userDrawn="1"/>
        </p:nvSpPr>
        <p:spPr>
          <a:xfrm>
            <a:off x="1433896" y="3429000"/>
            <a:ext cx="1512427" cy="1240530"/>
          </a:xfrm>
          <a:prstGeom prst="parallelogram">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8" name="Parallelogram 7">
            <a:extLst>
              <a:ext uri="{FF2B5EF4-FFF2-40B4-BE49-F238E27FC236}">
                <a16:creationId xmlns:a16="http://schemas.microsoft.com/office/drawing/2014/main" id="{848C78FD-92CB-D9DF-94D4-034ADF94C860}"/>
              </a:ext>
            </a:extLst>
          </p:cNvPr>
          <p:cNvSpPr/>
          <p:nvPr userDrawn="1"/>
        </p:nvSpPr>
        <p:spPr>
          <a:xfrm>
            <a:off x="2633090" y="3429000"/>
            <a:ext cx="3462911" cy="1240530"/>
          </a:xfrm>
          <a:prstGeom prst="parallelogram">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9" name="Parallelogram 8">
            <a:extLst>
              <a:ext uri="{FF2B5EF4-FFF2-40B4-BE49-F238E27FC236}">
                <a16:creationId xmlns:a16="http://schemas.microsoft.com/office/drawing/2014/main" id="{323E4B6C-1EAD-AE72-9D12-E7AD52173217}"/>
              </a:ext>
            </a:extLst>
          </p:cNvPr>
          <p:cNvSpPr/>
          <p:nvPr userDrawn="1"/>
        </p:nvSpPr>
        <p:spPr>
          <a:xfrm>
            <a:off x="6767896" y="3429000"/>
            <a:ext cx="1512427" cy="1240530"/>
          </a:xfrm>
          <a:prstGeom prst="parallelogram">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0" name="Parallelogram 9">
            <a:extLst>
              <a:ext uri="{FF2B5EF4-FFF2-40B4-BE49-F238E27FC236}">
                <a16:creationId xmlns:a16="http://schemas.microsoft.com/office/drawing/2014/main" id="{0E938C92-7C84-65A8-6525-E00328E567B5}"/>
              </a:ext>
            </a:extLst>
          </p:cNvPr>
          <p:cNvSpPr/>
          <p:nvPr userDrawn="1"/>
        </p:nvSpPr>
        <p:spPr>
          <a:xfrm>
            <a:off x="7967090" y="3429000"/>
            <a:ext cx="3462911" cy="1240530"/>
          </a:xfrm>
          <a:prstGeom prst="parallelogram">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1" name="Parallelogram 10">
            <a:extLst>
              <a:ext uri="{FF2B5EF4-FFF2-40B4-BE49-F238E27FC236}">
                <a16:creationId xmlns:a16="http://schemas.microsoft.com/office/drawing/2014/main" id="{95C33500-32B0-4CE2-1AED-F335391B0B26}"/>
              </a:ext>
            </a:extLst>
          </p:cNvPr>
          <p:cNvSpPr/>
          <p:nvPr userDrawn="1"/>
        </p:nvSpPr>
        <p:spPr>
          <a:xfrm>
            <a:off x="762000" y="5236470"/>
            <a:ext cx="1512427" cy="1240530"/>
          </a:xfrm>
          <a:prstGeom prst="parallelogram">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2" name="Parallelogram 11">
            <a:extLst>
              <a:ext uri="{FF2B5EF4-FFF2-40B4-BE49-F238E27FC236}">
                <a16:creationId xmlns:a16="http://schemas.microsoft.com/office/drawing/2014/main" id="{7B76A0D0-8A8D-5105-DB7B-B9F31D4C1C41}"/>
              </a:ext>
            </a:extLst>
          </p:cNvPr>
          <p:cNvSpPr/>
          <p:nvPr userDrawn="1"/>
        </p:nvSpPr>
        <p:spPr>
          <a:xfrm>
            <a:off x="1961194" y="5236470"/>
            <a:ext cx="3462911" cy="1240530"/>
          </a:xfrm>
          <a:prstGeom prst="parallelogram">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3" name="Parallelogram 12">
            <a:extLst>
              <a:ext uri="{FF2B5EF4-FFF2-40B4-BE49-F238E27FC236}">
                <a16:creationId xmlns:a16="http://schemas.microsoft.com/office/drawing/2014/main" id="{525F4201-9754-442F-E46D-A59AF8F225C7}"/>
              </a:ext>
            </a:extLst>
          </p:cNvPr>
          <p:cNvSpPr/>
          <p:nvPr userDrawn="1"/>
        </p:nvSpPr>
        <p:spPr>
          <a:xfrm>
            <a:off x="6096000" y="5236470"/>
            <a:ext cx="1512427" cy="1240530"/>
          </a:xfrm>
          <a:prstGeom prst="parallelogram">
            <a:avLst/>
          </a:prstGeom>
          <a:solidFill>
            <a:srgbClr val="004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4" name="Parallelogram 13">
            <a:extLst>
              <a:ext uri="{FF2B5EF4-FFF2-40B4-BE49-F238E27FC236}">
                <a16:creationId xmlns:a16="http://schemas.microsoft.com/office/drawing/2014/main" id="{E299C1CC-87C3-1B43-9267-F6815C05407A}"/>
              </a:ext>
            </a:extLst>
          </p:cNvPr>
          <p:cNvSpPr/>
          <p:nvPr userDrawn="1"/>
        </p:nvSpPr>
        <p:spPr>
          <a:xfrm>
            <a:off x="7295194" y="5236470"/>
            <a:ext cx="3462911" cy="1240530"/>
          </a:xfrm>
          <a:prstGeom prst="parallelogram">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3" name="Freeform 22">
            <a:extLst>
              <a:ext uri="{FF2B5EF4-FFF2-40B4-BE49-F238E27FC236}">
                <a16:creationId xmlns:a16="http://schemas.microsoft.com/office/drawing/2014/main" id="{3251123E-051E-1D3D-4B5C-28003FB3DE98}"/>
              </a:ext>
            </a:extLst>
          </p:cNvPr>
          <p:cNvSpPr>
            <a:spLocks noChangeArrowheads="1"/>
          </p:cNvSpPr>
          <p:nvPr userDrawn="1"/>
        </p:nvSpPr>
        <p:spPr bwMode="auto">
          <a:xfrm>
            <a:off x="1318811" y="1893916"/>
            <a:ext cx="398804" cy="695758"/>
          </a:xfrm>
          <a:custGeom>
            <a:avLst/>
            <a:gdLst>
              <a:gd name="connsiteX0" fmla="*/ 142915 w 502974"/>
              <a:gd name="connsiteY0" fmla="*/ 688036 h 877494"/>
              <a:gd name="connsiteX1" fmla="*/ 85151 w 502974"/>
              <a:gd name="connsiteY1" fmla="*/ 702746 h 877494"/>
              <a:gd name="connsiteX2" fmla="*/ 55013 w 502974"/>
              <a:gd name="connsiteY2" fmla="*/ 754052 h 877494"/>
              <a:gd name="connsiteX3" fmla="*/ 69723 w 502974"/>
              <a:gd name="connsiteY3" fmla="*/ 811817 h 877494"/>
              <a:gd name="connsiteX4" fmla="*/ 121029 w 502974"/>
              <a:gd name="connsiteY4" fmla="*/ 842313 h 877494"/>
              <a:gd name="connsiteX5" fmla="*/ 179152 w 502974"/>
              <a:gd name="connsiteY5" fmla="*/ 827244 h 877494"/>
              <a:gd name="connsiteX6" fmla="*/ 209290 w 502974"/>
              <a:gd name="connsiteY6" fmla="*/ 775938 h 877494"/>
              <a:gd name="connsiteX7" fmla="*/ 194221 w 502974"/>
              <a:gd name="connsiteY7" fmla="*/ 718174 h 877494"/>
              <a:gd name="connsiteX8" fmla="*/ 142915 w 502974"/>
              <a:gd name="connsiteY8" fmla="*/ 688036 h 877494"/>
              <a:gd name="connsiteX9" fmla="*/ 395164 w 502974"/>
              <a:gd name="connsiteY9" fmla="*/ 684562 h 877494"/>
              <a:gd name="connsiteX10" fmla="*/ 337310 w 502974"/>
              <a:gd name="connsiteY10" fmla="*/ 699654 h 877494"/>
              <a:gd name="connsiteX11" fmla="*/ 307126 w 502974"/>
              <a:gd name="connsiteY11" fmla="*/ 751040 h 877494"/>
              <a:gd name="connsiteX12" fmla="*/ 321859 w 502974"/>
              <a:gd name="connsiteY12" fmla="*/ 808894 h 877494"/>
              <a:gd name="connsiteX13" fmla="*/ 373604 w 502974"/>
              <a:gd name="connsiteY13" fmla="*/ 839078 h 877494"/>
              <a:gd name="connsiteX14" fmla="*/ 431458 w 502974"/>
              <a:gd name="connsiteY14" fmla="*/ 823986 h 877494"/>
              <a:gd name="connsiteX15" fmla="*/ 461642 w 502974"/>
              <a:gd name="connsiteY15" fmla="*/ 772600 h 877494"/>
              <a:gd name="connsiteX16" fmla="*/ 446550 w 502974"/>
              <a:gd name="connsiteY16" fmla="*/ 714746 h 877494"/>
              <a:gd name="connsiteX17" fmla="*/ 395164 w 502974"/>
              <a:gd name="connsiteY17" fmla="*/ 684562 h 877494"/>
              <a:gd name="connsiteX18" fmla="*/ 255606 w 502974"/>
              <a:gd name="connsiteY18" fmla="*/ 524023 h 877494"/>
              <a:gd name="connsiteX19" fmla="*/ 231859 w 502974"/>
              <a:gd name="connsiteY19" fmla="*/ 548124 h 877494"/>
              <a:gd name="connsiteX20" fmla="*/ 255965 w 502974"/>
              <a:gd name="connsiteY20" fmla="*/ 571505 h 877494"/>
              <a:gd name="connsiteX21" fmla="*/ 279352 w 502974"/>
              <a:gd name="connsiteY21" fmla="*/ 547404 h 877494"/>
              <a:gd name="connsiteX22" fmla="*/ 255606 w 502974"/>
              <a:gd name="connsiteY22" fmla="*/ 524023 h 877494"/>
              <a:gd name="connsiteX23" fmla="*/ 230576 w 502974"/>
              <a:gd name="connsiteY23" fmla="*/ 328549 h 877494"/>
              <a:gd name="connsiteX24" fmla="*/ 266735 w 502974"/>
              <a:gd name="connsiteY24" fmla="*/ 328549 h 877494"/>
              <a:gd name="connsiteX25" fmla="*/ 266735 w 502974"/>
              <a:gd name="connsiteY25" fmla="*/ 369528 h 877494"/>
              <a:gd name="connsiteX26" fmla="*/ 230576 w 502974"/>
              <a:gd name="connsiteY26" fmla="*/ 369528 h 877494"/>
              <a:gd name="connsiteX27" fmla="*/ 230576 w 502974"/>
              <a:gd name="connsiteY27" fmla="*/ 219272 h 877494"/>
              <a:gd name="connsiteX28" fmla="*/ 266735 w 502974"/>
              <a:gd name="connsiteY28" fmla="*/ 219272 h 877494"/>
              <a:gd name="connsiteX29" fmla="*/ 266735 w 502974"/>
              <a:gd name="connsiteY29" fmla="*/ 292243 h 877494"/>
              <a:gd name="connsiteX30" fmla="*/ 230576 w 502974"/>
              <a:gd name="connsiteY30" fmla="*/ 292243 h 877494"/>
              <a:gd name="connsiteX31" fmla="*/ 230576 w 502974"/>
              <a:gd name="connsiteY31" fmla="*/ 109636 h 877494"/>
              <a:gd name="connsiteX32" fmla="*/ 266735 w 502974"/>
              <a:gd name="connsiteY32" fmla="*/ 109636 h 877494"/>
              <a:gd name="connsiteX33" fmla="*/ 266735 w 502974"/>
              <a:gd name="connsiteY33" fmla="*/ 182607 h 877494"/>
              <a:gd name="connsiteX34" fmla="*/ 230576 w 502974"/>
              <a:gd name="connsiteY34" fmla="*/ 182607 h 877494"/>
              <a:gd name="connsiteX35" fmla="*/ 453134 w 502974"/>
              <a:gd name="connsiteY35" fmla="*/ 68262 h 877494"/>
              <a:gd name="connsiteX36" fmla="*/ 469325 w 502974"/>
              <a:gd name="connsiteY36" fmla="*/ 91644 h 877494"/>
              <a:gd name="connsiteX37" fmla="*/ 352751 w 502974"/>
              <a:gd name="connsiteY37" fmla="*/ 521505 h 877494"/>
              <a:gd name="connsiteX38" fmla="*/ 320369 w 502974"/>
              <a:gd name="connsiteY38" fmla="*/ 567189 h 877494"/>
              <a:gd name="connsiteX39" fmla="*/ 367434 w 502974"/>
              <a:gd name="connsiteY39" fmla="*/ 652288 h 877494"/>
              <a:gd name="connsiteX40" fmla="*/ 399836 w 502974"/>
              <a:gd name="connsiteY40" fmla="*/ 650424 h 877494"/>
              <a:gd name="connsiteX41" fmla="*/ 474219 w 502974"/>
              <a:gd name="connsiteY41" fmla="*/ 693904 h 877494"/>
              <a:gd name="connsiteX42" fmla="*/ 496139 w 502974"/>
              <a:gd name="connsiteY42" fmla="*/ 777272 h 877494"/>
              <a:gd name="connsiteX43" fmla="*/ 451940 w 502974"/>
              <a:gd name="connsiteY43" fmla="*/ 851655 h 877494"/>
              <a:gd name="connsiteX44" fmla="*/ 368932 w 502974"/>
              <a:gd name="connsiteY44" fmla="*/ 873575 h 877494"/>
              <a:gd name="connsiteX45" fmla="*/ 294549 w 502974"/>
              <a:gd name="connsiteY45" fmla="*/ 829376 h 877494"/>
              <a:gd name="connsiteX46" fmla="*/ 272988 w 502974"/>
              <a:gd name="connsiteY46" fmla="*/ 746368 h 877494"/>
              <a:gd name="connsiteX47" fmla="*/ 286966 w 502974"/>
              <a:gd name="connsiteY47" fmla="*/ 705854 h 877494"/>
              <a:gd name="connsiteX48" fmla="*/ 257045 w 502974"/>
              <a:gd name="connsiteY48" fmla="*/ 662873 h 877494"/>
              <a:gd name="connsiteX49" fmla="*/ 227250 w 502974"/>
              <a:gd name="connsiteY49" fmla="*/ 708452 h 877494"/>
              <a:gd name="connsiteX50" fmla="*/ 240684 w 502974"/>
              <a:gd name="connsiteY50" fmla="*/ 736023 h 877494"/>
              <a:gd name="connsiteX51" fmla="*/ 243375 w 502974"/>
              <a:gd name="connsiteY51" fmla="*/ 780602 h 877494"/>
              <a:gd name="connsiteX52" fmla="*/ 199603 w 502974"/>
              <a:gd name="connsiteY52" fmla="*/ 854871 h 877494"/>
              <a:gd name="connsiteX53" fmla="*/ 116365 w 502974"/>
              <a:gd name="connsiteY53" fmla="*/ 876398 h 877494"/>
              <a:gd name="connsiteX54" fmla="*/ 42096 w 502974"/>
              <a:gd name="connsiteY54" fmla="*/ 832626 h 877494"/>
              <a:gd name="connsiteX55" fmla="*/ 20569 w 502974"/>
              <a:gd name="connsiteY55" fmla="*/ 749388 h 877494"/>
              <a:gd name="connsiteX56" fmla="*/ 64341 w 502974"/>
              <a:gd name="connsiteY56" fmla="*/ 675120 h 877494"/>
              <a:gd name="connsiteX57" fmla="*/ 103000 w 502974"/>
              <a:gd name="connsiteY57" fmla="*/ 656283 h 877494"/>
              <a:gd name="connsiteX58" fmla="*/ 147255 w 502974"/>
              <a:gd name="connsiteY58" fmla="*/ 653612 h 877494"/>
              <a:gd name="connsiteX59" fmla="*/ 191562 w 502974"/>
              <a:gd name="connsiteY59" fmla="*/ 568627 h 877494"/>
              <a:gd name="connsiteX60" fmla="*/ 158101 w 502974"/>
              <a:gd name="connsiteY60" fmla="*/ 523663 h 877494"/>
              <a:gd name="connsiteX61" fmla="*/ 31092 w 502974"/>
              <a:gd name="connsiteY61" fmla="*/ 96680 h 877494"/>
              <a:gd name="connsiteX62" fmla="*/ 46923 w 502974"/>
              <a:gd name="connsiteY62" fmla="*/ 73298 h 877494"/>
              <a:gd name="connsiteX63" fmla="*/ 60596 w 502974"/>
              <a:gd name="connsiteY63" fmla="*/ 98118 h 877494"/>
              <a:gd name="connsiteX64" fmla="*/ 254526 w 502974"/>
              <a:gd name="connsiteY64" fmla="*/ 448482 h 877494"/>
              <a:gd name="connsiteX65" fmla="*/ 439821 w 502974"/>
              <a:gd name="connsiteY65" fmla="*/ 93442 h 877494"/>
              <a:gd name="connsiteX66" fmla="*/ 230576 w 502974"/>
              <a:gd name="connsiteY66" fmla="*/ 0 h 877494"/>
              <a:gd name="connsiteX67" fmla="*/ 266735 w 502974"/>
              <a:gd name="connsiteY67" fmla="*/ 0 h 877494"/>
              <a:gd name="connsiteX68" fmla="*/ 266735 w 502974"/>
              <a:gd name="connsiteY68" fmla="*/ 72971 h 877494"/>
              <a:gd name="connsiteX69" fmla="*/ 230576 w 502974"/>
              <a:gd name="connsiteY69" fmla="*/ 72971 h 877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02974" h="877494">
                <a:moveTo>
                  <a:pt x="142915" y="688036"/>
                </a:moveTo>
                <a:cubicBezTo>
                  <a:pt x="121388" y="685166"/>
                  <a:pt x="100937" y="690906"/>
                  <a:pt x="85151" y="702746"/>
                </a:cubicBezTo>
                <a:cubicBezTo>
                  <a:pt x="69364" y="714945"/>
                  <a:pt x="57883" y="732884"/>
                  <a:pt x="55013" y="754052"/>
                </a:cubicBezTo>
                <a:cubicBezTo>
                  <a:pt x="52142" y="775579"/>
                  <a:pt x="57883" y="796030"/>
                  <a:pt x="69723" y="811817"/>
                </a:cubicBezTo>
                <a:cubicBezTo>
                  <a:pt x="81921" y="827962"/>
                  <a:pt x="99861" y="839084"/>
                  <a:pt x="121029" y="842313"/>
                </a:cubicBezTo>
                <a:cubicBezTo>
                  <a:pt x="142556" y="845184"/>
                  <a:pt x="163007" y="839084"/>
                  <a:pt x="179152" y="827244"/>
                </a:cubicBezTo>
                <a:cubicBezTo>
                  <a:pt x="194939" y="815046"/>
                  <a:pt x="206061" y="797106"/>
                  <a:pt x="209290" y="775938"/>
                </a:cubicBezTo>
                <a:cubicBezTo>
                  <a:pt x="212160" y="754411"/>
                  <a:pt x="206061" y="733960"/>
                  <a:pt x="194221" y="718174"/>
                </a:cubicBezTo>
                <a:cubicBezTo>
                  <a:pt x="182381" y="702387"/>
                  <a:pt x="164083" y="690906"/>
                  <a:pt x="142915" y="688036"/>
                </a:cubicBezTo>
                <a:close/>
                <a:moveTo>
                  <a:pt x="395164" y="684562"/>
                </a:moveTo>
                <a:cubicBezTo>
                  <a:pt x="373604" y="681687"/>
                  <a:pt x="353121" y="687436"/>
                  <a:pt x="337310" y="699654"/>
                </a:cubicBezTo>
                <a:cubicBezTo>
                  <a:pt x="321499" y="711512"/>
                  <a:pt x="310360" y="729839"/>
                  <a:pt x="307126" y="751040"/>
                </a:cubicBezTo>
                <a:cubicBezTo>
                  <a:pt x="304251" y="772241"/>
                  <a:pt x="310000" y="793083"/>
                  <a:pt x="321859" y="808894"/>
                </a:cubicBezTo>
                <a:cubicBezTo>
                  <a:pt x="334076" y="824705"/>
                  <a:pt x="352043" y="835844"/>
                  <a:pt x="373604" y="839078"/>
                </a:cubicBezTo>
                <a:cubicBezTo>
                  <a:pt x="394805" y="841953"/>
                  <a:pt x="415647" y="835844"/>
                  <a:pt x="431458" y="823986"/>
                </a:cubicBezTo>
                <a:cubicBezTo>
                  <a:pt x="447269" y="812128"/>
                  <a:pt x="458408" y="794161"/>
                  <a:pt x="461642" y="772600"/>
                </a:cubicBezTo>
                <a:cubicBezTo>
                  <a:pt x="464517" y="751399"/>
                  <a:pt x="458408" y="730557"/>
                  <a:pt x="446550" y="714746"/>
                </a:cubicBezTo>
                <a:cubicBezTo>
                  <a:pt x="434692" y="698935"/>
                  <a:pt x="416725" y="687796"/>
                  <a:pt x="395164" y="684562"/>
                </a:cubicBezTo>
                <a:close/>
                <a:moveTo>
                  <a:pt x="255606" y="524023"/>
                </a:moveTo>
                <a:cubicBezTo>
                  <a:pt x="242293" y="524382"/>
                  <a:pt x="231859" y="535174"/>
                  <a:pt x="231859" y="548124"/>
                </a:cubicBezTo>
                <a:cubicBezTo>
                  <a:pt x="232219" y="561433"/>
                  <a:pt x="243013" y="571505"/>
                  <a:pt x="255965" y="571505"/>
                </a:cubicBezTo>
                <a:cubicBezTo>
                  <a:pt x="269278" y="571505"/>
                  <a:pt x="279712" y="560714"/>
                  <a:pt x="279352" y="547404"/>
                </a:cubicBezTo>
                <a:cubicBezTo>
                  <a:pt x="279352" y="534454"/>
                  <a:pt x="268558" y="524023"/>
                  <a:pt x="255606" y="524023"/>
                </a:cubicBezTo>
                <a:close/>
                <a:moveTo>
                  <a:pt x="230576" y="328549"/>
                </a:moveTo>
                <a:lnTo>
                  <a:pt x="266735" y="328549"/>
                </a:lnTo>
                <a:lnTo>
                  <a:pt x="266735" y="369528"/>
                </a:lnTo>
                <a:lnTo>
                  <a:pt x="230576" y="369528"/>
                </a:lnTo>
                <a:close/>
                <a:moveTo>
                  <a:pt x="230576" y="219272"/>
                </a:moveTo>
                <a:lnTo>
                  <a:pt x="266735" y="219272"/>
                </a:lnTo>
                <a:lnTo>
                  <a:pt x="266735" y="292243"/>
                </a:lnTo>
                <a:lnTo>
                  <a:pt x="230576" y="292243"/>
                </a:lnTo>
                <a:close/>
                <a:moveTo>
                  <a:pt x="230576" y="109636"/>
                </a:moveTo>
                <a:lnTo>
                  <a:pt x="266735" y="109636"/>
                </a:lnTo>
                <a:lnTo>
                  <a:pt x="266735" y="182607"/>
                </a:lnTo>
                <a:lnTo>
                  <a:pt x="230576" y="182607"/>
                </a:lnTo>
                <a:close/>
                <a:moveTo>
                  <a:pt x="453134" y="68262"/>
                </a:moveTo>
                <a:lnTo>
                  <a:pt x="469325" y="91644"/>
                </a:lnTo>
                <a:cubicBezTo>
                  <a:pt x="563591" y="226177"/>
                  <a:pt x="438742" y="401000"/>
                  <a:pt x="352751" y="521505"/>
                </a:cubicBezTo>
                <a:cubicBezTo>
                  <a:pt x="340877" y="538052"/>
                  <a:pt x="329724" y="553519"/>
                  <a:pt x="320369" y="567189"/>
                </a:cubicBezTo>
                <a:lnTo>
                  <a:pt x="367434" y="652288"/>
                </a:lnTo>
                <a:lnTo>
                  <a:pt x="399836" y="650424"/>
                </a:lnTo>
                <a:cubicBezTo>
                  <a:pt x="430739" y="654377"/>
                  <a:pt x="456971" y="670907"/>
                  <a:pt x="474219" y="693904"/>
                </a:cubicBezTo>
                <a:cubicBezTo>
                  <a:pt x="491468" y="716902"/>
                  <a:pt x="500092" y="746728"/>
                  <a:pt x="496139" y="777272"/>
                </a:cubicBezTo>
                <a:cubicBezTo>
                  <a:pt x="491468" y="808175"/>
                  <a:pt x="475297" y="834407"/>
                  <a:pt x="451940" y="851655"/>
                </a:cubicBezTo>
                <a:cubicBezTo>
                  <a:pt x="428942" y="868904"/>
                  <a:pt x="399476" y="877528"/>
                  <a:pt x="368932" y="873575"/>
                </a:cubicBezTo>
                <a:cubicBezTo>
                  <a:pt x="338029" y="868904"/>
                  <a:pt x="311797" y="852733"/>
                  <a:pt x="294549" y="829376"/>
                </a:cubicBezTo>
                <a:cubicBezTo>
                  <a:pt x="276941" y="806378"/>
                  <a:pt x="268676" y="776912"/>
                  <a:pt x="272988" y="746368"/>
                </a:cubicBezTo>
                <a:lnTo>
                  <a:pt x="286966" y="705854"/>
                </a:lnTo>
                <a:lnTo>
                  <a:pt x="257045" y="662873"/>
                </a:lnTo>
                <a:lnTo>
                  <a:pt x="227250" y="708452"/>
                </a:lnTo>
                <a:lnTo>
                  <a:pt x="240684" y="736023"/>
                </a:lnTo>
                <a:cubicBezTo>
                  <a:pt x="244451" y="750106"/>
                  <a:pt x="245528" y="765175"/>
                  <a:pt x="243375" y="780602"/>
                </a:cubicBezTo>
                <a:cubicBezTo>
                  <a:pt x="239070" y="811099"/>
                  <a:pt x="222565" y="837290"/>
                  <a:pt x="199603" y="854871"/>
                </a:cubicBezTo>
                <a:cubicBezTo>
                  <a:pt x="176641" y="872092"/>
                  <a:pt x="147220" y="880703"/>
                  <a:pt x="116365" y="876398"/>
                </a:cubicBezTo>
                <a:cubicBezTo>
                  <a:pt x="85509" y="872092"/>
                  <a:pt x="59677" y="855588"/>
                  <a:pt x="42096" y="832626"/>
                </a:cubicBezTo>
                <a:cubicBezTo>
                  <a:pt x="24875" y="809664"/>
                  <a:pt x="16264" y="780244"/>
                  <a:pt x="20569" y="749388"/>
                </a:cubicBezTo>
                <a:cubicBezTo>
                  <a:pt x="24875" y="718533"/>
                  <a:pt x="41379" y="692700"/>
                  <a:pt x="64341" y="675120"/>
                </a:cubicBezTo>
                <a:cubicBezTo>
                  <a:pt x="75822" y="666509"/>
                  <a:pt x="88918" y="660051"/>
                  <a:pt x="103000" y="656283"/>
                </a:cubicBezTo>
                <a:lnTo>
                  <a:pt x="147255" y="653612"/>
                </a:lnTo>
                <a:lnTo>
                  <a:pt x="191562" y="568627"/>
                </a:lnTo>
                <a:cubicBezTo>
                  <a:pt x="182207" y="555318"/>
                  <a:pt x="170693" y="540210"/>
                  <a:pt x="158101" y="523663"/>
                </a:cubicBezTo>
                <a:cubicBezTo>
                  <a:pt x="69231" y="405316"/>
                  <a:pt x="-59936" y="233732"/>
                  <a:pt x="31092" y="96680"/>
                </a:cubicBezTo>
                <a:lnTo>
                  <a:pt x="46923" y="73298"/>
                </a:lnTo>
                <a:lnTo>
                  <a:pt x="60596" y="98118"/>
                </a:lnTo>
                <a:lnTo>
                  <a:pt x="254526" y="448482"/>
                </a:lnTo>
                <a:lnTo>
                  <a:pt x="439821" y="93442"/>
                </a:lnTo>
                <a:close/>
                <a:moveTo>
                  <a:pt x="230576" y="0"/>
                </a:moveTo>
                <a:lnTo>
                  <a:pt x="266735" y="0"/>
                </a:lnTo>
                <a:lnTo>
                  <a:pt x="266735" y="72971"/>
                </a:lnTo>
                <a:lnTo>
                  <a:pt x="230576" y="72971"/>
                </a:lnTo>
                <a:close/>
              </a:path>
            </a:pathLst>
          </a:custGeom>
          <a:solidFill>
            <a:schemeClr val="bg1"/>
          </a:solidFill>
          <a:ln>
            <a:noFill/>
          </a:ln>
          <a:effectLst/>
        </p:spPr>
        <p:txBody>
          <a:bodyPr wrap="square" anchor="ctr">
            <a:noAutofit/>
          </a:bodyPr>
          <a:lstStyle/>
          <a:p>
            <a:endParaRPr lang="en-US" sz="900">
              <a:latin typeface="Lato Light" panose="020F0502020204030203" pitchFamily="34" charset="0"/>
            </a:endParaRPr>
          </a:p>
        </p:txBody>
      </p:sp>
      <p:sp>
        <p:nvSpPr>
          <p:cNvPr id="24" name="Freeform 23">
            <a:extLst>
              <a:ext uri="{FF2B5EF4-FFF2-40B4-BE49-F238E27FC236}">
                <a16:creationId xmlns:a16="http://schemas.microsoft.com/office/drawing/2014/main" id="{F9120CB9-5B9E-E852-378C-AA53602142C9}"/>
              </a:ext>
            </a:extLst>
          </p:cNvPr>
          <p:cNvSpPr>
            <a:spLocks noChangeArrowheads="1"/>
          </p:cNvSpPr>
          <p:nvPr userDrawn="1"/>
        </p:nvSpPr>
        <p:spPr bwMode="auto">
          <a:xfrm>
            <a:off x="1931388" y="3701132"/>
            <a:ext cx="517443" cy="696266"/>
          </a:xfrm>
          <a:custGeom>
            <a:avLst/>
            <a:gdLst>
              <a:gd name="connsiteX0" fmla="*/ 266225 w 652601"/>
              <a:gd name="connsiteY0" fmla="*/ 95393 h 878134"/>
              <a:gd name="connsiteX1" fmla="*/ 380990 w 652601"/>
              <a:gd name="connsiteY1" fmla="*/ 134280 h 878134"/>
              <a:gd name="connsiteX2" fmla="*/ 391423 w 652601"/>
              <a:gd name="connsiteY2" fmla="*/ 143282 h 878134"/>
              <a:gd name="connsiteX3" fmla="*/ 648294 w 652601"/>
              <a:gd name="connsiteY3" fmla="*/ 660698 h 878134"/>
              <a:gd name="connsiteX4" fmla="*/ 651172 w 652601"/>
              <a:gd name="connsiteY4" fmla="*/ 690223 h 878134"/>
              <a:gd name="connsiteX5" fmla="*/ 632464 w 652601"/>
              <a:gd name="connsiteY5" fmla="*/ 713627 h 878134"/>
              <a:gd name="connsiteX6" fmla="*/ 309397 w 652601"/>
              <a:gd name="connsiteY6" fmla="*/ 874577 h 878134"/>
              <a:gd name="connsiteX7" fmla="*/ 279177 w 652601"/>
              <a:gd name="connsiteY7" fmla="*/ 874937 h 878134"/>
              <a:gd name="connsiteX8" fmla="*/ 257591 w 652601"/>
              <a:gd name="connsiteY8" fmla="*/ 854774 h 878134"/>
              <a:gd name="connsiteX9" fmla="*/ 1079 w 652601"/>
              <a:gd name="connsiteY9" fmla="*/ 337358 h 878134"/>
              <a:gd name="connsiteX10" fmla="*/ 0 w 652601"/>
              <a:gd name="connsiteY10" fmla="*/ 323315 h 878134"/>
              <a:gd name="connsiteX11" fmla="*/ 38495 w 652601"/>
              <a:gd name="connsiteY11" fmla="*/ 208814 h 878134"/>
              <a:gd name="connsiteX12" fmla="*/ 40653 w 652601"/>
              <a:gd name="connsiteY12" fmla="*/ 201613 h 878134"/>
              <a:gd name="connsiteX13" fmla="*/ 47489 w 652601"/>
              <a:gd name="connsiteY13" fmla="*/ 198012 h 878134"/>
              <a:gd name="connsiteX14" fmla="*/ 103252 w 652601"/>
              <a:gd name="connsiteY14" fmla="*/ 170287 h 878134"/>
              <a:gd name="connsiteX15" fmla="*/ 105771 w 652601"/>
              <a:gd name="connsiteY15" fmla="*/ 174248 h 878134"/>
              <a:gd name="connsiteX16" fmla="*/ 136350 w 652601"/>
              <a:gd name="connsiteY16" fmla="*/ 158765 h 878134"/>
              <a:gd name="connsiteX17" fmla="*/ 133832 w 652601"/>
              <a:gd name="connsiteY17" fmla="*/ 155164 h 878134"/>
              <a:gd name="connsiteX18" fmla="*/ 198230 w 652601"/>
              <a:gd name="connsiteY18" fmla="*/ 123118 h 878134"/>
              <a:gd name="connsiteX19" fmla="*/ 209382 w 652601"/>
              <a:gd name="connsiteY19" fmla="*/ 174608 h 878134"/>
              <a:gd name="connsiteX20" fmla="*/ 199669 w 652601"/>
              <a:gd name="connsiteY20" fmla="*/ 206654 h 878134"/>
              <a:gd name="connsiteX21" fmla="*/ 168369 w 652601"/>
              <a:gd name="connsiteY21" fmla="*/ 194771 h 878134"/>
              <a:gd name="connsiteX22" fmla="*/ 160095 w 652601"/>
              <a:gd name="connsiteY22" fmla="*/ 187570 h 878134"/>
              <a:gd name="connsiteX23" fmla="*/ 155418 w 652601"/>
              <a:gd name="connsiteY23" fmla="*/ 183249 h 878134"/>
              <a:gd name="connsiteX24" fmla="*/ 123759 w 652601"/>
              <a:gd name="connsiteY24" fmla="*/ 199092 h 878134"/>
              <a:gd name="connsiteX25" fmla="*/ 132033 w 652601"/>
              <a:gd name="connsiteY25" fmla="*/ 207374 h 878134"/>
              <a:gd name="connsiteX26" fmla="*/ 147143 w 652601"/>
              <a:gd name="connsiteY26" fmla="*/ 221416 h 878134"/>
              <a:gd name="connsiteX27" fmla="*/ 214779 w 652601"/>
              <a:gd name="connsiteY27" fmla="*/ 237259 h 878134"/>
              <a:gd name="connsiteX28" fmla="*/ 243200 w 652601"/>
              <a:gd name="connsiteY28" fmla="*/ 173527 h 878134"/>
              <a:gd name="connsiteX29" fmla="*/ 228810 w 652601"/>
              <a:gd name="connsiteY29" fmla="*/ 107995 h 878134"/>
              <a:gd name="connsiteX30" fmla="*/ 252554 w 652601"/>
              <a:gd name="connsiteY30" fmla="*/ 96113 h 878134"/>
              <a:gd name="connsiteX31" fmla="*/ 128211 w 652601"/>
              <a:gd name="connsiteY31" fmla="*/ 1560 h 878134"/>
              <a:gd name="connsiteX32" fmla="*/ 159059 w 652601"/>
              <a:gd name="connsiteY32" fmla="*/ 18117 h 878134"/>
              <a:gd name="connsiteX33" fmla="*/ 212146 w 652601"/>
              <a:gd name="connsiteY33" fmla="*/ 88493 h 878134"/>
              <a:gd name="connsiteX34" fmla="*/ 235461 w 652601"/>
              <a:gd name="connsiteY34" fmla="*/ 173666 h 878134"/>
              <a:gd name="connsiteX35" fmla="*/ 211787 w 652601"/>
              <a:gd name="connsiteY35" fmla="*/ 229245 h 878134"/>
              <a:gd name="connsiteX36" fmla="*/ 153678 w 652601"/>
              <a:gd name="connsiteY36" fmla="*/ 214809 h 878134"/>
              <a:gd name="connsiteX37" fmla="*/ 139331 w 652601"/>
              <a:gd name="connsiteY37" fmla="*/ 201456 h 878134"/>
              <a:gd name="connsiteX38" fmla="*/ 155113 w 652601"/>
              <a:gd name="connsiteY38" fmla="*/ 193516 h 878134"/>
              <a:gd name="connsiteX39" fmla="*/ 164081 w 652601"/>
              <a:gd name="connsiteY39" fmla="*/ 201456 h 878134"/>
              <a:gd name="connsiteX40" fmla="*/ 204613 w 652601"/>
              <a:gd name="connsiteY40" fmla="*/ 214088 h 878134"/>
              <a:gd name="connsiteX41" fmla="*/ 218961 w 652601"/>
              <a:gd name="connsiteY41" fmla="*/ 174388 h 878134"/>
              <a:gd name="connsiteX42" fmla="*/ 197081 w 652601"/>
              <a:gd name="connsiteY42" fmla="*/ 96072 h 878134"/>
              <a:gd name="connsiteX43" fmla="*/ 148298 w 652601"/>
              <a:gd name="connsiteY43" fmla="*/ 31470 h 878134"/>
              <a:gd name="connsiteX44" fmla="*/ 108124 w 652601"/>
              <a:gd name="connsiteY44" fmla="*/ 18478 h 878134"/>
              <a:gd name="connsiteX45" fmla="*/ 93776 w 652601"/>
              <a:gd name="connsiteY45" fmla="*/ 58899 h 878134"/>
              <a:gd name="connsiteX46" fmla="*/ 115298 w 652601"/>
              <a:gd name="connsiteY46" fmla="*/ 136854 h 878134"/>
              <a:gd name="connsiteX47" fmla="*/ 125341 w 652601"/>
              <a:gd name="connsiteY47" fmla="*/ 155260 h 878134"/>
              <a:gd name="connsiteX48" fmla="*/ 110276 w 652601"/>
              <a:gd name="connsiteY48" fmla="*/ 162839 h 878134"/>
              <a:gd name="connsiteX49" fmla="*/ 100233 w 652601"/>
              <a:gd name="connsiteY49" fmla="*/ 144433 h 878134"/>
              <a:gd name="connsiteX50" fmla="*/ 76918 w 652601"/>
              <a:gd name="connsiteY50" fmla="*/ 59260 h 878134"/>
              <a:gd name="connsiteX51" fmla="*/ 100591 w 652601"/>
              <a:gd name="connsiteY51" fmla="*/ 3681 h 878134"/>
              <a:gd name="connsiteX52" fmla="*/ 128211 w 652601"/>
              <a:gd name="connsiteY52" fmla="*/ 1560 h 87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52601" h="878134">
                <a:moveTo>
                  <a:pt x="266225" y="95393"/>
                </a:moveTo>
                <a:lnTo>
                  <a:pt x="380990" y="134280"/>
                </a:lnTo>
                <a:lnTo>
                  <a:pt x="391423" y="143282"/>
                </a:lnTo>
                <a:lnTo>
                  <a:pt x="648294" y="660698"/>
                </a:lnTo>
                <a:cubicBezTo>
                  <a:pt x="652971" y="670419"/>
                  <a:pt x="653690" y="680861"/>
                  <a:pt x="651172" y="690223"/>
                </a:cubicBezTo>
                <a:cubicBezTo>
                  <a:pt x="648654" y="700305"/>
                  <a:pt x="642178" y="708946"/>
                  <a:pt x="632464" y="713627"/>
                </a:cubicBezTo>
                <a:lnTo>
                  <a:pt x="309397" y="874577"/>
                </a:lnTo>
                <a:cubicBezTo>
                  <a:pt x="299683" y="879258"/>
                  <a:pt x="288890" y="879258"/>
                  <a:pt x="279177" y="874937"/>
                </a:cubicBezTo>
                <a:cubicBezTo>
                  <a:pt x="270183" y="871337"/>
                  <a:pt x="262268" y="864495"/>
                  <a:pt x="257591" y="854774"/>
                </a:cubicBezTo>
                <a:lnTo>
                  <a:pt x="1079" y="337358"/>
                </a:lnTo>
                <a:lnTo>
                  <a:pt x="0" y="323315"/>
                </a:lnTo>
                <a:lnTo>
                  <a:pt x="38495" y="208814"/>
                </a:lnTo>
                <a:lnTo>
                  <a:pt x="40653" y="201613"/>
                </a:lnTo>
                <a:lnTo>
                  <a:pt x="47489" y="198012"/>
                </a:lnTo>
                <a:lnTo>
                  <a:pt x="103252" y="170287"/>
                </a:lnTo>
                <a:lnTo>
                  <a:pt x="105771" y="174248"/>
                </a:lnTo>
                <a:lnTo>
                  <a:pt x="136350" y="158765"/>
                </a:lnTo>
                <a:lnTo>
                  <a:pt x="133832" y="155164"/>
                </a:lnTo>
                <a:lnTo>
                  <a:pt x="198230" y="123118"/>
                </a:lnTo>
                <a:cubicBezTo>
                  <a:pt x="204346" y="140041"/>
                  <a:pt x="208663" y="157685"/>
                  <a:pt x="209382" y="174608"/>
                </a:cubicBezTo>
                <a:cubicBezTo>
                  <a:pt x="209382" y="182889"/>
                  <a:pt x="208663" y="201973"/>
                  <a:pt x="199669" y="206654"/>
                </a:cubicBezTo>
                <a:cubicBezTo>
                  <a:pt x="190675" y="211334"/>
                  <a:pt x="174845" y="200172"/>
                  <a:pt x="168369" y="194771"/>
                </a:cubicBezTo>
                <a:cubicBezTo>
                  <a:pt x="165491" y="192611"/>
                  <a:pt x="162613" y="190091"/>
                  <a:pt x="160095" y="187570"/>
                </a:cubicBezTo>
                <a:lnTo>
                  <a:pt x="155418" y="183249"/>
                </a:lnTo>
                <a:lnTo>
                  <a:pt x="123759" y="199092"/>
                </a:lnTo>
                <a:lnTo>
                  <a:pt x="132033" y="207374"/>
                </a:lnTo>
                <a:cubicBezTo>
                  <a:pt x="136710" y="212415"/>
                  <a:pt x="141747" y="217096"/>
                  <a:pt x="147143" y="221416"/>
                </a:cubicBezTo>
                <a:cubicBezTo>
                  <a:pt x="165491" y="236539"/>
                  <a:pt x="191394" y="248781"/>
                  <a:pt x="214779" y="237259"/>
                </a:cubicBezTo>
                <a:cubicBezTo>
                  <a:pt x="238164" y="225737"/>
                  <a:pt x="243920" y="197292"/>
                  <a:pt x="243200" y="173527"/>
                </a:cubicBezTo>
                <a:cubicBezTo>
                  <a:pt x="242481" y="151923"/>
                  <a:pt x="236725" y="129239"/>
                  <a:pt x="228810" y="107995"/>
                </a:cubicBezTo>
                <a:lnTo>
                  <a:pt x="252554" y="96113"/>
                </a:lnTo>
                <a:close/>
                <a:moveTo>
                  <a:pt x="128211" y="1560"/>
                </a:moveTo>
                <a:cubicBezTo>
                  <a:pt x="138165" y="4132"/>
                  <a:pt x="148657" y="9816"/>
                  <a:pt x="159059" y="18117"/>
                </a:cubicBezTo>
                <a:cubicBezTo>
                  <a:pt x="178070" y="33636"/>
                  <a:pt x="197081" y="58538"/>
                  <a:pt x="212146" y="88493"/>
                </a:cubicBezTo>
                <a:cubicBezTo>
                  <a:pt x="226852" y="118448"/>
                  <a:pt x="234744" y="149125"/>
                  <a:pt x="235461" y="173666"/>
                </a:cubicBezTo>
                <a:cubicBezTo>
                  <a:pt x="236178" y="200373"/>
                  <a:pt x="228646" y="220945"/>
                  <a:pt x="211787" y="229245"/>
                </a:cubicBezTo>
                <a:cubicBezTo>
                  <a:pt x="195646" y="237907"/>
                  <a:pt x="174124" y="231411"/>
                  <a:pt x="153678" y="214809"/>
                </a:cubicBezTo>
                <a:cubicBezTo>
                  <a:pt x="148657" y="210839"/>
                  <a:pt x="143994" y="206509"/>
                  <a:pt x="139331" y="201456"/>
                </a:cubicBezTo>
                <a:lnTo>
                  <a:pt x="155113" y="193516"/>
                </a:lnTo>
                <a:cubicBezTo>
                  <a:pt x="157983" y="196403"/>
                  <a:pt x="161211" y="198930"/>
                  <a:pt x="164081" y="201456"/>
                </a:cubicBezTo>
                <a:cubicBezTo>
                  <a:pt x="179505" y="214088"/>
                  <a:pt x="194211" y="219501"/>
                  <a:pt x="204613" y="214088"/>
                </a:cubicBezTo>
                <a:cubicBezTo>
                  <a:pt x="214657" y="209035"/>
                  <a:pt x="219320" y="194238"/>
                  <a:pt x="218961" y="174388"/>
                </a:cubicBezTo>
                <a:cubicBezTo>
                  <a:pt x="218244" y="152012"/>
                  <a:pt x="210711" y="124223"/>
                  <a:pt x="197081" y="96072"/>
                </a:cubicBezTo>
                <a:cubicBezTo>
                  <a:pt x="183091" y="67922"/>
                  <a:pt x="165515" y="45546"/>
                  <a:pt x="148298" y="31470"/>
                </a:cubicBezTo>
                <a:cubicBezTo>
                  <a:pt x="132874" y="18839"/>
                  <a:pt x="118168" y="13786"/>
                  <a:pt x="108124" y="18478"/>
                </a:cubicBezTo>
                <a:cubicBezTo>
                  <a:pt x="98081" y="23531"/>
                  <a:pt x="93059" y="38688"/>
                  <a:pt x="93776" y="58899"/>
                </a:cubicBezTo>
                <a:cubicBezTo>
                  <a:pt x="94494" y="81275"/>
                  <a:pt x="101668" y="109065"/>
                  <a:pt x="115298" y="136854"/>
                </a:cubicBezTo>
                <a:cubicBezTo>
                  <a:pt x="118526" y="143350"/>
                  <a:pt x="121754" y="149486"/>
                  <a:pt x="125341" y="155260"/>
                </a:cubicBezTo>
                <a:lnTo>
                  <a:pt x="110276" y="162839"/>
                </a:lnTo>
                <a:cubicBezTo>
                  <a:pt x="106689" y="156704"/>
                  <a:pt x="103461" y="150568"/>
                  <a:pt x="100233" y="144433"/>
                </a:cubicBezTo>
                <a:cubicBezTo>
                  <a:pt x="85526" y="114117"/>
                  <a:pt x="77635" y="83801"/>
                  <a:pt x="76918" y="59260"/>
                </a:cubicBezTo>
                <a:cubicBezTo>
                  <a:pt x="76200" y="32553"/>
                  <a:pt x="84091" y="11621"/>
                  <a:pt x="100591" y="3681"/>
                </a:cubicBezTo>
                <a:cubicBezTo>
                  <a:pt x="108841" y="-470"/>
                  <a:pt x="118257" y="-1011"/>
                  <a:pt x="128211" y="1560"/>
                </a:cubicBezTo>
                <a:close/>
              </a:path>
            </a:pathLst>
          </a:custGeom>
          <a:solidFill>
            <a:schemeClr val="bg1"/>
          </a:solidFill>
          <a:ln>
            <a:noFill/>
          </a:ln>
          <a:effectLst/>
        </p:spPr>
        <p:txBody>
          <a:bodyPr wrap="square" anchor="ctr">
            <a:noAutofit/>
          </a:bodyPr>
          <a:lstStyle/>
          <a:p>
            <a:endParaRPr lang="en-US" sz="900">
              <a:latin typeface="Lato Light" panose="020F0502020204030203" pitchFamily="34" charset="0"/>
            </a:endParaRPr>
          </a:p>
        </p:txBody>
      </p:sp>
      <p:sp>
        <p:nvSpPr>
          <p:cNvPr id="25" name="Freeform 24">
            <a:extLst>
              <a:ext uri="{FF2B5EF4-FFF2-40B4-BE49-F238E27FC236}">
                <a16:creationId xmlns:a16="http://schemas.microsoft.com/office/drawing/2014/main" id="{0A6B2913-8700-3F0F-C199-B5A700EC9C45}"/>
              </a:ext>
            </a:extLst>
          </p:cNvPr>
          <p:cNvSpPr>
            <a:spLocks noChangeArrowheads="1"/>
          </p:cNvSpPr>
          <p:nvPr userDrawn="1"/>
        </p:nvSpPr>
        <p:spPr bwMode="auto">
          <a:xfrm>
            <a:off x="6505211" y="1968167"/>
            <a:ext cx="694005" cy="547257"/>
          </a:xfrm>
          <a:custGeom>
            <a:avLst/>
            <a:gdLst>
              <a:gd name="connsiteX0" fmla="*/ 646759 w 875283"/>
              <a:gd name="connsiteY0" fmla="*/ 138113 h 690203"/>
              <a:gd name="connsiteX1" fmla="*/ 698575 w 875283"/>
              <a:gd name="connsiteY1" fmla="*/ 189538 h 690203"/>
              <a:gd name="connsiteX2" fmla="*/ 333345 w 875283"/>
              <a:gd name="connsiteY2" fmla="*/ 555265 h 690203"/>
              <a:gd name="connsiteX3" fmla="*/ 307437 w 875283"/>
              <a:gd name="connsiteY3" fmla="*/ 529373 h 690203"/>
              <a:gd name="connsiteX4" fmla="*/ 159185 w 875283"/>
              <a:gd name="connsiteY4" fmla="*/ 381212 h 690203"/>
              <a:gd name="connsiteX5" fmla="*/ 211001 w 875283"/>
              <a:gd name="connsiteY5" fmla="*/ 329787 h 690203"/>
              <a:gd name="connsiteX6" fmla="*/ 333345 w 875283"/>
              <a:gd name="connsiteY6" fmla="*/ 451697 h 690203"/>
              <a:gd name="connsiteX7" fmla="*/ 753005 w 875283"/>
              <a:gd name="connsiteY7" fmla="*/ 0 h 690203"/>
              <a:gd name="connsiteX8" fmla="*/ 764494 w 875283"/>
              <a:gd name="connsiteY8" fmla="*/ 14049 h 690203"/>
              <a:gd name="connsiteX9" fmla="*/ 779214 w 875283"/>
              <a:gd name="connsiteY9" fmla="*/ 31700 h 690203"/>
              <a:gd name="connsiteX10" fmla="*/ 791421 w 875283"/>
              <a:gd name="connsiteY10" fmla="*/ 48271 h 690203"/>
              <a:gd name="connsiteX11" fmla="*/ 809013 w 875283"/>
              <a:gd name="connsiteY11" fmla="*/ 74928 h 690203"/>
              <a:gd name="connsiteX12" fmla="*/ 823015 w 875283"/>
              <a:gd name="connsiteY12" fmla="*/ 99784 h 690203"/>
              <a:gd name="connsiteX13" fmla="*/ 838454 w 875283"/>
              <a:gd name="connsiteY13" fmla="*/ 132925 h 690203"/>
              <a:gd name="connsiteX14" fmla="*/ 847788 w 875283"/>
              <a:gd name="connsiteY14" fmla="*/ 156340 h 690203"/>
              <a:gd name="connsiteX15" fmla="*/ 857123 w 875283"/>
              <a:gd name="connsiteY15" fmla="*/ 185519 h 690203"/>
              <a:gd name="connsiteX16" fmla="*/ 865381 w 875283"/>
              <a:gd name="connsiteY16" fmla="*/ 217580 h 690203"/>
              <a:gd name="connsiteX17" fmla="*/ 810450 w 875283"/>
              <a:gd name="connsiteY17" fmla="*/ 547191 h 690203"/>
              <a:gd name="connsiteX18" fmla="*/ 795011 w 875283"/>
              <a:gd name="connsiteY18" fmla="*/ 570606 h 690203"/>
              <a:gd name="connsiteX19" fmla="*/ 774906 w 875283"/>
              <a:gd name="connsiteY19" fmla="*/ 598344 h 690203"/>
              <a:gd name="connsiteX20" fmla="*/ 760545 w 875283"/>
              <a:gd name="connsiteY20" fmla="*/ 615635 h 690203"/>
              <a:gd name="connsiteX21" fmla="*/ 840249 w 875283"/>
              <a:gd name="connsiteY21" fmla="*/ 684079 h 690203"/>
              <a:gd name="connsiteX22" fmla="*/ 625910 w 875283"/>
              <a:gd name="connsiteY22" fmla="*/ 690203 h 690203"/>
              <a:gd name="connsiteX23" fmla="*/ 648888 w 875283"/>
              <a:gd name="connsiteY23" fmla="*/ 462537 h 690203"/>
              <a:gd name="connsiteX24" fmla="*/ 708127 w 875283"/>
              <a:gd name="connsiteY24" fmla="*/ 564482 h 690203"/>
              <a:gd name="connsiteX25" fmla="*/ 716744 w 875283"/>
              <a:gd name="connsiteY25" fmla="*/ 554396 h 690203"/>
              <a:gd name="connsiteX26" fmla="*/ 732182 w 875283"/>
              <a:gd name="connsiteY26" fmla="*/ 533502 h 690203"/>
              <a:gd name="connsiteX27" fmla="*/ 746543 w 875283"/>
              <a:gd name="connsiteY27" fmla="*/ 511528 h 690203"/>
              <a:gd name="connsiteX28" fmla="*/ 776701 w 875283"/>
              <a:gd name="connsiteY28" fmla="*/ 174712 h 690203"/>
              <a:gd name="connsiteX29" fmla="*/ 767725 w 875283"/>
              <a:gd name="connsiteY29" fmla="*/ 153098 h 690203"/>
              <a:gd name="connsiteX30" fmla="*/ 754801 w 875283"/>
              <a:gd name="connsiteY30" fmla="*/ 127162 h 690203"/>
              <a:gd name="connsiteX31" fmla="*/ 741517 w 875283"/>
              <a:gd name="connsiteY31" fmla="*/ 104467 h 690203"/>
              <a:gd name="connsiteX32" fmla="*/ 726078 w 875283"/>
              <a:gd name="connsiteY32" fmla="*/ 82493 h 690203"/>
              <a:gd name="connsiteX33" fmla="*/ 709563 w 875283"/>
              <a:gd name="connsiteY33" fmla="*/ 61599 h 690203"/>
              <a:gd name="connsiteX34" fmla="*/ 697715 w 875283"/>
              <a:gd name="connsiteY34" fmla="*/ 47550 h 690203"/>
              <a:gd name="connsiteX35" fmla="*/ 249313 w 875283"/>
              <a:gd name="connsiteY35" fmla="*/ 0 h 690203"/>
              <a:gd name="connsiteX36" fmla="*/ 226336 w 875283"/>
              <a:gd name="connsiteY36" fmla="*/ 227306 h 690203"/>
              <a:gd name="connsiteX37" fmla="*/ 167096 w 875283"/>
              <a:gd name="connsiteY37" fmla="*/ 125721 h 690203"/>
              <a:gd name="connsiteX38" fmla="*/ 158479 w 875283"/>
              <a:gd name="connsiteY38" fmla="*/ 136167 h 690203"/>
              <a:gd name="connsiteX39" fmla="*/ 142682 w 875283"/>
              <a:gd name="connsiteY39" fmla="*/ 157061 h 690203"/>
              <a:gd name="connsiteX40" fmla="*/ 128321 w 875283"/>
              <a:gd name="connsiteY40" fmla="*/ 178675 h 690203"/>
              <a:gd name="connsiteX41" fmla="*/ 98163 w 875283"/>
              <a:gd name="connsiteY41" fmla="*/ 515491 h 690203"/>
              <a:gd name="connsiteX42" fmla="*/ 107138 w 875283"/>
              <a:gd name="connsiteY42" fmla="*/ 537465 h 690203"/>
              <a:gd name="connsiteX43" fmla="*/ 120063 w 875283"/>
              <a:gd name="connsiteY43" fmla="*/ 562681 h 690203"/>
              <a:gd name="connsiteX44" fmla="*/ 133706 w 875283"/>
              <a:gd name="connsiteY44" fmla="*/ 585736 h 690203"/>
              <a:gd name="connsiteX45" fmla="*/ 148785 w 875283"/>
              <a:gd name="connsiteY45" fmla="*/ 607350 h 690203"/>
              <a:gd name="connsiteX46" fmla="*/ 165660 w 875283"/>
              <a:gd name="connsiteY46" fmla="*/ 628603 h 690203"/>
              <a:gd name="connsiteX47" fmla="*/ 177508 w 875283"/>
              <a:gd name="connsiteY47" fmla="*/ 642652 h 690203"/>
              <a:gd name="connsiteX48" fmla="*/ 122218 w 875283"/>
              <a:gd name="connsiteY48" fmla="*/ 690203 h 690203"/>
              <a:gd name="connsiteX49" fmla="*/ 110370 w 875283"/>
              <a:gd name="connsiteY49" fmla="*/ 676514 h 690203"/>
              <a:gd name="connsiteX50" fmla="*/ 95650 w 875283"/>
              <a:gd name="connsiteY50" fmla="*/ 658142 h 690203"/>
              <a:gd name="connsiteX51" fmla="*/ 83443 w 875283"/>
              <a:gd name="connsiteY51" fmla="*/ 641932 h 690203"/>
              <a:gd name="connsiteX52" fmla="*/ 66210 w 875283"/>
              <a:gd name="connsiteY52" fmla="*/ 615275 h 690203"/>
              <a:gd name="connsiteX53" fmla="*/ 52208 w 875283"/>
              <a:gd name="connsiteY53" fmla="*/ 590419 h 690203"/>
              <a:gd name="connsiteX54" fmla="*/ 36410 w 875283"/>
              <a:gd name="connsiteY54" fmla="*/ 557278 h 690203"/>
              <a:gd name="connsiteX55" fmla="*/ 27076 w 875283"/>
              <a:gd name="connsiteY55" fmla="*/ 533863 h 690203"/>
              <a:gd name="connsiteX56" fmla="*/ 18100 w 875283"/>
              <a:gd name="connsiteY56" fmla="*/ 504684 h 690203"/>
              <a:gd name="connsiteX57" fmla="*/ 9842 w 875283"/>
              <a:gd name="connsiteY57" fmla="*/ 472263 h 690203"/>
              <a:gd name="connsiteX58" fmla="*/ 64773 w 875283"/>
              <a:gd name="connsiteY58" fmla="*/ 143012 h 690203"/>
              <a:gd name="connsiteX59" fmla="*/ 79853 w 875283"/>
              <a:gd name="connsiteY59" fmla="*/ 119236 h 690203"/>
              <a:gd name="connsiteX60" fmla="*/ 99958 w 875283"/>
              <a:gd name="connsiteY60" fmla="*/ 91859 h 690203"/>
              <a:gd name="connsiteX61" fmla="*/ 115037 w 875283"/>
              <a:gd name="connsiteY61" fmla="*/ 74568 h 690203"/>
              <a:gd name="connsiteX62" fmla="*/ 34615 w 875283"/>
              <a:gd name="connsiteY62" fmla="*/ 6124 h 69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75283" h="690203">
                <a:moveTo>
                  <a:pt x="646759" y="138113"/>
                </a:moveTo>
                <a:lnTo>
                  <a:pt x="698575" y="189538"/>
                </a:lnTo>
                <a:lnTo>
                  <a:pt x="333345" y="555265"/>
                </a:lnTo>
                <a:lnTo>
                  <a:pt x="307437" y="529373"/>
                </a:lnTo>
                <a:lnTo>
                  <a:pt x="159185" y="381212"/>
                </a:lnTo>
                <a:lnTo>
                  <a:pt x="211001" y="329787"/>
                </a:lnTo>
                <a:lnTo>
                  <a:pt x="333345" y="451697"/>
                </a:lnTo>
                <a:close/>
                <a:moveTo>
                  <a:pt x="753005" y="0"/>
                </a:moveTo>
                <a:lnTo>
                  <a:pt x="764494" y="14049"/>
                </a:lnTo>
                <a:cubicBezTo>
                  <a:pt x="769521" y="19813"/>
                  <a:pt x="774906" y="25937"/>
                  <a:pt x="779214" y="31700"/>
                </a:cubicBezTo>
                <a:cubicBezTo>
                  <a:pt x="783523" y="37464"/>
                  <a:pt x="787472" y="42867"/>
                  <a:pt x="791421" y="48271"/>
                </a:cubicBezTo>
                <a:cubicBezTo>
                  <a:pt x="797884" y="56916"/>
                  <a:pt x="803628" y="65922"/>
                  <a:pt x="809013" y="74928"/>
                </a:cubicBezTo>
                <a:cubicBezTo>
                  <a:pt x="813681" y="82853"/>
                  <a:pt x="818707" y="91499"/>
                  <a:pt x="823015" y="99784"/>
                </a:cubicBezTo>
                <a:cubicBezTo>
                  <a:pt x="828760" y="110591"/>
                  <a:pt x="833786" y="121758"/>
                  <a:pt x="838454" y="132925"/>
                </a:cubicBezTo>
                <a:cubicBezTo>
                  <a:pt x="842044" y="140490"/>
                  <a:pt x="844916" y="148415"/>
                  <a:pt x="847788" y="156340"/>
                </a:cubicBezTo>
                <a:cubicBezTo>
                  <a:pt x="851378" y="165706"/>
                  <a:pt x="854610" y="175433"/>
                  <a:pt x="857123" y="185519"/>
                </a:cubicBezTo>
                <a:cubicBezTo>
                  <a:pt x="860354" y="195966"/>
                  <a:pt x="863226" y="206773"/>
                  <a:pt x="865381" y="217580"/>
                </a:cubicBezTo>
                <a:cubicBezTo>
                  <a:pt x="889076" y="331052"/>
                  <a:pt x="870048" y="447767"/>
                  <a:pt x="810450" y="547191"/>
                </a:cubicBezTo>
                <a:cubicBezTo>
                  <a:pt x="805423" y="555476"/>
                  <a:pt x="800397" y="563041"/>
                  <a:pt x="795011" y="570606"/>
                </a:cubicBezTo>
                <a:cubicBezTo>
                  <a:pt x="788908" y="580332"/>
                  <a:pt x="782087" y="589338"/>
                  <a:pt x="774906" y="598344"/>
                </a:cubicBezTo>
                <a:cubicBezTo>
                  <a:pt x="770239" y="604108"/>
                  <a:pt x="765212" y="609871"/>
                  <a:pt x="760545" y="615635"/>
                </a:cubicBezTo>
                <a:lnTo>
                  <a:pt x="840249" y="684079"/>
                </a:lnTo>
                <a:lnTo>
                  <a:pt x="625910" y="690203"/>
                </a:lnTo>
                <a:lnTo>
                  <a:pt x="648888" y="462537"/>
                </a:lnTo>
                <a:lnTo>
                  <a:pt x="708127" y="564482"/>
                </a:lnTo>
                <a:cubicBezTo>
                  <a:pt x="710999" y="560880"/>
                  <a:pt x="713872" y="557638"/>
                  <a:pt x="716744" y="554396"/>
                </a:cubicBezTo>
                <a:cubicBezTo>
                  <a:pt x="722129" y="547551"/>
                  <a:pt x="727515" y="540707"/>
                  <a:pt x="732182" y="533502"/>
                </a:cubicBezTo>
                <a:cubicBezTo>
                  <a:pt x="737567" y="526298"/>
                  <a:pt x="742235" y="519093"/>
                  <a:pt x="746543" y="511528"/>
                </a:cubicBezTo>
                <a:cubicBezTo>
                  <a:pt x="808295" y="409583"/>
                  <a:pt x="819425" y="286024"/>
                  <a:pt x="776701" y="174712"/>
                </a:cubicBezTo>
                <a:cubicBezTo>
                  <a:pt x="774188" y="167147"/>
                  <a:pt x="770957" y="159943"/>
                  <a:pt x="767725" y="153098"/>
                </a:cubicBezTo>
                <a:cubicBezTo>
                  <a:pt x="763776" y="144092"/>
                  <a:pt x="759468" y="135807"/>
                  <a:pt x="754801" y="127162"/>
                </a:cubicBezTo>
                <a:cubicBezTo>
                  <a:pt x="750851" y="119597"/>
                  <a:pt x="746184" y="112032"/>
                  <a:pt x="741517" y="104467"/>
                </a:cubicBezTo>
                <a:cubicBezTo>
                  <a:pt x="736849" y="97262"/>
                  <a:pt x="731823" y="89698"/>
                  <a:pt x="726078" y="82493"/>
                </a:cubicBezTo>
                <a:cubicBezTo>
                  <a:pt x="721052" y="75288"/>
                  <a:pt x="715308" y="68444"/>
                  <a:pt x="709563" y="61599"/>
                </a:cubicBezTo>
                <a:lnTo>
                  <a:pt x="697715" y="47550"/>
                </a:lnTo>
                <a:close/>
                <a:moveTo>
                  <a:pt x="249313" y="0"/>
                </a:moveTo>
                <a:lnTo>
                  <a:pt x="226336" y="227306"/>
                </a:lnTo>
                <a:lnTo>
                  <a:pt x="167096" y="125721"/>
                </a:lnTo>
                <a:cubicBezTo>
                  <a:pt x="164224" y="128963"/>
                  <a:pt x="161352" y="132565"/>
                  <a:pt x="158479" y="136167"/>
                </a:cubicBezTo>
                <a:cubicBezTo>
                  <a:pt x="153094" y="142652"/>
                  <a:pt x="147708" y="149856"/>
                  <a:pt x="142682" y="157061"/>
                </a:cubicBezTo>
                <a:cubicBezTo>
                  <a:pt x="137656" y="163905"/>
                  <a:pt x="132988" y="171110"/>
                  <a:pt x="128321" y="178675"/>
                </a:cubicBezTo>
                <a:cubicBezTo>
                  <a:pt x="66928" y="280620"/>
                  <a:pt x="55798" y="404179"/>
                  <a:pt x="98163" y="515491"/>
                </a:cubicBezTo>
                <a:cubicBezTo>
                  <a:pt x="101035" y="523056"/>
                  <a:pt x="104266" y="530260"/>
                  <a:pt x="107138" y="537465"/>
                </a:cubicBezTo>
                <a:cubicBezTo>
                  <a:pt x="111447" y="546110"/>
                  <a:pt x="115396" y="554396"/>
                  <a:pt x="120063" y="562681"/>
                </a:cubicBezTo>
                <a:cubicBezTo>
                  <a:pt x="124372" y="570606"/>
                  <a:pt x="128680" y="578171"/>
                  <a:pt x="133706" y="585736"/>
                </a:cubicBezTo>
                <a:cubicBezTo>
                  <a:pt x="138374" y="592940"/>
                  <a:pt x="143400" y="600505"/>
                  <a:pt x="148785" y="607350"/>
                </a:cubicBezTo>
                <a:cubicBezTo>
                  <a:pt x="154171" y="614915"/>
                  <a:pt x="159916" y="621759"/>
                  <a:pt x="165660" y="628603"/>
                </a:cubicBezTo>
                <a:lnTo>
                  <a:pt x="177508" y="642652"/>
                </a:lnTo>
                <a:lnTo>
                  <a:pt x="122218" y="690203"/>
                </a:lnTo>
                <a:lnTo>
                  <a:pt x="110370" y="676514"/>
                </a:lnTo>
                <a:cubicBezTo>
                  <a:pt x="105343" y="670390"/>
                  <a:pt x="100317" y="664266"/>
                  <a:pt x="95650" y="658142"/>
                </a:cubicBezTo>
                <a:cubicBezTo>
                  <a:pt x="91341" y="652739"/>
                  <a:pt x="87392" y="647335"/>
                  <a:pt x="83443" y="641932"/>
                </a:cubicBezTo>
                <a:cubicBezTo>
                  <a:pt x="77339" y="633286"/>
                  <a:pt x="71595" y="624281"/>
                  <a:pt x="66210" y="615275"/>
                </a:cubicBezTo>
                <a:cubicBezTo>
                  <a:pt x="61542" y="607350"/>
                  <a:pt x="56516" y="599064"/>
                  <a:pt x="52208" y="590419"/>
                </a:cubicBezTo>
                <a:cubicBezTo>
                  <a:pt x="46463" y="579612"/>
                  <a:pt x="41437" y="568805"/>
                  <a:pt x="36410" y="557278"/>
                </a:cubicBezTo>
                <a:cubicBezTo>
                  <a:pt x="33179" y="549713"/>
                  <a:pt x="30307" y="541788"/>
                  <a:pt x="27076" y="533863"/>
                </a:cubicBezTo>
                <a:cubicBezTo>
                  <a:pt x="23844" y="524136"/>
                  <a:pt x="20613" y="514410"/>
                  <a:pt x="18100" y="504684"/>
                </a:cubicBezTo>
                <a:cubicBezTo>
                  <a:pt x="14869" y="494237"/>
                  <a:pt x="11997" y="483430"/>
                  <a:pt x="9842" y="472263"/>
                </a:cubicBezTo>
                <a:cubicBezTo>
                  <a:pt x="-13853" y="359150"/>
                  <a:pt x="5534" y="242436"/>
                  <a:pt x="64773" y="143012"/>
                </a:cubicBezTo>
                <a:cubicBezTo>
                  <a:pt x="69441" y="135087"/>
                  <a:pt x="74467" y="127162"/>
                  <a:pt x="79853" y="119236"/>
                </a:cubicBezTo>
                <a:cubicBezTo>
                  <a:pt x="86315" y="109870"/>
                  <a:pt x="92777" y="100865"/>
                  <a:pt x="99958" y="91859"/>
                </a:cubicBezTo>
                <a:cubicBezTo>
                  <a:pt x="104984" y="86095"/>
                  <a:pt x="110011" y="80332"/>
                  <a:pt x="115037" y="74568"/>
                </a:cubicBezTo>
                <a:lnTo>
                  <a:pt x="34615" y="6124"/>
                </a:lnTo>
                <a:close/>
              </a:path>
            </a:pathLst>
          </a:custGeom>
          <a:solidFill>
            <a:schemeClr val="bg1"/>
          </a:solidFill>
          <a:ln>
            <a:noFill/>
          </a:ln>
          <a:effectLst/>
        </p:spPr>
        <p:txBody>
          <a:bodyPr wrap="square" anchor="ctr">
            <a:noAutofit/>
          </a:bodyPr>
          <a:lstStyle/>
          <a:p>
            <a:endParaRPr lang="en-US" sz="900">
              <a:latin typeface="Lato Light" panose="020F0502020204030203" pitchFamily="34" charset="0"/>
            </a:endParaRPr>
          </a:p>
        </p:txBody>
      </p:sp>
      <p:sp>
        <p:nvSpPr>
          <p:cNvPr id="26" name="Freeform 25">
            <a:extLst>
              <a:ext uri="{FF2B5EF4-FFF2-40B4-BE49-F238E27FC236}">
                <a16:creationId xmlns:a16="http://schemas.microsoft.com/office/drawing/2014/main" id="{F95A7A34-C695-AB2D-FA9F-C6F7F4B6B4E0}"/>
              </a:ext>
            </a:extLst>
          </p:cNvPr>
          <p:cNvSpPr>
            <a:spLocks noChangeArrowheads="1"/>
          </p:cNvSpPr>
          <p:nvPr userDrawn="1"/>
        </p:nvSpPr>
        <p:spPr bwMode="auto">
          <a:xfrm>
            <a:off x="7176217" y="3701525"/>
            <a:ext cx="695785" cy="695785"/>
          </a:xfrm>
          <a:custGeom>
            <a:avLst/>
            <a:gdLst>
              <a:gd name="connsiteX0" fmla="*/ 437863 w 877528"/>
              <a:gd name="connsiteY0" fmla="*/ 255587 h 877527"/>
              <a:gd name="connsiteX1" fmla="*/ 455889 w 877528"/>
              <a:gd name="connsiteY1" fmla="*/ 292618 h 877527"/>
              <a:gd name="connsiteX2" fmla="*/ 499512 w 877528"/>
              <a:gd name="connsiteY2" fmla="*/ 383937 h 877527"/>
              <a:gd name="connsiteX3" fmla="*/ 590365 w 877528"/>
              <a:gd name="connsiteY3" fmla="*/ 390768 h 877527"/>
              <a:gd name="connsiteX4" fmla="*/ 631465 w 877528"/>
              <a:gd name="connsiteY4" fmla="*/ 393644 h 877527"/>
              <a:gd name="connsiteX5" fmla="*/ 601541 w 877528"/>
              <a:gd name="connsiteY5" fmla="*/ 422406 h 877527"/>
              <a:gd name="connsiteX6" fmla="*/ 527633 w 877528"/>
              <a:gd name="connsiteY6" fmla="*/ 491793 h 877527"/>
              <a:gd name="connsiteX7" fmla="*/ 549625 w 877528"/>
              <a:gd name="connsiteY7" fmla="*/ 580236 h 877527"/>
              <a:gd name="connsiteX8" fmla="*/ 559360 w 877528"/>
              <a:gd name="connsiteY8" fmla="*/ 620143 h 877527"/>
              <a:gd name="connsiteX9" fmla="*/ 522947 w 877528"/>
              <a:gd name="connsiteY9" fmla="*/ 600369 h 877527"/>
              <a:gd name="connsiteX10" fmla="*/ 433897 w 877528"/>
              <a:gd name="connsiteY10" fmla="*/ 552193 h 877527"/>
              <a:gd name="connsiteX11" fmla="*/ 356384 w 877528"/>
              <a:gd name="connsiteY11" fmla="*/ 600010 h 877527"/>
              <a:gd name="connsiteX12" fmla="*/ 321052 w 877528"/>
              <a:gd name="connsiteY12" fmla="*/ 621941 h 877527"/>
              <a:gd name="connsiteX13" fmla="*/ 328624 w 877528"/>
              <a:gd name="connsiteY13" fmla="*/ 581314 h 877527"/>
              <a:gd name="connsiteX14" fmla="*/ 347371 w 877528"/>
              <a:gd name="connsiteY14" fmla="*/ 481727 h 877527"/>
              <a:gd name="connsiteX15" fmla="*/ 277429 w 877528"/>
              <a:gd name="connsiteY15" fmla="*/ 422765 h 877527"/>
              <a:gd name="connsiteX16" fmla="*/ 246063 w 877528"/>
              <a:gd name="connsiteY16" fmla="*/ 396160 h 877527"/>
              <a:gd name="connsiteX17" fmla="*/ 287163 w 877528"/>
              <a:gd name="connsiteY17" fmla="*/ 391127 h 877527"/>
              <a:gd name="connsiteX18" fmla="*/ 387750 w 877528"/>
              <a:gd name="connsiteY18" fmla="*/ 377825 h 877527"/>
              <a:gd name="connsiteX19" fmla="*/ 422360 w 877528"/>
              <a:gd name="connsiteY19" fmla="*/ 293696 h 877527"/>
              <a:gd name="connsiteX20" fmla="*/ 438944 w 877528"/>
              <a:gd name="connsiteY20" fmla="*/ 152316 h 877527"/>
              <a:gd name="connsiteX21" fmla="*/ 236576 w 877528"/>
              <a:gd name="connsiteY21" fmla="*/ 236216 h 877527"/>
              <a:gd name="connsiteX22" fmla="*/ 152676 w 877528"/>
              <a:gd name="connsiteY22" fmla="*/ 438583 h 877527"/>
              <a:gd name="connsiteX23" fmla="*/ 236576 w 877528"/>
              <a:gd name="connsiteY23" fmla="*/ 640951 h 877527"/>
              <a:gd name="connsiteX24" fmla="*/ 438944 w 877528"/>
              <a:gd name="connsiteY24" fmla="*/ 724851 h 877527"/>
              <a:gd name="connsiteX25" fmla="*/ 641312 w 877528"/>
              <a:gd name="connsiteY25" fmla="*/ 640951 h 877527"/>
              <a:gd name="connsiteX26" fmla="*/ 724852 w 877528"/>
              <a:gd name="connsiteY26" fmla="*/ 438583 h 877527"/>
              <a:gd name="connsiteX27" fmla="*/ 641312 w 877528"/>
              <a:gd name="connsiteY27" fmla="*/ 236216 h 877527"/>
              <a:gd name="connsiteX28" fmla="*/ 438944 w 877528"/>
              <a:gd name="connsiteY28" fmla="*/ 152316 h 877527"/>
              <a:gd name="connsiteX29" fmla="*/ 438944 w 877528"/>
              <a:gd name="connsiteY29" fmla="*/ 0 h 877527"/>
              <a:gd name="connsiteX30" fmla="*/ 484675 w 877528"/>
              <a:gd name="connsiteY30" fmla="*/ 36369 h 877527"/>
              <a:gd name="connsiteX31" fmla="*/ 499439 w 877528"/>
              <a:gd name="connsiteY31" fmla="*/ 55453 h 877527"/>
              <a:gd name="connsiteX32" fmla="*/ 519243 w 877528"/>
              <a:gd name="connsiteY32" fmla="*/ 42130 h 877527"/>
              <a:gd name="connsiteX33" fmla="*/ 574336 w 877528"/>
              <a:gd name="connsiteY33" fmla="*/ 21245 h 877527"/>
              <a:gd name="connsiteX34" fmla="*/ 607104 w 877528"/>
              <a:gd name="connsiteY34" fmla="*/ 70217 h 877527"/>
              <a:gd name="connsiteX35" fmla="*/ 615026 w 877528"/>
              <a:gd name="connsiteY35" fmla="*/ 92902 h 877527"/>
              <a:gd name="connsiteX36" fmla="*/ 638071 w 877528"/>
              <a:gd name="connsiteY36" fmla="*/ 86060 h 877527"/>
              <a:gd name="connsiteX37" fmla="*/ 696765 w 877528"/>
              <a:gd name="connsiteY37" fmla="*/ 83540 h 877527"/>
              <a:gd name="connsiteX38" fmla="*/ 712609 w 877528"/>
              <a:gd name="connsiteY38" fmla="*/ 140433 h 877527"/>
              <a:gd name="connsiteX39" fmla="*/ 712969 w 877528"/>
              <a:gd name="connsiteY39" fmla="*/ 164199 h 877527"/>
              <a:gd name="connsiteX40" fmla="*/ 737095 w 877528"/>
              <a:gd name="connsiteY40" fmla="*/ 164919 h 877527"/>
              <a:gd name="connsiteX41" fmla="*/ 793628 w 877528"/>
              <a:gd name="connsiteY41" fmla="*/ 180763 h 877527"/>
              <a:gd name="connsiteX42" fmla="*/ 791108 w 877528"/>
              <a:gd name="connsiteY42" fmla="*/ 239456 h 877527"/>
              <a:gd name="connsiteX43" fmla="*/ 784626 w 877528"/>
              <a:gd name="connsiteY43" fmla="*/ 262502 h 877527"/>
              <a:gd name="connsiteX44" fmla="*/ 806951 w 877528"/>
              <a:gd name="connsiteY44" fmla="*/ 270424 h 877527"/>
              <a:gd name="connsiteX45" fmla="*/ 856283 w 877528"/>
              <a:gd name="connsiteY45" fmla="*/ 302831 h 877527"/>
              <a:gd name="connsiteX46" fmla="*/ 835398 w 877528"/>
              <a:gd name="connsiteY46" fmla="*/ 358285 h 877527"/>
              <a:gd name="connsiteX47" fmla="*/ 822075 w 877528"/>
              <a:gd name="connsiteY47" fmla="*/ 377729 h 877527"/>
              <a:gd name="connsiteX48" fmla="*/ 840799 w 877528"/>
              <a:gd name="connsiteY48" fmla="*/ 392493 h 877527"/>
              <a:gd name="connsiteX49" fmla="*/ 877528 w 877528"/>
              <a:gd name="connsiteY49" fmla="*/ 438583 h 877527"/>
              <a:gd name="connsiteX50" fmla="*/ 840799 w 877528"/>
              <a:gd name="connsiteY50" fmla="*/ 484674 h 877527"/>
              <a:gd name="connsiteX51" fmla="*/ 822075 w 877528"/>
              <a:gd name="connsiteY51" fmla="*/ 499078 h 877527"/>
              <a:gd name="connsiteX52" fmla="*/ 835398 w 877528"/>
              <a:gd name="connsiteY52" fmla="*/ 518882 h 877527"/>
              <a:gd name="connsiteX53" fmla="*/ 856283 w 877528"/>
              <a:gd name="connsiteY53" fmla="*/ 573975 h 877527"/>
              <a:gd name="connsiteX54" fmla="*/ 806951 w 877528"/>
              <a:gd name="connsiteY54" fmla="*/ 606743 h 877527"/>
              <a:gd name="connsiteX55" fmla="*/ 784626 w 877528"/>
              <a:gd name="connsiteY55" fmla="*/ 614665 h 877527"/>
              <a:gd name="connsiteX56" fmla="*/ 791108 w 877528"/>
              <a:gd name="connsiteY56" fmla="*/ 637710 h 877527"/>
              <a:gd name="connsiteX57" fmla="*/ 793628 w 877528"/>
              <a:gd name="connsiteY57" fmla="*/ 696404 h 877527"/>
              <a:gd name="connsiteX58" fmla="*/ 737095 w 877528"/>
              <a:gd name="connsiteY58" fmla="*/ 712248 h 877527"/>
              <a:gd name="connsiteX59" fmla="*/ 712969 w 877528"/>
              <a:gd name="connsiteY59" fmla="*/ 712968 h 877527"/>
              <a:gd name="connsiteX60" fmla="*/ 712609 w 877528"/>
              <a:gd name="connsiteY60" fmla="*/ 737094 h 877527"/>
              <a:gd name="connsiteX61" fmla="*/ 696765 w 877528"/>
              <a:gd name="connsiteY61" fmla="*/ 793627 h 877527"/>
              <a:gd name="connsiteX62" fmla="*/ 638071 w 877528"/>
              <a:gd name="connsiteY62" fmla="*/ 791107 h 877527"/>
              <a:gd name="connsiteX63" fmla="*/ 615026 w 877528"/>
              <a:gd name="connsiteY63" fmla="*/ 784265 h 877527"/>
              <a:gd name="connsiteX64" fmla="*/ 607104 w 877528"/>
              <a:gd name="connsiteY64" fmla="*/ 806590 h 877527"/>
              <a:gd name="connsiteX65" fmla="*/ 574336 w 877528"/>
              <a:gd name="connsiteY65" fmla="*/ 855922 h 877527"/>
              <a:gd name="connsiteX66" fmla="*/ 519243 w 877528"/>
              <a:gd name="connsiteY66" fmla="*/ 835397 h 877527"/>
              <a:gd name="connsiteX67" fmla="*/ 499439 w 877528"/>
              <a:gd name="connsiteY67" fmla="*/ 821714 h 877527"/>
              <a:gd name="connsiteX68" fmla="*/ 484675 w 877528"/>
              <a:gd name="connsiteY68" fmla="*/ 840798 h 877527"/>
              <a:gd name="connsiteX69" fmla="*/ 438944 w 877528"/>
              <a:gd name="connsiteY69" fmla="*/ 877527 h 877527"/>
              <a:gd name="connsiteX70" fmla="*/ 392853 w 877528"/>
              <a:gd name="connsiteY70" fmla="*/ 840798 h 877527"/>
              <a:gd name="connsiteX71" fmla="*/ 378090 w 877528"/>
              <a:gd name="connsiteY71" fmla="*/ 821714 h 877527"/>
              <a:gd name="connsiteX72" fmla="*/ 358285 w 877528"/>
              <a:gd name="connsiteY72" fmla="*/ 835397 h 877527"/>
              <a:gd name="connsiteX73" fmla="*/ 303192 w 877528"/>
              <a:gd name="connsiteY73" fmla="*/ 855922 h 877527"/>
              <a:gd name="connsiteX74" fmla="*/ 270784 w 877528"/>
              <a:gd name="connsiteY74" fmla="*/ 806590 h 877527"/>
              <a:gd name="connsiteX75" fmla="*/ 262863 w 877528"/>
              <a:gd name="connsiteY75" fmla="*/ 784265 h 877527"/>
              <a:gd name="connsiteX76" fmla="*/ 239817 w 877528"/>
              <a:gd name="connsiteY76" fmla="*/ 791107 h 877527"/>
              <a:gd name="connsiteX77" fmla="*/ 181123 w 877528"/>
              <a:gd name="connsiteY77" fmla="*/ 793627 h 877527"/>
              <a:gd name="connsiteX78" fmla="*/ 165279 w 877528"/>
              <a:gd name="connsiteY78" fmla="*/ 737094 h 877527"/>
              <a:gd name="connsiteX79" fmla="*/ 164559 w 877528"/>
              <a:gd name="connsiteY79" fmla="*/ 712968 h 877527"/>
              <a:gd name="connsiteX80" fmla="*/ 140793 w 877528"/>
              <a:gd name="connsiteY80" fmla="*/ 712248 h 877527"/>
              <a:gd name="connsiteX81" fmla="*/ 83900 w 877528"/>
              <a:gd name="connsiteY81" fmla="*/ 696404 h 877527"/>
              <a:gd name="connsiteX82" fmla="*/ 86420 w 877528"/>
              <a:gd name="connsiteY82" fmla="*/ 637710 h 877527"/>
              <a:gd name="connsiteX83" fmla="*/ 92902 w 877528"/>
              <a:gd name="connsiteY83" fmla="*/ 614665 h 877527"/>
              <a:gd name="connsiteX84" fmla="*/ 70576 w 877528"/>
              <a:gd name="connsiteY84" fmla="*/ 606743 h 877527"/>
              <a:gd name="connsiteX85" fmla="*/ 21605 w 877528"/>
              <a:gd name="connsiteY85" fmla="*/ 573975 h 877527"/>
              <a:gd name="connsiteX86" fmla="*/ 42130 w 877528"/>
              <a:gd name="connsiteY86" fmla="*/ 518882 h 877527"/>
              <a:gd name="connsiteX87" fmla="*/ 55453 w 877528"/>
              <a:gd name="connsiteY87" fmla="*/ 499078 h 877527"/>
              <a:gd name="connsiteX88" fmla="*/ 36728 w 877528"/>
              <a:gd name="connsiteY88" fmla="*/ 484674 h 877527"/>
              <a:gd name="connsiteX89" fmla="*/ 0 w 877528"/>
              <a:gd name="connsiteY89" fmla="*/ 438583 h 877527"/>
              <a:gd name="connsiteX90" fmla="*/ 36728 w 877528"/>
              <a:gd name="connsiteY90" fmla="*/ 392493 h 877527"/>
              <a:gd name="connsiteX91" fmla="*/ 55453 w 877528"/>
              <a:gd name="connsiteY91" fmla="*/ 377729 h 877527"/>
              <a:gd name="connsiteX92" fmla="*/ 42130 w 877528"/>
              <a:gd name="connsiteY92" fmla="*/ 358285 h 877527"/>
              <a:gd name="connsiteX93" fmla="*/ 21605 w 877528"/>
              <a:gd name="connsiteY93" fmla="*/ 302831 h 877527"/>
              <a:gd name="connsiteX94" fmla="*/ 70576 w 877528"/>
              <a:gd name="connsiteY94" fmla="*/ 270424 h 877527"/>
              <a:gd name="connsiteX95" fmla="*/ 92902 w 877528"/>
              <a:gd name="connsiteY95" fmla="*/ 262502 h 877527"/>
              <a:gd name="connsiteX96" fmla="*/ 86420 w 877528"/>
              <a:gd name="connsiteY96" fmla="*/ 239456 h 877527"/>
              <a:gd name="connsiteX97" fmla="*/ 83900 w 877528"/>
              <a:gd name="connsiteY97" fmla="*/ 180763 h 877527"/>
              <a:gd name="connsiteX98" fmla="*/ 140793 w 877528"/>
              <a:gd name="connsiteY98" fmla="*/ 164919 h 877527"/>
              <a:gd name="connsiteX99" fmla="*/ 164559 w 877528"/>
              <a:gd name="connsiteY99" fmla="*/ 164199 h 877527"/>
              <a:gd name="connsiteX100" fmla="*/ 165279 w 877528"/>
              <a:gd name="connsiteY100" fmla="*/ 140433 h 877527"/>
              <a:gd name="connsiteX101" fmla="*/ 181123 w 877528"/>
              <a:gd name="connsiteY101" fmla="*/ 83540 h 877527"/>
              <a:gd name="connsiteX102" fmla="*/ 239817 w 877528"/>
              <a:gd name="connsiteY102" fmla="*/ 86060 h 877527"/>
              <a:gd name="connsiteX103" fmla="*/ 262863 w 877528"/>
              <a:gd name="connsiteY103" fmla="*/ 92902 h 877527"/>
              <a:gd name="connsiteX104" fmla="*/ 270784 w 877528"/>
              <a:gd name="connsiteY104" fmla="*/ 70217 h 877527"/>
              <a:gd name="connsiteX105" fmla="*/ 303192 w 877528"/>
              <a:gd name="connsiteY105" fmla="*/ 21245 h 877527"/>
              <a:gd name="connsiteX106" fmla="*/ 358285 w 877528"/>
              <a:gd name="connsiteY106" fmla="*/ 42130 h 877527"/>
              <a:gd name="connsiteX107" fmla="*/ 378090 w 877528"/>
              <a:gd name="connsiteY107" fmla="*/ 55453 h 877527"/>
              <a:gd name="connsiteX108" fmla="*/ 392853 w 877528"/>
              <a:gd name="connsiteY108" fmla="*/ 36369 h 877527"/>
              <a:gd name="connsiteX109" fmla="*/ 438944 w 877528"/>
              <a:gd name="connsiteY109" fmla="*/ 0 h 87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877528" h="877527">
                <a:moveTo>
                  <a:pt x="437863" y="255587"/>
                </a:moveTo>
                <a:lnTo>
                  <a:pt x="455889" y="292618"/>
                </a:lnTo>
                <a:lnTo>
                  <a:pt x="499512" y="383937"/>
                </a:lnTo>
                <a:lnTo>
                  <a:pt x="590365" y="390768"/>
                </a:lnTo>
                <a:lnTo>
                  <a:pt x="631465" y="393644"/>
                </a:lnTo>
                <a:lnTo>
                  <a:pt x="601541" y="422406"/>
                </a:lnTo>
                <a:lnTo>
                  <a:pt x="527633" y="491793"/>
                </a:lnTo>
                <a:lnTo>
                  <a:pt x="549625" y="580236"/>
                </a:lnTo>
                <a:lnTo>
                  <a:pt x="559360" y="620143"/>
                </a:lnTo>
                <a:lnTo>
                  <a:pt x="522947" y="600369"/>
                </a:lnTo>
                <a:lnTo>
                  <a:pt x="433897" y="552193"/>
                </a:lnTo>
                <a:lnTo>
                  <a:pt x="356384" y="600010"/>
                </a:lnTo>
                <a:lnTo>
                  <a:pt x="321052" y="621941"/>
                </a:lnTo>
                <a:lnTo>
                  <a:pt x="328624" y="581314"/>
                </a:lnTo>
                <a:lnTo>
                  <a:pt x="347371" y="481727"/>
                </a:lnTo>
                <a:lnTo>
                  <a:pt x="277429" y="422765"/>
                </a:lnTo>
                <a:lnTo>
                  <a:pt x="246063" y="396160"/>
                </a:lnTo>
                <a:lnTo>
                  <a:pt x="287163" y="391127"/>
                </a:lnTo>
                <a:lnTo>
                  <a:pt x="387750" y="377825"/>
                </a:lnTo>
                <a:lnTo>
                  <a:pt x="422360" y="293696"/>
                </a:lnTo>
                <a:close/>
                <a:moveTo>
                  <a:pt x="438944" y="152316"/>
                </a:moveTo>
                <a:cubicBezTo>
                  <a:pt x="359725" y="152316"/>
                  <a:pt x="288429" y="184363"/>
                  <a:pt x="236576" y="236216"/>
                </a:cubicBezTo>
                <a:cubicBezTo>
                  <a:pt x="184724" y="288068"/>
                  <a:pt x="152676" y="359725"/>
                  <a:pt x="152676" y="438583"/>
                </a:cubicBezTo>
                <a:cubicBezTo>
                  <a:pt x="152676" y="517802"/>
                  <a:pt x="184724" y="589099"/>
                  <a:pt x="236576" y="640951"/>
                </a:cubicBezTo>
                <a:cubicBezTo>
                  <a:pt x="288429" y="692803"/>
                  <a:pt x="359725" y="724851"/>
                  <a:pt x="438944" y="724851"/>
                </a:cubicBezTo>
                <a:cubicBezTo>
                  <a:pt x="517803" y="724851"/>
                  <a:pt x="589460" y="692803"/>
                  <a:pt x="641312" y="640951"/>
                </a:cubicBezTo>
                <a:cubicBezTo>
                  <a:pt x="693164" y="589099"/>
                  <a:pt x="724852" y="517802"/>
                  <a:pt x="724852" y="438583"/>
                </a:cubicBezTo>
                <a:cubicBezTo>
                  <a:pt x="724852" y="359725"/>
                  <a:pt x="693164" y="288068"/>
                  <a:pt x="641312" y="236216"/>
                </a:cubicBezTo>
                <a:cubicBezTo>
                  <a:pt x="589460" y="184363"/>
                  <a:pt x="517803" y="152316"/>
                  <a:pt x="438944" y="152316"/>
                </a:cubicBezTo>
                <a:close/>
                <a:moveTo>
                  <a:pt x="438944" y="0"/>
                </a:moveTo>
                <a:cubicBezTo>
                  <a:pt x="463430" y="0"/>
                  <a:pt x="473873" y="18004"/>
                  <a:pt x="484675" y="36369"/>
                </a:cubicBezTo>
                <a:cubicBezTo>
                  <a:pt x="490076" y="45371"/>
                  <a:pt x="495478" y="54733"/>
                  <a:pt x="499439" y="55453"/>
                </a:cubicBezTo>
                <a:cubicBezTo>
                  <a:pt x="503400" y="55813"/>
                  <a:pt x="511321" y="48972"/>
                  <a:pt x="519243" y="42130"/>
                </a:cubicBezTo>
                <a:cubicBezTo>
                  <a:pt x="535447" y="27727"/>
                  <a:pt x="550931" y="13683"/>
                  <a:pt x="574336" y="21245"/>
                </a:cubicBezTo>
                <a:cubicBezTo>
                  <a:pt x="597742" y="28807"/>
                  <a:pt x="602423" y="49692"/>
                  <a:pt x="607104" y="70217"/>
                </a:cubicBezTo>
                <a:cubicBezTo>
                  <a:pt x="609265" y="80659"/>
                  <a:pt x="611425" y="91102"/>
                  <a:pt x="615026" y="92902"/>
                </a:cubicBezTo>
                <a:cubicBezTo>
                  <a:pt x="618627" y="94702"/>
                  <a:pt x="628349" y="90381"/>
                  <a:pt x="638071" y="86060"/>
                </a:cubicBezTo>
                <a:cubicBezTo>
                  <a:pt x="657516" y="77778"/>
                  <a:pt x="676601" y="69136"/>
                  <a:pt x="696765" y="83540"/>
                </a:cubicBezTo>
                <a:cubicBezTo>
                  <a:pt x="716570" y="97943"/>
                  <a:pt x="714770" y="118828"/>
                  <a:pt x="712609" y="140433"/>
                </a:cubicBezTo>
                <a:cubicBezTo>
                  <a:pt x="711529" y="150515"/>
                  <a:pt x="710449" y="161318"/>
                  <a:pt x="712969" y="164199"/>
                </a:cubicBezTo>
                <a:cubicBezTo>
                  <a:pt x="716210" y="167079"/>
                  <a:pt x="726652" y="165999"/>
                  <a:pt x="737095" y="164919"/>
                </a:cubicBezTo>
                <a:cubicBezTo>
                  <a:pt x="758340" y="163118"/>
                  <a:pt x="779225" y="160958"/>
                  <a:pt x="793628" y="180763"/>
                </a:cubicBezTo>
                <a:cubicBezTo>
                  <a:pt x="808392" y="200567"/>
                  <a:pt x="799750" y="219652"/>
                  <a:pt x="791108" y="239456"/>
                </a:cubicBezTo>
                <a:cubicBezTo>
                  <a:pt x="787147" y="248819"/>
                  <a:pt x="782826" y="258901"/>
                  <a:pt x="784626" y="262502"/>
                </a:cubicBezTo>
                <a:cubicBezTo>
                  <a:pt x="786427" y="266103"/>
                  <a:pt x="796509" y="268263"/>
                  <a:pt x="806951" y="270424"/>
                </a:cubicBezTo>
                <a:cubicBezTo>
                  <a:pt x="827836" y="275105"/>
                  <a:pt x="848361" y="279786"/>
                  <a:pt x="856283" y="302831"/>
                </a:cubicBezTo>
                <a:cubicBezTo>
                  <a:pt x="863845" y="326237"/>
                  <a:pt x="849802" y="342081"/>
                  <a:pt x="835398" y="358285"/>
                </a:cubicBezTo>
                <a:cubicBezTo>
                  <a:pt x="828196" y="365846"/>
                  <a:pt x="821355" y="374128"/>
                  <a:pt x="822075" y="377729"/>
                </a:cubicBezTo>
                <a:cubicBezTo>
                  <a:pt x="822795" y="381690"/>
                  <a:pt x="831797" y="387451"/>
                  <a:pt x="840799" y="392493"/>
                </a:cubicBezTo>
                <a:cubicBezTo>
                  <a:pt x="859524" y="403295"/>
                  <a:pt x="877528" y="414098"/>
                  <a:pt x="877528" y="438583"/>
                </a:cubicBezTo>
                <a:cubicBezTo>
                  <a:pt x="877528" y="463069"/>
                  <a:pt x="859524" y="473872"/>
                  <a:pt x="840799" y="484674"/>
                </a:cubicBezTo>
                <a:cubicBezTo>
                  <a:pt x="831797" y="489716"/>
                  <a:pt x="822795" y="495477"/>
                  <a:pt x="822075" y="499078"/>
                </a:cubicBezTo>
                <a:cubicBezTo>
                  <a:pt x="821355" y="503399"/>
                  <a:pt x="828196" y="510961"/>
                  <a:pt x="835398" y="518882"/>
                </a:cubicBezTo>
                <a:cubicBezTo>
                  <a:pt x="849802" y="535086"/>
                  <a:pt x="863845" y="550930"/>
                  <a:pt x="856283" y="573975"/>
                </a:cubicBezTo>
                <a:cubicBezTo>
                  <a:pt x="848361" y="597741"/>
                  <a:pt x="827836" y="602062"/>
                  <a:pt x="806951" y="606743"/>
                </a:cubicBezTo>
                <a:cubicBezTo>
                  <a:pt x="796509" y="608904"/>
                  <a:pt x="786427" y="611424"/>
                  <a:pt x="784626" y="614665"/>
                </a:cubicBezTo>
                <a:cubicBezTo>
                  <a:pt x="782826" y="618266"/>
                  <a:pt x="787147" y="627988"/>
                  <a:pt x="791108" y="637710"/>
                </a:cubicBezTo>
                <a:cubicBezTo>
                  <a:pt x="799750" y="657515"/>
                  <a:pt x="808392" y="676600"/>
                  <a:pt x="793628" y="696404"/>
                </a:cubicBezTo>
                <a:cubicBezTo>
                  <a:pt x="779225" y="716209"/>
                  <a:pt x="758340" y="714408"/>
                  <a:pt x="737095" y="712248"/>
                </a:cubicBezTo>
                <a:cubicBezTo>
                  <a:pt x="726652" y="711168"/>
                  <a:pt x="716210" y="710087"/>
                  <a:pt x="712969" y="712968"/>
                </a:cubicBezTo>
                <a:cubicBezTo>
                  <a:pt x="710449" y="715849"/>
                  <a:pt x="711529" y="726291"/>
                  <a:pt x="712609" y="737094"/>
                </a:cubicBezTo>
                <a:cubicBezTo>
                  <a:pt x="714770" y="757979"/>
                  <a:pt x="716570" y="778864"/>
                  <a:pt x="696765" y="793627"/>
                </a:cubicBezTo>
                <a:cubicBezTo>
                  <a:pt x="676601" y="808031"/>
                  <a:pt x="657516" y="799389"/>
                  <a:pt x="638071" y="791107"/>
                </a:cubicBezTo>
                <a:cubicBezTo>
                  <a:pt x="628349" y="786786"/>
                  <a:pt x="618627" y="782465"/>
                  <a:pt x="615026" y="784265"/>
                </a:cubicBezTo>
                <a:cubicBezTo>
                  <a:pt x="611425" y="786065"/>
                  <a:pt x="609265" y="796508"/>
                  <a:pt x="607104" y="806590"/>
                </a:cubicBezTo>
                <a:cubicBezTo>
                  <a:pt x="602423" y="827835"/>
                  <a:pt x="597742" y="848000"/>
                  <a:pt x="574336" y="855922"/>
                </a:cubicBezTo>
                <a:cubicBezTo>
                  <a:pt x="550931" y="863484"/>
                  <a:pt x="535447" y="849440"/>
                  <a:pt x="519243" y="835397"/>
                </a:cubicBezTo>
                <a:cubicBezTo>
                  <a:pt x="511321" y="828195"/>
                  <a:pt x="503400" y="820994"/>
                  <a:pt x="499439" y="821714"/>
                </a:cubicBezTo>
                <a:cubicBezTo>
                  <a:pt x="495478" y="822434"/>
                  <a:pt x="490076" y="831796"/>
                  <a:pt x="484675" y="840798"/>
                </a:cubicBezTo>
                <a:cubicBezTo>
                  <a:pt x="473873" y="859163"/>
                  <a:pt x="463430" y="877527"/>
                  <a:pt x="438944" y="877527"/>
                </a:cubicBezTo>
                <a:cubicBezTo>
                  <a:pt x="414458" y="877527"/>
                  <a:pt x="403656" y="859163"/>
                  <a:pt x="392853" y="840798"/>
                </a:cubicBezTo>
                <a:cubicBezTo>
                  <a:pt x="387452" y="831796"/>
                  <a:pt x="382051" y="822434"/>
                  <a:pt x="378090" y="821714"/>
                </a:cubicBezTo>
                <a:cubicBezTo>
                  <a:pt x="374489" y="820994"/>
                  <a:pt x="366207" y="828195"/>
                  <a:pt x="358285" y="835397"/>
                </a:cubicBezTo>
                <a:cubicBezTo>
                  <a:pt x="342441" y="849440"/>
                  <a:pt x="326598" y="863484"/>
                  <a:pt x="303192" y="855922"/>
                </a:cubicBezTo>
                <a:cubicBezTo>
                  <a:pt x="279787" y="848000"/>
                  <a:pt x="275466" y="827835"/>
                  <a:pt x="270784" y="806590"/>
                </a:cubicBezTo>
                <a:cubicBezTo>
                  <a:pt x="268264" y="796508"/>
                  <a:pt x="266463" y="786065"/>
                  <a:pt x="262863" y="784265"/>
                </a:cubicBezTo>
                <a:cubicBezTo>
                  <a:pt x="259262" y="782465"/>
                  <a:pt x="249179" y="786786"/>
                  <a:pt x="239817" y="791107"/>
                </a:cubicBezTo>
                <a:cubicBezTo>
                  <a:pt x="220012" y="799389"/>
                  <a:pt x="200567" y="808031"/>
                  <a:pt x="181123" y="793627"/>
                </a:cubicBezTo>
                <a:cubicBezTo>
                  <a:pt x="160958" y="778864"/>
                  <a:pt x="163118" y="757979"/>
                  <a:pt x="165279" y="737094"/>
                </a:cubicBezTo>
                <a:cubicBezTo>
                  <a:pt x="166359" y="726291"/>
                  <a:pt x="167439" y="715849"/>
                  <a:pt x="164559" y="712968"/>
                </a:cubicBezTo>
                <a:cubicBezTo>
                  <a:pt x="161678" y="710087"/>
                  <a:pt x="150876" y="711168"/>
                  <a:pt x="140793" y="712248"/>
                </a:cubicBezTo>
                <a:cubicBezTo>
                  <a:pt x="119188" y="714408"/>
                  <a:pt x="98303" y="716209"/>
                  <a:pt x="83900" y="696404"/>
                </a:cubicBezTo>
                <a:cubicBezTo>
                  <a:pt x="69496" y="676600"/>
                  <a:pt x="77778" y="657515"/>
                  <a:pt x="86420" y="637710"/>
                </a:cubicBezTo>
                <a:cubicBezTo>
                  <a:pt x="90741" y="627988"/>
                  <a:pt x="95062" y="618266"/>
                  <a:pt x="92902" y="614665"/>
                </a:cubicBezTo>
                <a:cubicBezTo>
                  <a:pt x="91461" y="611424"/>
                  <a:pt x="81019" y="608904"/>
                  <a:pt x="70576" y="606743"/>
                </a:cubicBezTo>
                <a:cubicBezTo>
                  <a:pt x="49692" y="602062"/>
                  <a:pt x="29167" y="597741"/>
                  <a:pt x="21605" y="573975"/>
                </a:cubicBezTo>
                <a:cubicBezTo>
                  <a:pt x="14043" y="550930"/>
                  <a:pt x="28086" y="535086"/>
                  <a:pt x="42130" y="518882"/>
                </a:cubicBezTo>
                <a:cubicBezTo>
                  <a:pt x="48971" y="510961"/>
                  <a:pt x="56173" y="503399"/>
                  <a:pt x="55453" y="499078"/>
                </a:cubicBezTo>
                <a:cubicBezTo>
                  <a:pt x="55093" y="495477"/>
                  <a:pt x="45731" y="489716"/>
                  <a:pt x="36728" y="484674"/>
                </a:cubicBezTo>
                <a:cubicBezTo>
                  <a:pt x="18364" y="473872"/>
                  <a:pt x="0" y="463069"/>
                  <a:pt x="0" y="438583"/>
                </a:cubicBezTo>
                <a:cubicBezTo>
                  <a:pt x="0" y="414098"/>
                  <a:pt x="18364" y="403295"/>
                  <a:pt x="36728" y="392493"/>
                </a:cubicBezTo>
                <a:cubicBezTo>
                  <a:pt x="45731" y="387451"/>
                  <a:pt x="55093" y="381690"/>
                  <a:pt x="55453" y="377729"/>
                </a:cubicBezTo>
                <a:cubicBezTo>
                  <a:pt x="56173" y="374128"/>
                  <a:pt x="48971" y="365846"/>
                  <a:pt x="42130" y="358285"/>
                </a:cubicBezTo>
                <a:cubicBezTo>
                  <a:pt x="28086" y="342081"/>
                  <a:pt x="14043" y="326237"/>
                  <a:pt x="21605" y="302831"/>
                </a:cubicBezTo>
                <a:cubicBezTo>
                  <a:pt x="29167" y="279786"/>
                  <a:pt x="49692" y="275105"/>
                  <a:pt x="70576" y="270424"/>
                </a:cubicBezTo>
                <a:cubicBezTo>
                  <a:pt x="81019" y="268263"/>
                  <a:pt x="91461" y="266103"/>
                  <a:pt x="92902" y="262502"/>
                </a:cubicBezTo>
                <a:cubicBezTo>
                  <a:pt x="95062" y="258901"/>
                  <a:pt x="90741" y="248819"/>
                  <a:pt x="86420" y="239456"/>
                </a:cubicBezTo>
                <a:cubicBezTo>
                  <a:pt x="77778" y="219652"/>
                  <a:pt x="69496" y="200567"/>
                  <a:pt x="83900" y="180763"/>
                </a:cubicBezTo>
                <a:cubicBezTo>
                  <a:pt x="98303" y="160958"/>
                  <a:pt x="119188" y="163118"/>
                  <a:pt x="140793" y="164919"/>
                </a:cubicBezTo>
                <a:cubicBezTo>
                  <a:pt x="150876" y="165999"/>
                  <a:pt x="161678" y="167079"/>
                  <a:pt x="164559" y="164199"/>
                </a:cubicBezTo>
                <a:cubicBezTo>
                  <a:pt x="167439" y="161318"/>
                  <a:pt x="166359" y="150515"/>
                  <a:pt x="165279" y="140433"/>
                </a:cubicBezTo>
                <a:cubicBezTo>
                  <a:pt x="163118" y="118828"/>
                  <a:pt x="160958" y="97943"/>
                  <a:pt x="181123" y="83540"/>
                </a:cubicBezTo>
                <a:cubicBezTo>
                  <a:pt x="200567" y="69136"/>
                  <a:pt x="220012" y="77778"/>
                  <a:pt x="239817" y="86060"/>
                </a:cubicBezTo>
                <a:cubicBezTo>
                  <a:pt x="249179" y="90381"/>
                  <a:pt x="259262" y="94702"/>
                  <a:pt x="262863" y="92902"/>
                </a:cubicBezTo>
                <a:cubicBezTo>
                  <a:pt x="266463" y="91102"/>
                  <a:pt x="268264" y="80659"/>
                  <a:pt x="270784" y="70217"/>
                </a:cubicBezTo>
                <a:cubicBezTo>
                  <a:pt x="275466" y="49692"/>
                  <a:pt x="279787" y="28807"/>
                  <a:pt x="303192" y="21245"/>
                </a:cubicBezTo>
                <a:cubicBezTo>
                  <a:pt x="326598" y="13683"/>
                  <a:pt x="342441" y="27727"/>
                  <a:pt x="358285" y="42130"/>
                </a:cubicBezTo>
                <a:cubicBezTo>
                  <a:pt x="366207" y="48972"/>
                  <a:pt x="374489" y="55813"/>
                  <a:pt x="378090" y="55453"/>
                </a:cubicBezTo>
                <a:cubicBezTo>
                  <a:pt x="382051" y="54733"/>
                  <a:pt x="387452" y="45371"/>
                  <a:pt x="392853" y="36369"/>
                </a:cubicBezTo>
                <a:cubicBezTo>
                  <a:pt x="403656" y="18004"/>
                  <a:pt x="414458" y="0"/>
                  <a:pt x="438944" y="0"/>
                </a:cubicBezTo>
                <a:close/>
              </a:path>
            </a:pathLst>
          </a:custGeom>
          <a:solidFill>
            <a:schemeClr val="bg1"/>
          </a:solidFill>
          <a:ln>
            <a:noFill/>
          </a:ln>
          <a:effectLst/>
        </p:spPr>
        <p:txBody>
          <a:bodyPr wrap="square" anchor="ctr">
            <a:noAutofit/>
          </a:bodyPr>
          <a:lstStyle/>
          <a:p>
            <a:endParaRPr lang="en-US" sz="900">
              <a:latin typeface="Lato Light" panose="020F0502020204030203" pitchFamily="34" charset="0"/>
            </a:endParaRPr>
          </a:p>
        </p:txBody>
      </p:sp>
      <p:sp>
        <p:nvSpPr>
          <p:cNvPr id="27" name="Freeform 12">
            <a:extLst>
              <a:ext uri="{FF2B5EF4-FFF2-40B4-BE49-F238E27FC236}">
                <a16:creationId xmlns:a16="http://schemas.microsoft.com/office/drawing/2014/main" id="{BD48FA8E-B6C2-9FFF-8B3F-D35338CD8DCC}"/>
              </a:ext>
            </a:extLst>
          </p:cNvPr>
          <p:cNvSpPr>
            <a:spLocks noChangeArrowheads="1"/>
          </p:cNvSpPr>
          <p:nvPr userDrawn="1"/>
        </p:nvSpPr>
        <p:spPr bwMode="auto">
          <a:xfrm>
            <a:off x="1285980" y="5514827"/>
            <a:ext cx="464466" cy="696070"/>
          </a:xfrm>
          <a:custGeom>
            <a:avLst/>
            <a:gdLst>
              <a:gd name="T0" fmla="*/ 1277 w 1626"/>
              <a:gd name="T1" fmla="*/ 632 h 2438"/>
              <a:gd name="T2" fmla="*/ 1236 w 1626"/>
              <a:gd name="T3" fmla="*/ 615 h 2438"/>
              <a:gd name="T4" fmla="*/ 1178 w 1626"/>
              <a:gd name="T5" fmla="*/ 683 h 2438"/>
              <a:gd name="T6" fmla="*/ 1289 w 1626"/>
              <a:gd name="T7" fmla="*/ 761 h 2438"/>
              <a:gd name="T8" fmla="*/ 1240 w 1626"/>
              <a:gd name="T9" fmla="*/ 803 h 2438"/>
              <a:gd name="T10" fmla="*/ 1196 w 1626"/>
              <a:gd name="T11" fmla="*/ 784 h 2438"/>
              <a:gd name="T12" fmla="*/ 1371 w 1626"/>
              <a:gd name="T13" fmla="*/ 730 h 2438"/>
              <a:gd name="T14" fmla="*/ 1232 w 1626"/>
              <a:gd name="T15" fmla="*/ 555 h 2438"/>
              <a:gd name="T16" fmla="*/ 1136 w 1626"/>
              <a:gd name="T17" fmla="*/ 597 h 2438"/>
              <a:gd name="T18" fmla="*/ 1126 w 1626"/>
              <a:gd name="T19" fmla="*/ 811 h 2438"/>
              <a:gd name="T20" fmla="*/ 1239 w 1626"/>
              <a:gd name="T21" fmla="*/ 861 h 2438"/>
              <a:gd name="T22" fmla="*/ 1367 w 1626"/>
              <a:gd name="T23" fmla="*/ 774 h 2438"/>
              <a:gd name="T24" fmla="*/ 1041 w 1626"/>
              <a:gd name="T25" fmla="*/ 854 h 2438"/>
              <a:gd name="T26" fmla="*/ 964 w 1626"/>
              <a:gd name="T27" fmla="*/ 854 h 2438"/>
              <a:gd name="T28" fmla="*/ 765 w 1626"/>
              <a:gd name="T29" fmla="*/ 726 h 2438"/>
              <a:gd name="T30" fmla="*/ 723 w 1626"/>
              <a:gd name="T31" fmla="*/ 739 h 2438"/>
              <a:gd name="T32" fmla="*/ 720 w 1626"/>
              <a:gd name="T33" fmla="*/ 794 h 2438"/>
              <a:gd name="T34" fmla="*/ 750 w 1626"/>
              <a:gd name="T35" fmla="*/ 806 h 2438"/>
              <a:gd name="T36" fmla="*/ 809 w 1626"/>
              <a:gd name="T37" fmla="*/ 767 h 2438"/>
              <a:gd name="T38" fmla="*/ 812 w 1626"/>
              <a:gd name="T39" fmla="*/ 714 h 2438"/>
              <a:gd name="T40" fmla="*/ 727 w 1626"/>
              <a:gd name="T41" fmla="*/ 623 h 2438"/>
              <a:gd name="T42" fmla="*/ 759 w 1626"/>
              <a:gd name="T43" fmla="*/ 615 h 2438"/>
              <a:gd name="T44" fmla="*/ 812 w 1626"/>
              <a:gd name="T45" fmla="*/ 656 h 2438"/>
              <a:gd name="T46" fmla="*/ 737 w 1626"/>
              <a:gd name="T47" fmla="*/ 683 h 2438"/>
              <a:gd name="T48" fmla="*/ 675 w 1626"/>
              <a:gd name="T49" fmla="*/ 700 h 2438"/>
              <a:gd name="T50" fmla="*/ 631 w 1626"/>
              <a:gd name="T51" fmla="*/ 774 h 2438"/>
              <a:gd name="T52" fmla="*/ 657 w 1626"/>
              <a:gd name="T53" fmla="*/ 836 h 2438"/>
              <a:gd name="T54" fmla="*/ 776 w 1626"/>
              <a:gd name="T55" fmla="*/ 851 h 2438"/>
              <a:gd name="T56" fmla="*/ 818 w 1626"/>
              <a:gd name="T57" fmla="*/ 822 h 2438"/>
              <a:gd name="T58" fmla="*/ 828 w 1626"/>
              <a:gd name="T59" fmla="*/ 854 h 2438"/>
              <a:gd name="T60" fmla="*/ 891 w 1626"/>
              <a:gd name="T61" fmla="*/ 815 h 2438"/>
              <a:gd name="T62" fmla="*/ 888 w 1626"/>
              <a:gd name="T63" fmla="*/ 668 h 2438"/>
              <a:gd name="T64" fmla="*/ 877 w 1626"/>
              <a:gd name="T65" fmla="*/ 599 h 2438"/>
              <a:gd name="T66" fmla="*/ 765 w 1626"/>
              <a:gd name="T67" fmla="*/ 555 h 2438"/>
              <a:gd name="T68" fmla="*/ 679 w 1626"/>
              <a:gd name="T69" fmla="*/ 576 h 2438"/>
              <a:gd name="T70" fmla="*/ 255 w 1626"/>
              <a:gd name="T71" fmla="*/ 723 h 2438"/>
              <a:gd name="T72" fmla="*/ 304 w 1626"/>
              <a:gd name="T73" fmla="*/ 826 h 2438"/>
              <a:gd name="T74" fmla="*/ 509 w 1626"/>
              <a:gd name="T75" fmla="*/ 847 h 2438"/>
              <a:gd name="T76" fmla="*/ 564 w 1626"/>
              <a:gd name="T77" fmla="*/ 801 h 2438"/>
              <a:gd name="T78" fmla="*/ 567 w 1626"/>
              <a:gd name="T79" fmla="*/ 673 h 2438"/>
              <a:gd name="T80" fmla="*/ 523 w 1626"/>
              <a:gd name="T81" fmla="*/ 632 h 2438"/>
              <a:gd name="T82" fmla="*/ 360 w 1626"/>
              <a:gd name="T83" fmla="*/ 576 h 2438"/>
              <a:gd name="T84" fmla="*/ 348 w 1626"/>
              <a:gd name="T85" fmla="*/ 551 h 2438"/>
              <a:gd name="T86" fmla="*/ 416 w 1626"/>
              <a:gd name="T87" fmla="*/ 512 h 2438"/>
              <a:gd name="T88" fmla="*/ 467 w 1626"/>
              <a:gd name="T89" fmla="*/ 525 h 2438"/>
              <a:gd name="T90" fmla="*/ 571 w 1626"/>
              <a:gd name="T91" fmla="*/ 567 h 2438"/>
              <a:gd name="T92" fmla="*/ 417 w 1626"/>
              <a:gd name="T93" fmla="*/ 444 h 2438"/>
              <a:gd name="T94" fmla="*/ 338 w 1626"/>
              <a:gd name="T95" fmla="*/ 458 h 2438"/>
              <a:gd name="T96" fmla="*/ 270 w 1626"/>
              <a:gd name="T97" fmla="*/ 557 h 2438"/>
              <a:gd name="T98" fmla="*/ 307 w 1626"/>
              <a:gd name="T99" fmla="*/ 638 h 2438"/>
              <a:gd name="T100" fmla="*/ 464 w 1626"/>
              <a:gd name="T101" fmla="*/ 695 h 2438"/>
              <a:gd name="T102" fmla="*/ 493 w 1626"/>
              <a:gd name="T103" fmla="*/ 713 h 2438"/>
              <a:gd name="T104" fmla="*/ 482 w 1626"/>
              <a:gd name="T105" fmla="*/ 776 h 2438"/>
              <a:gd name="T106" fmla="*/ 422 w 1626"/>
              <a:gd name="T107" fmla="*/ 792 h 2438"/>
              <a:gd name="T108" fmla="*/ 335 w 1626"/>
              <a:gd name="T109" fmla="*/ 715 h 2438"/>
              <a:gd name="T110" fmla="*/ 1575 w 1626"/>
              <a:gd name="T111" fmla="*/ 0 h 2438"/>
              <a:gd name="T112" fmla="*/ 1625 w 1626"/>
              <a:gd name="T113" fmla="*/ 2302 h 2438"/>
              <a:gd name="T114" fmla="*/ 813 w 1626"/>
              <a:gd name="T115" fmla="*/ 1512 h 2438"/>
              <a:gd name="T116" fmla="*/ 0 w 1626"/>
              <a:gd name="T117" fmla="*/ 2302 h 2438"/>
              <a:gd name="T118" fmla="*/ 52 w 1626"/>
              <a:gd name="T119" fmla="*/ 0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26" h="2438">
                <a:moveTo>
                  <a:pt x="1294" y="683"/>
                </a:moveTo>
                <a:lnTo>
                  <a:pt x="1294" y="683"/>
                </a:lnTo>
                <a:cubicBezTo>
                  <a:pt x="1293" y="660"/>
                  <a:pt x="1287" y="644"/>
                  <a:pt x="1277" y="632"/>
                </a:cubicBezTo>
                <a:lnTo>
                  <a:pt x="1277" y="632"/>
                </a:lnTo>
                <a:cubicBezTo>
                  <a:pt x="1266" y="620"/>
                  <a:pt x="1252" y="615"/>
                  <a:pt x="1236" y="615"/>
                </a:cubicBezTo>
                <a:lnTo>
                  <a:pt x="1236" y="615"/>
                </a:lnTo>
                <a:cubicBezTo>
                  <a:pt x="1219" y="615"/>
                  <a:pt x="1206" y="621"/>
                  <a:pt x="1194" y="633"/>
                </a:cubicBezTo>
                <a:lnTo>
                  <a:pt x="1194" y="633"/>
                </a:lnTo>
                <a:cubicBezTo>
                  <a:pt x="1183" y="645"/>
                  <a:pt x="1178" y="662"/>
                  <a:pt x="1178" y="683"/>
                </a:cubicBezTo>
                <a:lnTo>
                  <a:pt x="1294" y="683"/>
                </a:lnTo>
                <a:close/>
                <a:moveTo>
                  <a:pt x="1289" y="761"/>
                </a:moveTo>
                <a:lnTo>
                  <a:pt x="1289" y="761"/>
                </a:lnTo>
                <a:cubicBezTo>
                  <a:pt x="1285" y="776"/>
                  <a:pt x="1279" y="786"/>
                  <a:pt x="1271" y="793"/>
                </a:cubicBezTo>
                <a:lnTo>
                  <a:pt x="1271" y="793"/>
                </a:lnTo>
                <a:cubicBezTo>
                  <a:pt x="1263" y="800"/>
                  <a:pt x="1252" y="803"/>
                  <a:pt x="1240" y="803"/>
                </a:cubicBezTo>
                <a:lnTo>
                  <a:pt x="1240" y="803"/>
                </a:lnTo>
                <a:cubicBezTo>
                  <a:pt x="1223" y="803"/>
                  <a:pt x="1207" y="797"/>
                  <a:pt x="1196" y="784"/>
                </a:cubicBezTo>
                <a:lnTo>
                  <a:pt x="1196" y="784"/>
                </a:lnTo>
                <a:cubicBezTo>
                  <a:pt x="1184" y="771"/>
                  <a:pt x="1177" y="753"/>
                  <a:pt x="1177" y="730"/>
                </a:cubicBezTo>
                <a:lnTo>
                  <a:pt x="1371" y="730"/>
                </a:lnTo>
                <a:lnTo>
                  <a:pt x="1371" y="730"/>
                </a:lnTo>
                <a:cubicBezTo>
                  <a:pt x="1371" y="671"/>
                  <a:pt x="1360" y="628"/>
                  <a:pt x="1334" y="599"/>
                </a:cubicBezTo>
                <a:lnTo>
                  <a:pt x="1334" y="599"/>
                </a:lnTo>
                <a:cubicBezTo>
                  <a:pt x="1309" y="570"/>
                  <a:pt x="1275" y="555"/>
                  <a:pt x="1232" y="555"/>
                </a:cubicBezTo>
                <a:lnTo>
                  <a:pt x="1232" y="555"/>
                </a:lnTo>
                <a:cubicBezTo>
                  <a:pt x="1193" y="555"/>
                  <a:pt x="1161" y="569"/>
                  <a:pt x="1136" y="597"/>
                </a:cubicBezTo>
                <a:lnTo>
                  <a:pt x="1136" y="597"/>
                </a:lnTo>
                <a:cubicBezTo>
                  <a:pt x="1111" y="624"/>
                  <a:pt x="1098" y="661"/>
                  <a:pt x="1098" y="710"/>
                </a:cubicBezTo>
                <a:lnTo>
                  <a:pt x="1098" y="710"/>
                </a:lnTo>
                <a:cubicBezTo>
                  <a:pt x="1098" y="751"/>
                  <a:pt x="1108" y="784"/>
                  <a:pt x="1126" y="811"/>
                </a:cubicBezTo>
                <a:lnTo>
                  <a:pt x="1126" y="811"/>
                </a:lnTo>
                <a:cubicBezTo>
                  <a:pt x="1151" y="844"/>
                  <a:pt x="1189" y="861"/>
                  <a:pt x="1239" y="861"/>
                </a:cubicBezTo>
                <a:lnTo>
                  <a:pt x="1239" y="861"/>
                </a:lnTo>
                <a:cubicBezTo>
                  <a:pt x="1272" y="861"/>
                  <a:pt x="1298" y="853"/>
                  <a:pt x="1320" y="839"/>
                </a:cubicBezTo>
                <a:lnTo>
                  <a:pt x="1320" y="839"/>
                </a:lnTo>
                <a:cubicBezTo>
                  <a:pt x="1341" y="824"/>
                  <a:pt x="1357" y="802"/>
                  <a:pt x="1367" y="774"/>
                </a:cubicBezTo>
                <a:lnTo>
                  <a:pt x="1289" y="761"/>
                </a:lnTo>
                <a:close/>
                <a:moveTo>
                  <a:pt x="964" y="854"/>
                </a:moveTo>
                <a:lnTo>
                  <a:pt x="1041" y="854"/>
                </a:lnTo>
                <a:lnTo>
                  <a:pt x="1041" y="451"/>
                </a:lnTo>
                <a:lnTo>
                  <a:pt x="964" y="451"/>
                </a:lnTo>
                <a:lnTo>
                  <a:pt x="964" y="854"/>
                </a:lnTo>
                <a:close/>
                <a:moveTo>
                  <a:pt x="812" y="714"/>
                </a:moveTo>
                <a:lnTo>
                  <a:pt x="812" y="714"/>
                </a:lnTo>
                <a:cubicBezTo>
                  <a:pt x="802" y="718"/>
                  <a:pt x="786" y="721"/>
                  <a:pt x="765" y="726"/>
                </a:cubicBezTo>
                <a:lnTo>
                  <a:pt x="765" y="726"/>
                </a:lnTo>
                <a:cubicBezTo>
                  <a:pt x="744" y="730"/>
                  <a:pt x="729" y="735"/>
                  <a:pt x="723" y="739"/>
                </a:cubicBezTo>
                <a:lnTo>
                  <a:pt x="723" y="739"/>
                </a:lnTo>
                <a:cubicBezTo>
                  <a:pt x="713" y="746"/>
                  <a:pt x="708" y="756"/>
                  <a:pt x="708" y="766"/>
                </a:cubicBezTo>
                <a:lnTo>
                  <a:pt x="708" y="766"/>
                </a:lnTo>
                <a:cubicBezTo>
                  <a:pt x="708" y="777"/>
                  <a:pt x="712" y="787"/>
                  <a:pt x="720" y="794"/>
                </a:cubicBezTo>
                <a:lnTo>
                  <a:pt x="720" y="794"/>
                </a:lnTo>
                <a:cubicBezTo>
                  <a:pt x="728" y="802"/>
                  <a:pt x="738" y="806"/>
                  <a:pt x="750" y="806"/>
                </a:cubicBezTo>
                <a:lnTo>
                  <a:pt x="750" y="806"/>
                </a:lnTo>
                <a:cubicBezTo>
                  <a:pt x="765" y="806"/>
                  <a:pt x="778" y="801"/>
                  <a:pt x="790" y="792"/>
                </a:cubicBezTo>
                <a:lnTo>
                  <a:pt x="790" y="792"/>
                </a:lnTo>
                <a:cubicBezTo>
                  <a:pt x="800" y="786"/>
                  <a:pt x="806" y="777"/>
                  <a:pt x="809" y="767"/>
                </a:cubicBezTo>
                <a:lnTo>
                  <a:pt x="809" y="767"/>
                </a:lnTo>
                <a:cubicBezTo>
                  <a:pt x="811" y="760"/>
                  <a:pt x="812" y="748"/>
                  <a:pt x="812" y="729"/>
                </a:cubicBezTo>
                <a:lnTo>
                  <a:pt x="812" y="714"/>
                </a:lnTo>
                <a:close/>
                <a:moveTo>
                  <a:pt x="709" y="651"/>
                </a:moveTo>
                <a:lnTo>
                  <a:pt x="709" y="651"/>
                </a:lnTo>
                <a:cubicBezTo>
                  <a:pt x="714" y="638"/>
                  <a:pt x="719" y="628"/>
                  <a:pt x="727" y="623"/>
                </a:cubicBezTo>
                <a:lnTo>
                  <a:pt x="727" y="623"/>
                </a:lnTo>
                <a:cubicBezTo>
                  <a:pt x="735" y="618"/>
                  <a:pt x="746" y="615"/>
                  <a:pt x="759" y="615"/>
                </a:cubicBezTo>
                <a:lnTo>
                  <a:pt x="759" y="615"/>
                </a:lnTo>
                <a:cubicBezTo>
                  <a:pt x="780" y="615"/>
                  <a:pt x="793" y="618"/>
                  <a:pt x="801" y="624"/>
                </a:cubicBezTo>
                <a:lnTo>
                  <a:pt x="801" y="624"/>
                </a:lnTo>
                <a:cubicBezTo>
                  <a:pt x="808" y="630"/>
                  <a:pt x="812" y="641"/>
                  <a:pt x="812" y="656"/>
                </a:cubicBezTo>
                <a:lnTo>
                  <a:pt x="812" y="663"/>
                </a:lnTo>
                <a:lnTo>
                  <a:pt x="812" y="663"/>
                </a:lnTo>
                <a:cubicBezTo>
                  <a:pt x="798" y="669"/>
                  <a:pt x="773" y="676"/>
                  <a:pt x="737" y="683"/>
                </a:cubicBezTo>
                <a:lnTo>
                  <a:pt x="737" y="683"/>
                </a:lnTo>
                <a:cubicBezTo>
                  <a:pt x="710" y="688"/>
                  <a:pt x="689" y="694"/>
                  <a:pt x="675" y="700"/>
                </a:cubicBezTo>
                <a:lnTo>
                  <a:pt x="675" y="700"/>
                </a:lnTo>
                <a:cubicBezTo>
                  <a:pt x="661" y="708"/>
                  <a:pt x="650" y="718"/>
                  <a:pt x="643" y="730"/>
                </a:cubicBezTo>
                <a:lnTo>
                  <a:pt x="643" y="730"/>
                </a:lnTo>
                <a:cubicBezTo>
                  <a:pt x="634" y="743"/>
                  <a:pt x="631" y="758"/>
                  <a:pt x="631" y="774"/>
                </a:cubicBezTo>
                <a:lnTo>
                  <a:pt x="631" y="774"/>
                </a:lnTo>
                <a:cubicBezTo>
                  <a:pt x="631" y="799"/>
                  <a:pt x="639" y="820"/>
                  <a:pt x="657" y="836"/>
                </a:cubicBezTo>
                <a:lnTo>
                  <a:pt x="657" y="836"/>
                </a:lnTo>
                <a:cubicBezTo>
                  <a:pt x="674" y="852"/>
                  <a:pt x="698" y="861"/>
                  <a:pt x="728" y="861"/>
                </a:cubicBezTo>
                <a:lnTo>
                  <a:pt x="728" y="861"/>
                </a:lnTo>
                <a:cubicBezTo>
                  <a:pt x="745" y="861"/>
                  <a:pt x="760" y="857"/>
                  <a:pt x="776" y="851"/>
                </a:cubicBezTo>
                <a:lnTo>
                  <a:pt x="776" y="851"/>
                </a:lnTo>
                <a:cubicBezTo>
                  <a:pt x="790" y="844"/>
                  <a:pt x="805" y="835"/>
                  <a:pt x="818" y="822"/>
                </a:cubicBezTo>
                <a:lnTo>
                  <a:pt x="818" y="822"/>
                </a:lnTo>
                <a:cubicBezTo>
                  <a:pt x="819" y="824"/>
                  <a:pt x="819" y="827"/>
                  <a:pt x="821" y="831"/>
                </a:cubicBezTo>
                <a:lnTo>
                  <a:pt x="821" y="831"/>
                </a:lnTo>
                <a:cubicBezTo>
                  <a:pt x="823" y="841"/>
                  <a:pt x="826" y="849"/>
                  <a:pt x="828" y="854"/>
                </a:cubicBezTo>
                <a:lnTo>
                  <a:pt x="904" y="854"/>
                </a:lnTo>
                <a:lnTo>
                  <a:pt x="904" y="854"/>
                </a:lnTo>
                <a:cubicBezTo>
                  <a:pt x="898" y="840"/>
                  <a:pt x="893" y="827"/>
                  <a:pt x="891" y="815"/>
                </a:cubicBezTo>
                <a:lnTo>
                  <a:pt x="891" y="815"/>
                </a:lnTo>
                <a:cubicBezTo>
                  <a:pt x="888" y="802"/>
                  <a:pt x="887" y="784"/>
                  <a:pt x="887" y="758"/>
                </a:cubicBezTo>
                <a:lnTo>
                  <a:pt x="888" y="668"/>
                </a:lnTo>
                <a:lnTo>
                  <a:pt x="888" y="668"/>
                </a:lnTo>
                <a:cubicBezTo>
                  <a:pt x="888" y="635"/>
                  <a:pt x="884" y="612"/>
                  <a:pt x="877" y="599"/>
                </a:cubicBezTo>
                <a:lnTo>
                  <a:pt x="877" y="599"/>
                </a:lnTo>
                <a:cubicBezTo>
                  <a:pt x="870" y="587"/>
                  <a:pt x="859" y="576"/>
                  <a:pt x="842" y="568"/>
                </a:cubicBezTo>
                <a:lnTo>
                  <a:pt x="842" y="568"/>
                </a:lnTo>
                <a:cubicBezTo>
                  <a:pt x="825" y="559"/>
                  <a:pt x="799" y="555"/>
                  <a:pt x="765" y="555"/>
                </a:cubicBezTo>
                <a:lnTo>
                  <a:pt x="765" y="555"/>
                </a:lnTo>
                <a:cubicBezTo>
                  <a:pt x="727" y="555"/>
                  <a:pt x="698" y="562"/>
                  <a:pt x="679" y="576"/>
                </a:cubicBezTo>
                <a:lnTo>
                  <a:pt x="679" y="576"/>
                </a:lnTo>
                <a:cubicBezTo>
                  <a:pt x="660" y="589"/>
                  <a:pt x="647" y="610"/>
                  <a:pt x="638" y="639"/>
                </a:cubicBezTo>
                <a:lnTo>
                  <a:pt x="709" y="651"/>
                </a:lnTo>
                <a:close/>
                <a:moveTo>
                  <a:pt x="255" y="723"/>
                </a:moveTo>
                <a:lnTo>
                  <a:pt x="255" y="723"/>
                </a:lnTo>
                <a:cubicBezTo>
                  <a:pt x="261" y="768"/>
                  <a:pt x="277" y="802"/>
                  <a:pt x="304" y="826"/>
                </a:cubicBezTo>
                <a:lnTo>
                  <a:pt x="304" y="826"/>
                </a:lnTo>
                <a:cubicBezTo>
                  <a:pt x="332" y="850"/>
                  <a:pt x="371" y="861"/>
                  <a:pt x="422" y="861"/>
                </a:cubicBezTo>
                <a:lnTo>
                  <a:pt x="422" y="861"/>
                </a:lnTo>
                <a:cubicBezTo>
                  <a:pt x="457" y="861"/>
                  <a:pt x="486" y="856"/>
                  <a:pt x="509" y="847"/>
                </a:cubicBezTo>
                <a:lnTo>
                  <a:pt x="509" y="847"/>
                </a:lnTo>
                <a:cubicBezTo>
                  <a:pt x="533" y="837"/>
                  <a:pt x="551" y="822"/>
                  <a:pt x="564" y="801"/>
                </a:cubicBezTo>
                <a:lnTo>
                  <a:pt x="564" y="801"/>
                </a:lnTo>
                <a:cubicBezTo>
                  <a:pt x="577" y="781"/>
                  <a:pt x="583" y="760"/>
                  <a:pt x="583" y="737"/>
                </a:cubicBezTo>
                <a:lnTo>
                  <a:pt x="583" y="737"/>
                </a:lnTo>
                <a:cubicBezTo>
                  <a:pt x="583" y="711"/>
                  <a:pt x="578" y="690"/>
                  <a:pt x="567" y="673"/>
                </a:cubicBezTo>
                <a:lnTo>
                  <a:pt x="567" y="673"/>
                </a:lnTo>
                <a:cubicBezTo>
                  <a:pt x="556" y="655"/>
                  <a:pt x="542" y="641"/>
                  <a:pt x="523" y="632"/>
                </a:cubicBezTo>
                <a:lnTo>
                  <a:pt x="523" y="632"/>
                </a:lnTo>
                <a:cubicBezTo>
                  <a:pt x="503" y="622"/>
                  <a:pt x="474" y="612"/>
                  <a:pt x="435" y="602"/>
                </a:cubicBezTo>
                <a:lnTo>
                  <a:pt x="435" y="602"/>
                </a:lnTo>
                <a:cubicBezTo>
                  <a:pt x="395" y="593"/>
                  <a:pt x="370" y="584"/>
                  <a:pt x="360" y="576"/>
                </a:cubicBezTo>
                <a:lnTo>
                  <a:pt x="360" y="576"/>
                </a:lnTo>
                <a:cubicBezTo>
                  <a:pt x="352" y="569"/>
                  <a:pt x="348" y="560"/>
                  <a:pt x="348" y="551"/>
                </a:cubicBezTo>
                <a:lnTo>
                  <a:pt x="348" y="551"/>
                </a:lnTo>
                <a:cubicBezTo>
                  <a:pt x="348" y="540"/>
                  <a:pt x="352" y="532"/>
                  <a:pt x="361" y="526"/>
                </a:cubicBezTo>
                <a:lnTo>
                  <a:pt x="361" y="526"/>
                </a:lnTo>
                <a:cubicBezTo>
                  <a:pt x="374" y="517"/>
                  <a:pt x="393" y="512"/>
                  <a:pt x="416" y="512"/>
                </a:cubicBezTo>
                <a:lnTo>
                  <a:pt x="416" y="512"/>
                </a:lnTo>
                <a:cubicBezTo>
                  <a:pt x="439" y="512"/>
                  <a:pt x="456" y="516"/>
                  <a:pt x="467" y="525"/>
                </a:cubicBezTo>
                <a:lnTo>
                  <a:pt x="467" y="525"/>
                </a:lnTo>
                <a:cubicBezTo>
                  <a:pt x="479" y="534"/>
                  <a:pt x="487" y="549"/>
                  <a:pt x="490" y="570"/>
                </a:cubicBezTo>
                <a:lnTo>
                  <a:pt x="571" y="567"/>
                </a:lnTo>
                <a:lnTo>
                  <a:pt x="571" y="567"/>
                </a:lnTo>
                <a:cubicBezTo>
                  <a:pt x="570" y="529"/>
                  <a:pt x="557" y="499"/>
                  <a:pt x="532" y="477"/>
                </a:cubicBezTo>
                <a:lnTo>
                  <a:pt x="532" y="477"/>
                </a:lnTo>
                <a:cubicBezTo>
                  <a:pt x="506" y="455"/>
                  <a:pt x="467" y="444"/>
                  <a:pt x="417" y="444"/>
                </a:cubicBezTo>
                <a:lnTo>
                  <a:pt x="417" y="444"/>
                </a:lnTo>
                <a:cubicBezTo>
                  <a:pt x="386" y="444"/>
                  <a:pt x="359" y="449"/>
                  <a:pt x="338" y="458"/>
                </a:cubicBezTo>
                <a:lnTo>
                  <a:pt x="338" y="458"/>
                </a:lnTo>
                <a:cubicBezTo>
                  <a:pt x="316" y="468"/>
                  <a:pt x="299" y="481"/>
                  <a:pt x="287" y="499"/>
                </a:cubicBezTo>
                <a:lnTo>
                  <a:pt x="287" y="499"/>
                </a:lnTo>
                <a:cubicBezTo>
                  <a:pt x="276" y="517"/>
                  <a:pt x="270" y="536"/>
                  <a:pt x="270" y="557"/>
                </a:cubicBezTo>
                <a:lnTo>
                  <a:pt x="270" y="557"/>
                </a:lnTo>
                <a:cubicBezTo>
                  <a:pt x="270" y="589"/>
                  <a:pt x="282" y="616"/>
                  <a:pt x="307" y="638"/>
                </a:cubicBezTo>
                <a:lnTo>
                  <a:pt x="307" y="638"/>
                </a:lnTo>
                <a:cubicBezTo>
                  <a:pt x="325" y="653"/>
                  <a:pt x="355" y="667"/>
                  <a:pt x="399" y="678"/>
                </a:cubicBezTo>
                <a:lnTo>
                  <a:pt x="399" y="678"/>
                </a:lnTo>
                <a:cubicBezTo>
                  <a:pt x="433" y="686"/>
                  <a:pt x="455" y="691"/>
                  <a:pt x="464" y="695"/>
                </a:cubicBezTo>
                <a:lnTo>
                  <a:pt x="464" y="695"/>
                </a:lnTo>
                <a:cubicBezTo>
                  <a:pt x="478" y="700"/>
                  <a:pt x="487" y="706"/>
                  <a:pt x="493" y="713"/>
                </a:cubicBezTo>
                <a:lnTo>
                  <a:pt x="493" y="713"/>
                </a:lnTo>
                <a:cubicBezTo>
                  <a:pt x="499" y="719"/>
                  <a:pt x="502" y="728"/>
                  <a:pt x="502" y="737"/>
                </a:cubicBezTo>
                <a:lnTo>
                  <a:pt x="502" y="737"/>
                </a:lnTo>
                <a:cubicBezTo>
                  <a:pt x="502" y="752"/>
                  <a:pt x="495" y="765"/>
                  <a:pt x="482" y="776"/>
                </a:cubicBezTo>
                <a:lnTo>
                  <a:pt x="482" y="776"/>
                </a:lnTo>
                <a:cubicBezTo>
                  <a:pt x="469" y="787"/>
                  <a:pt x="449" y="792"/>
                  <a:pt x="422" y="792"/>
                </a:cubicBezTo>
                <a:lnTo>
                  <a:pt x="422" y="792"/>
                </a:lnTo>
                <a:cubicBezTo>
                  <a:pt x="398" y="792"/>
                  <a:pt x="378" y="786"/>
                  <a:pt x="363" y="774"/>
                </a:cubicBezTo>
                <a:lnTo>
                  <a:pt x="363" y="774"/>
                </a:lnTo>
                <a:cubicBezTo>
                  <a:pt x="349" y="761"/>
                  <a:pt x="340" y="742"/>
                  <a:pt x="335" y="715"/>
                </a:cubicBezTo>
                <a:lnTo>
                  <a:pt x="255" y="723"/>
                </a:lnTo>
                <a:close/>
                <a:moveTo>
                  <a:pt x="52" y="0"/>
                </a:moveTo>
                <a:lnTo>
                  <a:pt x="1575" y="0"/>
                </a:lnTo>
                <a:lnTo>
                  <a:pt x="1625" y="0"/>
                </a:lnTo>
                <a:lnTo>
                  <a:pt x="1625" y="49"/>
                </a:lnTo>
                <a:lnTo>
                  <a:pt x="1625" y="2302"/>
                </a:lnTo>
                <a:lnTo>
                  <a:pt x="1625" y="2437"/>
                </a:lnTo>
                <a:lnTo>
                  <a:pt x="1536" y="2335"/>
                </a:lnTo>
                <a:lnTo>
                  <a:pt x="813" y="1512"/>
                </a:lnTo>
                <a:lnTo>
                  <a:pt x="90" y="2335"/>
                </a:lnTo>
                <a:lnTo>
                  <a:pt x="0" y="2437"/>
                </a:lnTo>
                <a:lnTo>
                  <a:pt x="0" y="2302"/>
                </a:lnTo>
                <a:lnTo>
                  <a:pt x="0" y="49"/>
                </a:lnTo>
                <a:lnTo>
                  <a:pt x="0" y="0"/>
                </a:lnTo>
                <a:lnTo>
                  <a:pt x="52" y="0"/>
                </a:lnTo>
                <a:close/>
              </a:path>
            </a:pathLst>
          </a:custGeom>
          <a:solidFill>
            <a:schemeClr val="bg1"/>
          </a:solidFill>
          <a:ln>
            <a:noFill/>
          </a:ln>
          <a:effectLst/>
        </p:spPr>
        <p:txBody>
          <a:bodyPr wrap="none" anchor="ctr"/>
          <a:lstStyle/>
          <a:p>
            <a:endParaRPr lang="en-US" sz="900">
              <a:latin typeface="Lato Light" panose="020F0502020204030203" pitchFamily="34" charset="0"/>
            </a:endParaRPr>
          </a:p>
        </p:txBody>
      </p:sp>
      <p:sp>
        <p:nvSpPr>
          <p:cNvPr id="28" name="Freeform 27">
            <a:extLst>
              <a:ext uri="{FF2B5EF4-FFF2-40B4-BE49-F238E27FC236}">
                <a16:creationId xmlns:a16="http://schemas.microsoft.com/office/drawing/2014/main" id="{653140A3-A77D-91D5-8121-E353237933AB}"/>
              </a:ext>
            </a:extLst>
          </p:cNvPr>
          <p:cNvSpPr>
            <a:spLocks noChangeArrowheads="1"/>
          </p:cNvSpPr>
          <p:nvPr userDrawn="1"/>
        </p:nvSpPr>
        <p:spPr bwMode="auto">
          <a:xfrm>
            <a:off x="6504882" y="5523150"/>
            <a:ext cx="695786" cy="679422"/>
          </a:xfrm>
          <a:custGeom>
            <a:avLst/>
            <a:gdLst>
              <a:gd name="connsiteX0" fmla="*/ 146844 w 877527"/>
              <a:gd name="connsiteY0" fmla="*/ 223838 h 856890"/>
              <a:gd name="connsiteX1" fmla="*/ 162320 w 877527"/>
              <a:gd name="connsiteY1" fmla="*/ 250485 h 856890"/>
              <a:gd name="connsiteX2" fmla="*/ 220265 w 877527"/>
              <a:gd name="connsiteY2" fmla="*/ 350953 h 856890"/>
              <a:gd name="connsiteX3" fmla="*/ 278211 w 877527"/>
              <a:gd name="connsiteY3" fmla="*/ 451060 h 856890"/>
              <a:gd name="connsiteX4" fmla="*/ 293327 w 877527"/>
              <a:gd name="connsiteY4" fmla="*/ 477707 h 856890"/>
              <a:gd name="connsiteX5" fmla="*/ 262735 w 877527"/>
              <a:gd name="connsiteY5" fmla="*/ 477707 h 856890"/>
              <a:gd name="connsiteX6" fmla="*/ 218106 w 877527"/>
              <a:gd name="connsiteY6" fmla="*/ 477707 h 856890"/>
              <a:gd name="connsiteX7" fmla="*/ 218106 w 877527"/>
              <a:gd name="connsiteY7" fmla="*/ 838885 h 856890"/>
              <a:gd name="connsiteX8" fmla="*/ 218106 w 877527"/>
              <a:gd name="connsiteY8" fmla="*/ 856890 h 856890"/>
              <a:gd name="connsiteX9" fmla="*/ 200110 w 877527"/>
              <a:gd name="connsiteY9" fmla="*/ 856890 h 856890"/>
              <a:gd name="connsiteX10" fmla="*/ 93217 w 877527"/>
              <a:gd name="connsiteY10" fmla="*/ 856890 h 856890"/>
              <a:gd name="connsiteX11" fmla="*/ 75581 w 877527"/>
              <a:gd name="connsiteY11" fmla="*/ 856890 h 856890"/>
              <a:gd name="connsiteX12" fmla="*/ 75581 w 877527"/>
              <a:gd name="connsiteY12" fmla="*/ 838885 h 856890"/>
              <a:gd name="connsiteX13" fmla="*/ 75581 w 877527"/>
              <a:gd name="connsiteY13" fmla="*/ 477707 h 856890"/>
              <a:gd name="connsiteX14" fmla="*/ 30952 w 877527"/>
              <a:gd name="connsiteY14" fmla="*/ 477707 h 856890"/>
              <a:gd name="connsiteX15" fmla="*/ 0 w 877527"/>
              <a:gd name="connsiteY15" fmla="*/ 477707 h 856890"/>
              <a:gd name="connsiteX16" fmla="*/ 15476 w 877527"/>
              <a:gd name="connsiteY16" fmla="*/ 451060 h 856890"/>
              <a:gd name="connsiteX17" fmla="*/ 73422 w 877527"/>
              <a:gd name="connsiteY17" fmla="*/ 350953 h 856890"/>
              <a:gd name="connsiteX18" fmla="*/ 131367 w 877527"/>
              <a:gd name="connsiteY18" fmla="*/ 250485 h 856890"/>
              <a:gd name="connsiteX19" fmla="*/ 445294 w 877527"/>
              <a:gd name="connsiteY19" fmla="*/ 90488 h 856890"/>
              <a:gd name="connsiteX20" fmla="*/ 460410 w 877527"/>
              <a:gd name="connsiteY20" fmla="*/ 117127 h 856890"/>
              <a:gd name="connsiteX21" fmla="*/ 518355 w 877527"/>
              <a:gd name="connsiteY21" fmla="*/ 217202 h 856890"/>
              <a:gd name="connsiteX22" fmla="*/ 576301 w 877527"/>
              <a:gd name="connsiteY22" fmla="*/ 317637 h 856890"/>
              <a:gd name="connsiteX23" fmla="*/ 591777 w 877527"/>
              <a:gd name="connsiteY23" fmla="*/ 344276 h 856890"/>
              <a:gd name="connsiteX24" fmla="*/ 561185 w 877527"/>
              <a:gd name="connsiteY24" fmla="*/ 344276 h 856890"/>
              <a:gd name="connsiteX25" fmla="*/ 516556 w 877527"/>
              <a:gd name="connsiteY25" fmla="*/ 344276 h 856890"/>
              <a:gd name="connsiteX26" fmla="*/ 516556 w 877527"/>
              <a:gd name="connsiteY26" fmla="*/ 838891 h 856890"/>
              <a:gd name="connsiteX27" fmla="*/ 516556 w 877527"/>
              <a:gd name="connsiteY27" fmla="*/ 856890 h 856890"/>
              <a:gd name="connsiteX28" fmla="*/ 498560 w 877527"/>
              <a:gd name="connsiteY28" fmla="*/ 856890 h 856890"/>
              <a:gd name="connsiteX29" fmla="*/ 391667 w 877527"/>
              <a:gd name="connsiteY29" fmla="*/ 856890 h 856890"/>
              <a:gd name="connsiteX30" fmla="*/ 373671 w 877527"/>
              <a:gd name="connsiteY30" fmla="*/ 856890 h 856890"/>
              <a:gd name="connsiteX31" fmla="*/ 373671 w 877527"/>
              <a:gd name="connsiteY31" fmla="*/ 838891 h 856890"/>
              <a:gd name="connsiteX32" fmla="*/ 373671 w 877527"/>
              <a:gd name="connsiteY32" fmla="*/ 344276 h 856890"/>
              <a:gd name="connsiteX33" fmla="*/ 329402 w 877527"/>
              <a:gd name="connsiteY33" fmla="*/ 344276 h 856890"/>
              <a:gd name="connsiteX34" fmla="*/ 298450 w 877527"/>
              <a:gd name="connsiteY34" fmla="*/ 344276 h 856890"/>
              <a:gd name="connsiteX35" fmla="*/ 313926 w 877527"/>
              <a:gd name="connsiteY35" fmla="*/ 317637 h 856890"/>
              <a:gd name="connsiteX36" fmla="*/ 371872 w 877527"/>
              <a:gd name="connsiteY36" fmla="*/ 217202 h 856890"/>
              <a:gd name="connsiteX37" fmla="*/ 429817 w 877527"/>
              <a:gd name="connsiteY37" fmla="*/ 117127 h 856890"/>
              <a:gd name="connsiteX38" fmla="*/ 730684 w 877527"/>
              <a:gd name="connsiteY38" fmla="*/ 0 h 856890"/>
              <a:gd name="connsiteX39" fmla="*/ 746160 w 877527"/>
              <a:gd name="connsiteY39" fmla="*/ 26627 h 856890"/>
              <a:gd name="connsiteX40" fmla="*/ 804106 w 877527"/>
              <a:gd name="connsiteY40" fmla="*/ 127018 h 856890"/>
              <a:gd name="connsiteX41" fmla="*/ 862051 w 877527"/>
              <a:gd name="connsiteY41" fmla="*/ 227409 h 856890"/>
              <a:gd name="connsiteX42" fmla="*/ 877527 w 877527"/>
              <a:gd name="connsiteY42" fmla="*/ 254036 h 856890"/>
              <a:gd name="connsiteX43" fmla="*/ 846575 w 877527"/>
              <a:gd name="connsiteY43" fmla="*/ 254036 h 856890"/>
              <a:gd name="connsiteX44" fmla="*/ 802306 w 877527"/>
              <a:gd name="connsiteY44" fmla="*/ 254036 h 856890"/>
              <a:gd name="connsiteX45" fmla="*/ 802306 w 877527"/>
              <a:gd name="connsiteY45" fmla="*/ 837312 h 856890"/>
              <a:gd name="connsiteX46" fmla="*/ 802306 w 877527"/>
              <a:gd name="connsiteY46" fmla="*/ 855303 h 856890"/>
              <a:gd name="connsiteX47" fmla="*/ 784311 w 877527"/>
              <a:gd name="connsiteY47" fmla="*/ 855303 h 856890"/>
              <a:gd name="connsiteX48" fmla="*/ 677057 w 877527"/>
              <a:gd name="connsiteY48" fmla="*/ 855303 h 856890"/>
              <a:gd name="connsiteX49" fmla="*/ 659422 w 877527"/>
              <a:gd name="connsiteY49" fmla="*/ 855303 h 856890"/>
              <a:gd name="connsiteX50" fmla="*/ 659422 w 877527"/>
              <a:gd name="connsiteY50" fmla="*/ 837312 h 856890"/>
              <a:gd name="connsiteX51" fmla="*/ 659422 w 877527"/>
              <a:gd name="connsiteY51" fmla="*/ 254036 h 856890"/>
              <a:gd name="connsiteX52" fmla="*/ 614793 w 877527"/>
              <a:gd name="connsiteY52" fmla="*/ 254036 h 856890"/>
              <a:gd name="connsiteX53" fmla="*/ 584200 w 877527"/>
              <a:gd name="connsiteY53" fmla="*/ 254036 h 856890"/>
              <a:gd name="connsiteX54" fmla="*/ 599676 w 877527"/>
              <a:gd name="connsiteY54" fmla="*/ 227409 h 856890"/>
              <a:gd name="connsiteX55" fmla="*/ 657622 w 877527"/>
              <a:gd name="connsiteY55" fmla="*/ 127018 h 856890"/>
              <a:gd name="connsiteX56" fmla="*/ 715568 w 877527"/>
              <a:gd name="connsiteY56" fmla="*/ 26627 h 85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877527" h="856890">
                <a:moveTo>
                  <a:pt x="146844" y="223838"/>
                </a:moveTo>
                <a:lnTo>
                  <a:pt x="162320" y="250485"/>
                </a:lnTo>
                <a:lnTo>
                  <a:pt x="220265" y="350953"/>
                </a:lnTo>
                <a:lnTo>
                  <a:pt x="278211" y="451060"/>
                </a:lnTo>
                <a:lnTo>
                  <a:pt x="293327" y="477707"/>
                </a:lnTo>
                <a:lnTo>
                  <a:pt x="262735" y="477707"/>
                </a:lnTo>
                <a:lnTo>
                  <a:pt x="218106" y="477707"/>
                </a:lnTo>
                <a:lnTo>
                  <a:pt x="218106" y="838885"/>
                </a:lnTo>
                <a:lnTo>
                  <a:pt x="218106" y="856890"/>
                </a:lnTo>
                <a:lnTo>
                  <a:pt x="200110" y="856890"/>
                </a:lnTo>
                <a:lnTo>
                  <a:pt x="93217" y="856890"/>
                </a:lnTo>
                <a:lnTo>
                  <a:pt x="75581" y="856890"/>
                </a:lnTo>
                <a:lnTo>
                  <a:pt x="75581" y="838885"/>
                </a:lnTo>
                <a:lnTo>
                  <a:pt x="75581" y="477707"/>
                </a:lnTo>
                <a:lnTo>
                  <a:pt x="30952" y="477707"/>
                </a:lnTo>
                <a:lnTo>
                  <a:pt x="0" y="477707"/>
                </a:lnTo>
                <a:lnTo>
                  <a:pt x="15476" y="451060"/>
                </a:lnTo>
                <a:lnTo>
                  <a:pt x="73422" y="350953"/>
                </a:lnTo>
                <a:lnTo>
                  <a:pt x="131367" y="250485"/>
                </a:lnTo>
                <a:close/>
                <a:moveTo>
                  <a:pt x="445294" y="90488"/>
                </a:moveTo>
                <a:lnTo>
                  <a:pt x="460410" y="117127"/>
                </a:lnTo>
                <a:lnTo>
                  <a:pt x="518355" y="217202"/>
                </a:lnTo>
                <a:lnTo>
                  <a:pt x="576301" y="317637"/>
                </a:lnTo>
                <a:lnTo>
                  <a:pt x="591777" y="344276"/>
                </a:lnTo>
                <a:lnTo>
                  <a:pt x="561185" y="344276"/>
                </a:lnTo>
                <a:lnTo>
                  <a:pt x="516556" y="344276"/>
                </a:lnTo>
                <a:lnTo>
                  <a:pt x="516556" y="838891"/>
                </a:lnTo>
                <a:lnTo>
                  <a:pt x="516556" y="856890"/>
                </a:lnTo>
                <a:lnTo>
                  <a:pt x="498560" y="856890"/>
                </a:lnTo>
                <a:lnTo>
                  <a:pt x="391667" y="856890"/>
                </a:lnTo>
                <a:lnTo>
                  <a:pt x="373671" y="856890"/>
                </a:lnTo>
                <a:lnTo>
                  <a:pt x="373671" y="838891"/>
                </a:lnTo>
                <a:lnTo>
                  <a:pt x="373671" y="344276"/>
                </a:lnTo>
                <a:lnTo>
                  <a:pt x="329402" y="344276"/>
                </a:lnTo>
                <a:lnTo>
                  <a:pt x="298450" y="344276"/>
                </a:lnTo>
                <a:lnTo>
                  <a:pt x="313926" y="317637"/>
                </a:lnTo>
                <a:lnTo>
                  <a:pt x="371872" y="217202"/>
                </a:lnTo>
                <a:lnTo>
                  <a:pt x="429817" y="117127"/>
                </a:lnTo>
                <a:close/>
                <a:moveTo>
                  <a:pt x="730684" y="0"/>
                </a:moveTo>
                <a:lnTo>
                  <a:pt x="746160" y="26627"/>
                </a:lnTo>
                <a:lnTo>
                  <a:pt x="804106" y="127018"/>
                </a:lnTo>
                <a:lnTo>
                  <a:pt x="862051" y="227409"/>
                </a:lnTo>
                <a:lnTo>
                  <a:pt x="877527" y="254036"/>
                </a:lnTo>
                <a:lnTo>
                  <a:pt x="846575" y="254036"/>
                </a:lnTo>
                <a:lnTo>
                  <a:pt x="802306" y="254036"/>
                </a:lnTo>
                <a:lnTo>
                  <a:pt x="802306" y="837312"/>
                </a:lnTo>
                <a:lnTo>
                  <a:pt x="802306" y="855303"/>
                </a:lnTo>
                <a:lnTo>
                  <a:pt x="784311" y="855303"/>
                </a:lnTo>
                <a:lnTo>
                  <a:pt x="677057" y="855303"/>
                </a:lnTo>
                <a:lnTo>
                  <a:pt x="659422" y="855303"/>
                </a:lnTo>
                <a:lnTo>
                  <a:pt x="659422" y="837312"/>
                </a:lnTo>
                <a:lnTo>
                  <a:pt x="659422" y="254036"/>
                </a:lnTo>
                <a:lnTo>
                  <a:pt x="614793" y="254036"/>
                </a:lnTo>
                <a:lnTo>
                  <a:pt x="584200" y="254036"/>
                </a:lnTo>
                <a:lnTo>
                  <a:pt x="599676" y="227409"/>
                </a:lnTo>
                <a:lnTo>
                  <a:pt x="657622" y="127018"/>
                </a:lnTo>
                <a:lnTo>
                  <a:pt x="715568" y="26627"/>
                </a:lnTo>
                <a:close/>
              </a:path>
            </a:pathLst>
          </a:custGeom>
          <a:solidFill>
            <a:schemeClr val="bg1"/>
          </a:solidFill>
          <a:ln>
            <a:noFill/>
          </a:ln>
          <a:effectLst/>
        </p:spPr>
        <p:txBody>
          <a:bodyPr wrap="square" anchor="ctr">
            <a:noAutofit/>
          </a:bodyPr>
          <a:lstStyle/>
          <a:p>
            <a:endParaRPr lang="en-US" sz="900">
              <a:latin typeface="Lato Light" panose="020F0502020204030203" pitchFamily="34" charset="0"/>
            </a:endParaRPr>
          </a:p>
        </p:txBody>
      </p:sp>
      <p:sp>
        <p:nvSpPr>
          <p:cNvPr id="35" name="Text Placeholder 2">
            <a:extLst>
              <a:ext uri="{FF2B5EF4-FFF2-40B4-BE49-F238E27FC236}">
                <a16:creationId xmlns:a16="http://schemas.microsoft.com/office/drawing/2014/main" id="{CE58D940-11AE-B542-D8D8-6D82992EB0EA}"/>
              </a:ext>
            </a:extLst>
          </p:cNvPr>
          <p:cNvSpPr>
            <a:spLocks noGrp="1"/>
          </p:cNvSpPr>
          <p:nvPr>
            <p:ph type="body" idx="13"/>
          </p:nvPr>
        </p:nvSpPr>
        <p:spPr>
          <a:xfrm>
            <a:off x="1475740" y="1042383"/>
            <a:ext cx="9240520" cy="338943"/>
          </a:xfrm>
        </p:spPr>
        <p:txBody>
          <a:bodyPr>
            <a:normAutofit/>
          </a:bodyPr>
          <a:lstStyle>
            <a:lvl1pPr marL="0" indent="0" algn="ctr">
              <a:buNone/>
              <a:defRPr sz="20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6" name="Text Placeholder 2">
            <a:extLst>
              <a:ext uri="{FF2B5EF4-FFF2-40B4-BE49-F238E27FC236}">
                <a16:creationId xmlns:a16="http://schemas.microsoft.com/office/drawing/2014/main" id="{7F0F3737-028F-3121-7AB9-16C3BF11B6AB}"/>
              </a:ext>
            </a:extLst>
          </p:cNvPr>
          <p:cNvSpPr>
            <a:spLocks noGrp="1"/>
          </p:cNvSpPr>
          <p:nvPr>
            <p:ph type="body" idx="14"/>
          </p:nvPr>
        </p:nvSpPr>
        <p:spPr>
          <a:xfrm>
            <a:off x="2317790" y="2193042"/>
            <a:ext cx="2311662" cy="566283"/>
          </a:xfrm>
        </p:spPr>
        <p:txBody>
          <a:bodyPr>
            <a:normAutofit/>
          </a:bodyPr>
          <a:lstStyle>
            <a:lvl1pPr marL="0" indent="0" algn="l">
              <a:buNone/>
              <a:defRPr sz="14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9" name="Text Placeholder 2">
            <a:extLst>
              <a:ext uri="{FF2B5EF4-FFF2-40B4-BE49-F238E27FC236}">
                <a16:creationId xmlns:a16="http://schemas.microsoft.com/office/drawing/2014/main" id="{D71E549A-8D1D-7EE8-2BB5-EA1880654866}"/>
              </a:ext>
            </a:extLst>
          </p:cNvPr>
          <p:cNvSpPr>
            <a:spLocks noGrp="1"/>
          </p:cNvSpPr>
          <p:nvPr>
            <p:ph type="body" idx="15"/>
          </p:nvPr>
        </p:nvSpPr>
        <p:spPr>
          <a:xfrm>
            <a:off x="2995123" y="3971042"/>
            <a:ext cx="2311662" cy="566283"/>
          </a:xfrm>
        </p:spPr>
        <p:txBody>
          <a:bodyPr>
            <a:normAutofit/>
          </a:bodyPr>
          <a:lstStyle>
            <a:lvl1pPr marL="0" indent="0" algn="l">
              <a:buNone/>
              <a:defRPr sz="14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1" name="Text Placeholder 2">
            <a:extLst>
              <a:ext uri="{FF2B5EF4-FFF2-40B4-BE49-F238E27FC236}">
                <a16:creationId xmlns:a16="http://schemas.microsoft.com/office/drawing/2014/main" id="{8DDA21F9-CD87-99E7-52C5-A2F52160BCF3}"/>
              </a:ext>
            </a:extLst>
          </p:cNvPr>
          <p:cNvSpPr>
            <a:spLocks noGrp="1"/>
          </p:cNvSpPr>
          <p:nvPr>
            <p:ph type="body" idx="16"/>
          </p:nvPr>
        </p:nvSpPr>
        <p:spPr>
          <a:xfrm>
            <a:off x="2303066" y="5825242"/>
            <a:ext cx="2311662" cy="566283"/>
          </a:xfrm>
        </p:spPr>
        <p:txBody>
          <a:bodyPr>
            <a:normAutofit/>
          </a:bodyPr>
          <a:lstStyle>
            <a:lvl1pPr marL="0" indent="0" algn="l">
              <a:buNone/>
              <a:defRPr sz="14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3" name="Text Placeholder 2">
            <a:extLst>
              <a:ext uri="{FF2B5EF4-FFF2-40B4-BE49-F238E27FC236}">
                <a16:creationId xmlns:a16="http://schemas.microsoft.com/office/drawing/2014/main" id="{A8A0AB70-AB2E-6630-0414-EA3969DF6D09}"/>
              </a:ext>
            </a:extLst>
          </p:cNvPr>
          <p:cNvSpPr>
            <a:spLocks noGrp="1"/>
          </p:cNvSpPr>
          <p:nvPr>
            <p:ph type="body" idx="17"/>
          </p:nvPr>
        </p:nvSpPr>
        <p:spPr>
          <a:xfrm>
            <a:off x="7778790" y="2193042"/>
            <a:ext cx="2311662" cy="566283"/>
          </a:xfrm>
        </p:spPr>
        <p:txBody>
          <a:bodyPr>
            <a:normAutofit/>
          </a:bodyPr>
          <a:lstStyle>
            <a:lvl1pPr marL="0" indent="0" algn="l">
              <a:buNone/>
              <a:defRPr sz="14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5" name="Text Placeholder 2">
            <a:extLst>
              <a:ext uri="{FF2B5EF4-FFF2-40B4-BE49-F238E27FC236}">
                <a16:creationId xmlns:a16="http://schemas.microsoft.com/office/drawing/2014/main" id="{55D766CC-4555-0BAA-E9A9-544999320B45}"/>
              </a:ext>
            </a:extLst>
          </p:cNvPr>
          <p:cNvSpPr>
            <a:spLocks noGrp="1"/>
          </p:cNvSpPr>
          <p:nvPr>
            <p:ph type="body" idx="18"/>
          </p:nvPr>
        </p:nvSpPr>
        <p:spPr>
          <a:xfrm>
            <a:off x="8456123" y="3971042"/>
            <a:ext cx="2311662" cy="566283"/>
          </a:xfrm>
        </p:spPr>
        <p:txBody>
          <a:bodyPr>
            <a:normAutofit/>
          </a:bodyPr>
          <a:lstStyle>
            <a:lvl1pPr marL="0" indent="0" algn="l">
              <a:buNone/>
              <a:defRPr sz="14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7" name="Text Placeholder 2">
            <a:extLst>
              <a:ext uri="{FF2B5EF4-FFF2-40B4-BE49-F238E27FC236}">
                <a16:creationId xmlns:a16="http://schemas.microsoft.com/office/drawing/2014/main" id="{FDA6CC9E-A288-0FC7-EE2F-6581E57B4CDB}"/>
              </a:ext>
            </a:extLst>
          </p:cNvPr>
          <p:cNvSpPr>
            <a:spLocks noGrp="1"/>
          </p:cNvSpPr>
          <p:nvPr>
            <p:ph type="body" idx="19"/>
          </p:nvPr>
        </p:nvSpPr>
        <p:spPr>
          <a:xfrm>
            <a:off x="7764066" y="5825242"/>
            <a:ext cx="2311662" cy="566283"/>
          </a:xfrm>
        </p:spPr>
        <p:txBody>
          <a:bodyPr>
            <a:normAutofit/>
          </a:bodyPr>
          <a:lstStyle>
            <a:lvl1pPr marL="0" indent="0" algn="l">
              <a:buNone/>
              <a:defRPr sz="14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9" name="Rectangle 48">
            <a:extLst>
              <a:ext uri="{FF2B5EF4-FFF2-40B4-BE49-F238E27FC236}">
                <a16:creationId xmlns:a16="http://schemas.microsoft.com/office/drawing/2014/main" id="{06AA12FB-9C44-3248-0C54-126859B79B24}"/>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5">
            <a:extLst>
              <a:ext uri="{FF2B5EF4-FFF2-40B4-BE49-F238E27FC236}">
                <a16:creationId xmlns:a16="http://schemas.microsoft.com/office/drawing/2014/main" id="{7F4A40B8-D3E6-639F-5052-F605498D1B1B}"/>
              </a:ext>
            </a:extLst>
          </p:cNvPr>
          <p:cNvSpPr>
            <a:spLocks noGrp="1"/>
          </p:cNvSpPr>
          <p:nvPr>
            <p:ph type="body" sz="quarter" idx="20" hasCustomPrompt="1"/>
          </p:nvPr>
        </p:nvSpPr>
        <p:spPr>
          <a:xfrm>
            <a:off x="2317790" y="1819070"/>
            <a:ext cx="2311662" cy="373972"/>
          </a:xfrm>
        </p:spPr>
        <p:txBody>
          <a:bodyPr>
            <a:normAutofit/>
          </a:bodyPr>
          <a:lstStyle>
            <a:lvl1pPr marL="0" indent="0">
              <a:buNone/>
              <a:defRPr sz="1800" b="1">
                <a:solidFill>
                  <a:srgbClr val="004161"/>
                </a:solidFill>
              </a:defRPr>
            </a:lvl1pPr>
            <a:lvl3pPr marL="914400" indent="0">
              <a:buNone/>
              <a:defRPr b="1"/>
            </a:lvl3pPr>
          </a:lstStyle>
          <a:p>
            <a:pPr lvl="0"/>
            <a:r>
              <a:rPr lang="en-US"/>
              <a:t>CLICK TO EDIT</a:t>
            </a:r>
          </a:p>
        </p:txBody>
      </p:sp>
      <p:sp>
        <p:nvSpPr>
          <p:cNvPr id="17" name="Text Placeholder 15">
            <a:extLst>
              <a:ext uri="{FF2B5EF4-FFF2-40B4-BE49-F238E27FC236}">
                <a16:creationId xmlns:a16="http://schemas.microsoft.com/office/drawing/2014/main" id="{3C556BF1-AC01-21D1-F826-979FB92A13F8}"/>
              </a:ext>
            </a:extLst>
          </p:cNvPr>
          <p:cNvSpPr>
            <a:spLocks noGrp="1"/>
          </p:cNvSpPr>
          <p:nvPr>
            <p:ph type="body" sz="quarter" idx="21" hasCustomPrompt="1"/>
          </p:nvPr>
        </p:nvSpPr>
        <p:spPr>
          <a:xfrm>
            <a:off x="7764433" y="1819070"/>
            <a:ext cx="2311662" cy="373972"/>
          </a:xfrm>
        </p:spPr>
        <p:txBody>
          <a:bodyPr>
            <a:normAutofit/>
          </a:bodyPr>
          <a:lstStyle>
            <a:lvl1pPr marL="0" indent="0">
              <a:buNone/>
              <a:defRPr sz="1800" b="1">
                <a:solidFill>
                  <a:srgbClr val="004161"/>
                </a:solidFill>
              </a:defRPr>
            </a:lvl1pPr>
            <a:lvl3pPr marL="914400" indent="0">
              <a:buNone/>
              <a:defRPr b="1"/>
            </a:lvl3pPr>
          </a:lstStyle>
          <a:p>
            <a:pPr lvl="0"/>
            <a:r>
              <a:rPr lang="en-US"/>
              <a:t>CLICK TO EDIT</a:t>
            </a:r>
          </a:p>
        </p:txBody>
      </p:sp>
      <p:sp>
        <p:nvSpPr>
          <p:cNvPr id="18" name="Text Placeholder 15">
            <a:extLst>
              <a:ext uri="{FF2B5EF4-FFF2-40B4-BE49-F238E27FC236}">
                <a16:creationId xmlns:a16="http://schemas.microsoft.com/office/drawing/2014/main" id="{4C5E21E4-C5BE-A3EA-13D6-EA9741F68250}"/>
              </a:ext>
            </a:extLst>
          </p:cNvPr>
          <p:cNvSpPr>
            <a:spLocks noGrp="1"/>
          </p:cNvSpPr>
          <p:nvPr>
            <p:ph type="body" sz="quarter" idx="22" hasCustomPrompt="1"/>
          </p:nvPr>
        </p:nvSpPr>
        <p:spPr>
          <a:xfrm>
            <a:off x="2317790" y="5436914"/>
            <a:ext cx="2311662" cy="373972"/>
          </a:xfrm>
        </p:spPr>
        <p:txBody>
          <a:bodyPr>
            <a:normAutofit/>
          </a:bodyPr>
          <a:lstStyle>
            <a:lvl1pPr marL="0" indent="0">
              <a:buNone/>
              <a:defRPr sz="1800" b="1">
                <a:solidFill>
                  <a:srgbClr val="004161"/>
                </a:solidFill>
              </a:defRPr>
            </a:lvl1pPr>
            <a:lvl3pPr marL="914400" indent="0">
              <a:buNone/>
              <a:defRPr b="1"/>
            </a:lvl3pPr>
          </a:lstStyle>
          <a:p>
            <a:pPr lvl="0"/>
            <a:r>
              <a:rPr lang="en-US"/>
              <a:t>CLICK TO EDIT</a:t>
            </a:r>
          </a:p>
        </p:txBody>
      </p:sp>
      <p:sp>
        <p:nvSpPr>
          <p:cNvPr id="19" name="Text Placeholder 15">
            <a:extLst>
              <a:ext uri="{FF2B5EF4-FFF2-40B4-BE49-F238E27FC236}">
                <a16:creationId xmlns:a16="http://schemas.microsoft.com/office/drawing/2014/main" id="{5EF98983-D91E-644A-6369-8DFBAA493518}"/>
              </a:ext>
            </a:extLst>
          </p:cNvPr>
          <p:cNvSpPr>
            <a:spLocks noGrp="1"/>
          </p:cNvSpPr>
          <p:nvPr>
            <p:ph type="body" sz="quarter" idx="23" hasCustomPrompt="1"/>
          </p:nvPr>
        </p:nvSpPr>
        <p:spPr>
          <a:xfrm>
            <a:off x="7764433" y="5436914"/>
            <a:ext cx="2311662" cy="373972"/>
          </a:xfrm>
        </p:spPr>
        <p:txBody>
          <a:bodyPr>
            <a:normAutofit/>
          </a:bodyPr>
          <a:lstStyle>
            <a:lvl1pPr marL="0" indent="0">
              <a:buNone/>
              <a:defRPr sz="1800" b="1">
                <a:solidFill>
                  <a:srgbClr val="004161"/>
                </a:solidFill>
              </a:defRPr>
            </a:lvl1pPr>
            <a:lvl3pPr marL="914400" indent="0">
              <a:buNone/>
              <a:defRPr b="1"/>
            </a:lvl3pPr>
          </a:lstStyle>
          <a:p>
            <a:pPr lvl="0"/>
            <a:r>
              <a:rPr lang="en-US"/>
              <a:t>CLICK TO EDIT</a:t>
            </a:r>
          </a:p>
        </p:txBody>
      </p:sp>
      <p:sp>
        <p:nvSpPr>
          <p:cNvPr id="20" name="Text Placeholder 15">
            <a:extLst>
              <a:ext uri="{FF2B5EF4-FFF2-40B4-BE49-F238E27FC236}">
                <a16:creationId xmlns:a16="http://schemas.microsoft.com/office/drawing/2014/main" id="{EB45D45B-300F-2C5A-25D4-C64EC5FF35FF}"/>
              </a:ext>
            </a:extLst>
          </p:cNvPr>
          <p:cNvSpPr>
            <a:spLocks noGrp="1"/>
          </p:cNvSpPr>
          <p:nvPr>
            <p:ph type="body" sz="quarter" idx="24" hasCustomPrompt="1"/>
          </p:nvPr>
        </p:nvSpPr>
        <p:spPr>
          <a:xfrm>
            <a:off x="2983712" y="3588236"/>
            <a:ext cx="2311662" cy="373972"/>
          </a:xfrm>
        </p:spPr>
        <p:txBody>
          <a:bodyPr>
            <a:normAutofit/>
          </a:bodyPr>
          <a:lstStyle>
            <a:lvl1pPr marL="0" indent="0">
              <a:buNone/>
              <a:defRPr sz="1800" b="1">
                <a:solidFill>
                  <a:srgbClr val="004161"/>
                </a:solidFill>
              </a:defRPr>
            </a:lvl1pPr>
            <a:lvl3pPr marL="914400" indent="0">
              <a:buNone/>
              <a:defRPr b="1"/>
            </a:lvl3pPr>
          </a:lstStyle>
          <a:p>
            <a:pPr lvl="0"/>
            <a:r>
              <a:rPr lang="en-US"/>
              <a:t>CLICK TO EDIT</a:t>
            </a:r>
          </a:p>
        </p:txBody>
      </p:sp>
      <p:sp>
        <p:nvSpPr>
          <p:cNvPr id="21" name="Text Placeholder 15">
            <a:extLst>
              <a:ext uri="{FF2B5EF4-FFF2-40B4-BE49-F238E27FC236}">
                <a16:creationId xmlns:a16="http://schemas.microsoft.com/office/drawing/2014/main" id="{C5BC9266-5E12-D398-AADF-022477FEE5F5}"/>
              </a:ext>
            </a:extLst>
          </p:cNvPr>
          <p:cNvSpPr>
            <a:spLocks noGrp="1"/>
          </p:cNvSpPr>
          <p:nvPr>
            <p:ph type="body" sz="quarter" idx="25" hasCustomPrompt="1"/>
          </p:nvPr>
        </p:nvSpPr>
        <p:spPr>
          <a:xfrm>
            <a:off x="8430355" y="3588236"/>
            <a:ext cx="2311662" cy="373972"/>
          </a:xfrm>
        </p:spPr>
        <p:txBody>
          <a:bodyPr>
            <a:normAutofit/>
          </a:bodyPr>
          <a:lstStyle>
            <a:lvl1pPr marL="0" indent="0">
              <a:buNone/>
              <a:defRPr sz="1800" b="1">
                <a:solidFill>
                  <a:srgbClr val="004161"/>
                </a:solidFill>
              </a:defRPr>
            </a:lvl1pPr>
            <a:lvl3pPr marL="914400" indent="0">
              <a:buNone/>
              <a:defRPr b="1"/>
            </a:lvl3pPr>
          </a:lstStyle>
          <a:p>
            <a:pPr lvl="0"/>
            <a:r>
              <a:rPr lang="en-US"/>
              <a:t>CLICK TO EDIT</a:t>
            </a:r>
          </a:p>
        </p:txBody>
      </p:sp>
    </p:spTree>
    <p:extLst>
      <p:ext uri="{BB962C8B-B14F-4D97-AF65-F5344CB8AC3E}">
        <p14:creationId xmlns:p14="http://schemas.microsoft.com/office/powerpoint/2010/main" val="20076137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EBC08FA-E583-800B-AD0D-EA501A43F081}"/>
              </a:ext>
            </a:extLst>
          </p:cNvPr>
          <p:cNvSpPr/>
          <p:nvPr userDrawn="1"/>
        </p:nvSpPr>
        <p:spPr>
          <a:xfrm>
            <a:off x="922020" y="4165600"/>
            <a:ext cx="2109788" cy="49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6" name="Triangle 5">
            <a:extLst>
              <a:ext uri="{FF2B5EF4-FFF2-40B4-BE49-F238E27FC236}">
                <a16:creationId xmlns:a16="http://schemas.microsoft.com/office/drawing/2014/main" id="{B02DAB7B-4D65-5BE4-CFEA-DC251F3B0640}"/>
              </a:ext>
            </a:extLst>
          </p:cNvPr>
          <p:cNvSpPr/>
          <p:nvPr userDrawn="1"/>
        </p:nvSpPr>
        <p:spPr>
          <a:xfrm rot="10800000">
            <a:off x="1741964" y="4660900"/>
            <a:ext cx="469900" cy="2667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7" name="Round Same Side Corner Rectangle 6">
            <a:extLst>
              <a:ext uri="{FF2B5EF4-FFF2-40B4-BE49-F238E27FC236}">
                <a16:creationId xmlns:a16="http://schemas.microsoft.com/office/drawing/2014/main" id="{4C42CF28-CE9F-8508-7A94-52069F363065}"/>
              </a:ext>
            </a:extLst>
          </p:cNvPr>
          <p:cNvSpPr/>
          <p:nvPr userDrawn="1"/>
        </p:nvSpPr>
        <p:spPr>
          <a:xfrm>
            <a:off x="922020" y="1754642"/>
            <a:ext cx="2109788" cy="2238624"/>
          </a:xfrm>
          <a:prstGeom prst="round2SameRect">
            <a:avLst>
              <a:gd name="adj1" fmla="val 50000"/>
              <a:gd name="adj2" fmla="val 0"/>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lumMod val="95000"/>
                </a:schemeClr>
              </a:solidFill>
              <a:latin typeface="Lato Light" panose="020F0502020204030203" pitchFamily="34" charset="0"/>
            </a:endParaRPr>
          </a:p>
        </p:txBody>
      </p:sp>
      <p:sp>
        <p:nvSpPr>
          <p:cNvPr id="10" name="Rectangle 9">
            <a:extLst>
              <a:ext uri="{FF2B5EF4-FFF2-40B4-BE49-F238E27FC236}">
                <a16:creationId xmlns:a16="http://schemas.microsoft.com/office/drawing/2014/main" id="{3C7025B8-D3CF-267A-9596-90896B2F2C7A}"/>
              </a:ext>
            </a:extLst>
          </p:cNvPr>
          <p:cNvSpPr/>
          <p:nvPr userDrawn="1"/>
        </p:nvSpPr>
        <p:spPr>
          <a:xfrm>
            <a:off x="3665220" y="4165600"/>
            <a:ext cx="2109788" cy="495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1" name="Triangle 10">
            <a:extLst>
              <a:ext uri="{FF2B5EF4-FFF2-40B4-BE49-F238E27FC236}">
                <a16:creationId xmlns:a16="http://schemas.microsoft.com/office/drawing/2014/main" id="{F095A1F1-DBE2-8CDD-FBD5-8920998C41EC}"/>
              </a:ext>
            </a:extLst>
          </p:cNvPr>
          <p:cNvSpPr/>
          <p:nvPr userDrawn="1"/>
        </p:nvSpPr>
        <p:spPr>
          <a:xfrm rot="10800000">
            <a:off x="4485164" y="4660900"/>
            <a:ext cx="469900" cy="2667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2" name="Round Same Side Corner Rectangle 11">
            <a:extLst>
              <a:ext uri="{FF2B5EF4-FFF2-40B4-BE49-F238E27FC236}">
                <a16:creationId xmlns:a16="http://schemas.microsoft.com/office/drawing/2014/main" id="{B27FDEF6-313F-BCA8-D092-2383BBDE5ED9}"/>
              </a:ext>
            </a:extLst>
          </p:cNvPr>
          <p:cNvSpPr/>
          <p:nvPr userDrawn="1"/>
        </p:nvSpPr>
        <p:spPr>
          <a:xfrm>
            <a:off x="3665220" y="1754642"/>
            <a:ext cx="2109788" cy="2238624"/>
          </a:xfrm>
          <a:prstGeom prst="round2SameRect">
            <a:avLst>
              <a:gd name="adj1" fmla="val 50000"/>
              <a:gd name="adj2" fmla="val 0"/>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lumMod val="95000"/>
                </a:schemeClr>
              </a:solidFill>
              <a:latin typeface="Lato Light" panose="020F0502020204030203" pitchFamily="34" charset="0"/>
            </a:endParaRPr>
          </a:p>
        </p:txBody>
      </p:sp>
      <p:sp>
        <p:nvSpPr>
          <p:cNvPr id="15" name="Rectangle 14">
            <a:extLst>
              <a:ext uri="{FF2B5EF4-FFF2-40B4-BE49-F238E27FC236}">
                <a16:creationId xmlns:a16="http://schemas.microsoft.com/office/drawing/2014/main" id="{C08C6968-1299-6A08-0AC3-535B956FD8F3}"/>
              </a:ext>
            </a:extLst>
          </p:cNvPr>
          <p:cNvSpPr/>
          <p:nvPr userDrawn="1"/>
        </p:nvSpPr>
        <p:spPr>
          <a:xfrm>
            <a:off x="6408419" y="4165600"/>
            <a:ext cx="2109788" cy="495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6" name="Triangle 15">
            <a:extLst>
              <a:ext uri="{FF2B5EF4-FFF2-40B4-BE49-F238E27FC236}">
                <a16:creationId xmlns:a16="http://schemas.microsoft.com/office/drawing/2014/main" id="{F71257B9-8288-7333-4677-BB9C4835AD55}"/>
              </a:ext>
            </a:extLst>
          </p:cNvPr>
          <p:cNvSpPr/>
          <p:nvPr userDrawn="1"/>
        </p:nvSpPr>
        <p:spPr>
          <a:xfrm rot="10800000">
            <a:off x="7228363" y="4660900"/>
            <a:ext cx="469900" cy="2667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7" name="Round Same Side Corner Rectangle 16">
            <a:extLst>
              <a:ext uri="{FF2B5EF4-FFF2-40B4-BE49-F238E27FC236}">
                <a16:creationId xmlns:a16="http://schemas.microsoft.com/office/drawing/2014/main" id="{765DD29F-F2AA-DCA2-85EC-BFD54C54F130}"/>
              </a:ext>
            </a:extLst>
          </p:cNvPr>
          <p:cNvSpPr/>
          <p:nvPr userDrawn="1"/>
        </p:nvSpPr>
        <p:spPr>
          <a:xfrm>
            <a:off x="6408419" y="1754642"/>
            <a:ext cx="2109788" cy="2238624"/>
          </a:xfrm>
          <a:prstGeom prst="round2SameRect">
            <a:avLst>
              <a:gd name="adj1" fmla="val 50000"/>
              <a:gd name="adj2" fmla="val 0"/>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lumMod val="95000"/>
                </a:schemeClr>
              </a:solidFill>
              <a:latin typeface="Lato Light" panose="020F0502020204030203" pitchFamily="34" charset="0"/>
            </a:endParaRPr>
          </a:p>
        </p:txBody>
      </p:sp>
      <p:sp>
        <p:nvSpPr>
          <p:cNvPr id="20" name="Rectangle 19">
            <a:extLst>
              <a:ext uri="{FF2B5EF4-FFF2-40B4-BE49-F238E27FC236}">
                <a16:creationId xmlns:a16="http://schemas.microsoft.com/office/drawing/2014/main" id="{9C48348B-604A-A14B-49DC-E28A645FC4B6}"/>
              </a:ext>
            </a:extLst>
          </p:cNvPr>
          <p:cNvSpPr/>
          <p:nvPr userDrawn="1"/>
        </p:nvSpPr>
        <p:spPr>
          <a:xfrm>
            <a:off x="9151617" y="4165600"/>
            <a:ext cx="2109788" cy="495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1" name="Triangle 20">
            <a:extLst>
              <a:ext uri="{FF2B5EF4-FFF2-40B4-BE49-F238E27FC236}">
                <a16:creationId xmlns:a16="http://schemas.microsoft.com/office/drawing/2014/main" id="{AF768EC2-845A-6560-0088-2C624B0803C0}"/>
              </a:ext>
            </a:extLst>
          </p:cNvPr>
          <p:cNvSpPr/>
          <p:nvPr userDrawn="1"/>
        </p:nvSpPr>
        <p:spPr>
          <a:xfrm rot="10800000">
            <a:off x="9971561" y="4660900"/>
            <a:ext cx="469900" cy="26670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2" name="Oval 21">
            <a:extLst>
              <a:ext uri="{FF2B5EF4-FFF2-40B4-BE49-F238E27FC236}">
                <a16:creationId xmlns:a16="http://schemas.microsoft.com/office/drawing/2014/main" id="{DD7DB3BD-302D-B8C4-BA1E-50984E0EC9DA}"/>
              </a:ext>
            </a:extLst>
          </p:cNvPr>
          <p:cNvSpPr/>
          <p:nvPr userDrawn="1"/>
        </p:nvSpPr>
        <p:spPr>
          <a:xfrm>
            <a:off x="4186264" y="5065644"/>
            <a:ext cx="1076276" cy="10762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3" name="Oval 22">
            <a:extLst>
              <a:ext uri="{FF2B5EF4-FFF2-40B4-BE49-F238E27FC236}">
                <a16:creationId xmlns:a16="http://schemas.microsoft.com/office/drawing/2014/main" id="{60B809C7-5CE9-0F96-F865-02737FB97040}"/>
              </a:ext>
            </a:extLst>
          </p:cNvPr>
          <p:cNvSpPr/>
          <p:nvPr userDrawn="1"/>
        </p:nvSpPr>
        <p:spPr>
          <a:xfrm>
            <a:off x="6929463" y="5065644"/>
            <a:ext cx="1076276" cy="10762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4" name="Oval 23">
            <a:extLst>
              <a:ext uri="{FF2B5EF4-FFF2-40B4-BE49-F238E27FC236}">
                <a16:creationId xmlns:a16="http://schemas.microsoft.com/office/drawing/2014/main" id="{EE521BBC-065A-3F42-648E-C6DF75D45B00}"/>
              </a:ext>
            </a:extLst>
          </p:cNvPr>
          <p:cNvSpPr/>
          <p:nvPr userDrawn="1"/>
        </p:nvSpPr>
        <p:spPr>
          <a:xfrm>
            <a:off x="9672661" y="5065644"/>
            <a:ext cx="1076276" cy="10762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5" name="Round Same Side Corner Rectangle 24">
            <a:extLst>
              <a:ext uri="{FF2B5EF4-FFF2-40B4-BE49-F238E27FC236}">
                <a16:creationId xmlns:a16="http://schemas.microsoft.com/office/drawing/2014/main" id="{35DE228D-DD5D-4093-C0D8-CE8BEF1683E4}"/>
              </a:ext>
            </a:extLst>
          </p:cNvPr>
          <p:cNvSpPr/>
          <p:nvPr userDrawn="1"/>
        </p:nvSpPr>
        <p:spPr>
          <a:xfrm>
            <a:off x="9151617" y="1754642"/>
            <a:ext cx="2109788" cy="2238624"/>
          </a:xfrm>
          <a:prstGeom prst="round2SameRect">
            <a:avLst>
              <a:gd name="adj1" fmla="val 50000"/>
              <a:gd name="adj2" fmla="val 0"/>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lumMod val="95000"/>
                </a:schemeClr>
              </a:solidFill>
              <a:latin typeface="Lato Light" panose="020F0502020204030203" pitchFamily="34" charset="0"/>
            </a:endParaRPr>
          </a:p>
        </p:txBody>
      </p:sp>
      <p:sp>
        <p:nvSpPr>
          <p:cNvPr id="28" name="Oval 27">
            <a:extLst>
              <a:ext uri="{FF2B5EF4-FFF2-40B4-BE49-F238E27FC236}">
                <a16:creationId xmlns:a16="http://schemas.microsoft.com/office/drawing/2014/main" id="{3E563FFF-A084-416C-7B36-FB30DDF98C14}"/>
              </a:ext>
            </a:extLst>
          </p:cNvPr>
          <p:cNvSpPr/>
          <p:nvPr userDrawn="1"/>
        </p:nvSpPr>
        <p:spPr>
          <a:xfrm>
            <a:off x="1443065" y="5065644"/>
            <a:ext cx="1076276" cy="10762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9" name="Freeform 28">
            <a:extLst>
              <a:ext uri="{FF2B5EF4-FFF2-40B4-BE49-F238E27FC236}">
                <a16:creationId xmlns:a16="http://schemas.microsoft.com/office/drawing/2014/main" id="{73E7D27F-9EA9-59F2-7577-7778E1D222B0}"/>
              </a:ext>
            </a:extLst>
          </p:cNvPr>
          <p:cNvSpPr>
            <a:spLocks noChangeArrowheads="1"/>
          </p:cNvSpPr>
          <p:nvPr userDrawn="1"/>
        </p:nvSpPr>
        <p:spPr bwMode="auto">
          <a:xfrm>
            <a:off x="1814941" y="5321211"/>
            <a:ext cx="323946" cy="565159"/>
          </a:xfrm>
          <a:custGeom>
            <a:avLst/>
            <a:gdLst>
              <a:gd name="connsiteX0" fmla="*/ 142915 w 502974"/>
              <a:gd name="connsiteY0" fmla="*/ 688036 h 877494"/>
              <a:gd name="connsiteX1" fmla="*/ 85151 w 502974"/>
              <a:gd name="connsiteY1" fmla="*/ 702746 h 877494"/>
              <a:gd name="connsiteX2" fmla="*/ 55013 w 502974"/>
              <a:gd name="connsiteY2" fmla="*/ 754052 h 877494"/>
              <a:gd name="connsiteX3" fmla="*/ 69723 w 502974"/>
              <a:gd name="connsiteY3" fmla="*/ 811817 h 877494"/>
              <a:gd name="connsiteX4" fmla="*/ 121029 w 502974"/>
              <a:gd name="connsiteY4" fmla="*/ 842313 h 877494"/>
              <a:gd name="connsiteX5" fmla="*/ 179152 w 502974"/>
              <a:gd name="connsiteY5" fmla="*/ 827244 h 877494"/>
              <a:gd name="connsiteX6" fmla="*/ 209290 w 502974"/>
              <a:gd name="connsiteY6" fmla="*/ 775938 h 877494"/>
              <a:gd name="connsiteX7" fmla="*/ 194221 w 502974"/>
              <a:gd name="connsiteY7" fmla="*/ 718174 h 877494"/>
              <a:gd name="connsiteX8" fmla="*/ 142915 w 502974"/>
              <a:gd name="connsiteY8" fmla="*/ 688036 h 877494"/>
              <a:gd name="connsiteX9" fmla="*/ 395164 w 502974"/>
              <a:gd name="connsiteY9" fmla="*/ 684562 h 877494"/>
              <a:gd name="connsiteX10" fmla="*/ 337310 w 502974"/>
              <a:gd name="connsiteY10" fmla="*/ 699654 h 877494"/>
              <a:gd name="connsiteX11" fmla="*/ 307126 w 502974"/>
              <a:gd name="connsiteY11" fmla="*/ 751040 h 877494"/>
              <a:gd name="connsiteX12" fmla="*/ 321859 w 502974"/>
              <a:gd name="connsiteY12" fmla="*/ 808894 h 877494"/>
              <a:gd name="connsiteX13" fmla="*/ 373604 w 502974"/>
              <a:gd name="connsiteY13" fmla="*/ 839078 h 877494"/>
              <a:gd name="connsiteX14" fmla="*/ 431458 w 502974"/>
              <a:gd name="connsiteY14" fmla="*/ 823986 h 877494"/>
              <a:gd name="connsiteX15" fmla="*/ 461642 w 502974"/>
              <a:gd name="connsiteY15" fmla="*/ 772600 h 877494"/>
              <a:gd name="connsiteX16" fmla="*/ 446550 w 502974"/>
              <a:gd name="connsiteY16" fmla="*/ 714746 h 877494"/>
              <a:gd name="connsiteX17" fmla="*/ 395164 w 502974"/>
              <a:gd name="connsiteY17" fmla="*/ 684562 h 877494"/>
              <a:gd name="connsiteX18" fmla="*/ 255606 w 502974"/>
              <a:gd name="connsiteY18" fmla="*/ 524023 h 877494"/>
              <a:gd name="connsiteX19" fmla="*/ 231859 w 502974"/>
              <a:gd name="connsiteY19" fmla="*/ 548124 h 877494"/>
              <a:gd name="connsiteX20" fmla="*/ 255965 w 502974"/>
              <a:gd name="connsiteY20" fmla="*/ 571505 h 877494"/>
              <a:gd name="connsiteX21" fmla="*/ 279352 w 502974"/>
              <a:gd name="connsiteY21" fmla="*/ 547404 h 877494"/>
              <a:gd name="connsiteX22" fmla="*/ 255606 w 502974"/>
              <a:gd name="connsiteY22" fmla="*/ 524023 h 877494"/>
              <a:gd name="connsiteX23" fmla="*/ 230576 w 502974"/>
              <a:gd name="connsiteY23" fmla="*/ 328549 h 877494"/>
              <a:gd name="connsiteX24" fmla="*/ 266735 w 502974"/>
              <a:gd name="connsiteY24" fmla="*/ 328549 h 877494"/>
              <a:gd name="connsiteX25" fmla="*/ 266735 w 502974"/>
              <a:gd name="connsiteY25" fmla="*/ 369528 h 877494"/>
              <a:gd name="connsiteX26" fmla="*/ 230576 w 502974"/>
              <a:gd name="connsiteY26" fmla="*/ 369528 h 877494"/>
              <a:gd name="connsiteX27" fmla="*/ 230576 w 502974"/>
              <a:gd name="connsiteY27" fmla="*/ 219272 h 877494"/>
              <a:gd name="connsiteX28" fmla="*/ 266735 w 502974"/>
              <a:gd name="connsiteY28" fmla="*/ 219272 h 877494"/>
              <a:gd name="connsiteX29" fmla="*/ 266735 w 502974"/>
              <a:gd name="connsiteY29" fmla="*/ 292243 h 877494"/>
              <a:gd name="connsiteX30" fmla="*/ 230576 w 502974"/>
              <a:gd name="connsiteY30" fmla="*/ 292243 h 877494"/>
              <a:gd name="connsiteX31" fmla="*/ 230576 w 502974"/>
              <a:gd name="connsiteY31" fmla="*/ 109636 h 877494"/>
              <a:gd name="connsiteX32" fmla="*/ 266735 w 502974"/>
              <a:gd name="connsiteY32" fmla="*/ 109636 h 877494"/>
              <a:gd name="connsiteX33" fmla="*/ 266735 w 502974"/>
              <a:gd name="connsiteY33" fmla="*/ 182607 h 877494"/>
              <a:gd name="connsiteX34" fmla="*/ 230576 w 502974"/>
              <a:gd name="connsiteY34" fmla="*/ 182607 h 877494"/>
              <a:gd name="connsiteX35" fmla="*/ 453134 w 502974"/>
              <a:gd name="connsiteY35" fmla="*/ 68262 h 877494"/>
              <a:gd name="connsiteX36" fmla="*/ 469325 w 502974"/>
              <a:gd name="connsiteY36" fmla="*/ 91644 h 877494"/>
              <a:gd name="connsiteX37" fmla="*/ 352751 w 502974"/>
              <a:gd name="connsiteY37" fmla="*/ 521505 h 877494"/>
              <a:gd name="connsiteX38" fmla="*/ 320369 w 502974"/>
              <a:gd name="connsiteY38" fmla="*/ 567189 h 877494"/>
              <a:gd name="connsiteX39" fmla="*/ 367434 w 502974"/>
              <a:gd name="connsiteY39" fmla="*/ 652288 h 877494"/>
              <a:gd name="connsiteX40" fmla="*/ 399836 w 502974"/>
              <a:gd name="connsiteY40" fmla="*/ 650424 h 877494"/>
              <a:gd name="connsiteX41" fmla="*/ 474219 w 502974"/>
              <a:gd name="connsiteY41" fmla="*/ 693904 h 877494"/>
              <a:gd name="connsiteX42" fmla="*/ 496139 w 502974"/>
              <a:gd name="connsiteY42" fmla="*/ 777272 h 877494"/>
              <a:gd name="connsiteX43" fmla="*/ 451940 w 502974"/>
              <a:gd name="connsiteY43" fmla="*/ 851655 h 877494"/>
              <a:gd name="connsiteX44" fmla="*/ 368932 w 502974"/>
              <a:gd name="connsiteY44" fmla="*/ 873575 h 877494"/>
              <a:gd name="connsiteX45" fmla="*/ 294549 w 502974"/>
              <a:gd name="connsiteY45" fmla="*/ 829376 h 877494"/>
              <a:gd name="connsiteX46" fmla="*/ 272988 w 502974"/>
              <a:gd name="connsiteY46" fmla="*/ 746368 h 877494"/>
              <a:gd name="connsiteX47" fmla="*/ 286966 w 502974"/>
              <a:gd name="connsiteY47" fmla="*/ 705854 h 877494"/>
              <a:gd name="connsiteX48" fmla="*/ 257045 w 502974"/>
              <a:gd name="connsiteY48" fmla="*/ 662873 h 877494"/>
              <a:gd name="connsiteX49" fmla="*/ 227250 w 502974"/>
              <a:gd name="connsiteY49" fmla="*/ 708452 h 877494"/>
              <a:gd name="connsiteX50" fmla="*/ 240684 w 502974"/>
              <a:gd name="connsiteY50" fmla="*/ 736023 h 877494"/>
              <a:gd name="connsiteX51" fmla="*/ 243375 w 502974"/>
              <a:gd name="connsiteY51" fmla="*/ 780602 h 877494"/>
              <a:gd name="connsiteX52" fmla="*/ 199603 w 502974"/>
              <a:gd name="connsiteY52" fmla="*/ 854871 h 877494"/>
              <a:gd name="connsiteX53" fmla="*/ 116365 w 502974"/>
              <a:gd name="connsiteY53" fmla="*/ 876398 h 877494"/>
              <a:gd name="connsiteX54" fmla="*/ 42096 w 502974"/>
              <a:gd name="connsiteY54" fmla="*/ 832626 h 877494"/>
              <a:gd name="connsiteX55" fmla="*/ 20569 w 502974"/>
              <a:gd name="connsiteY55" fmla="*/ 749388 h 877494"/>
              <a:gd name="connsiteX56" fmla="*/ 64341 w 502974"/>
              <a:gd name="connsiteY56" fmla="*/ 675120 h 877494"/>
              <a:gd name="connsiteX57" fmla="*/ 103000 w 502974"/>
              <a:gd name="connsiteY57" fmla="*/ 656283 h 877494"/>
              <a:gd name="connsiteX58" fmla="*/ 147255 w 502974"/>
              <a:gd name="connsiteY58" fmla="*/ 653612 h 877494"/>
              <a:gd name="connsiteX59" fmla="*/ 191562 w 502974"/>
              <a:gd name="connsiteY59" fmla="*/ 568627 h 877494"/>
              <a:gd name="connsiteX60" fmla="*/ 158101 w 502974"/>
              <a:gd name="connsiteY60" fmla="*/ 523663 h 877494"/>
              <a:gd name="connsiteX61" fmla="*/ 31092 w 502974"/>
              <a:gd name="connsiteY61" fmla="*/ 96680 h 877494"/>
              <a:gd name="connsiteX62" fmla="*/ 46923 w 502974"/>
              <a:gd name="connsiteY62" fmla="*/ 73298 h 877494"/>
              <a:gd name="connsiteX63" fmla="*/ 60596 w 502974"/>
              <a:gd name="connsiteY63" fmla="*/ 98118 h 877494"/>
              <a:gd name="connsiteX64" fmla="*/ 254526 w 502974"/>
              <a:gd name="connsiteY64" fmla="*/ 448482 h 877494"/>
              <a:gd name="connsiteX65" fmla="*/ 439821 w 502974"/>
              <a:gd name="connsiteY65" fmla="*/ 93442 h 877494"/>
              <a:gd name="connsiteX66" fmla="*/ 230576 w 502974"/>
              <a:gd name="connsiteY66" fmla="*/ 0 h 877494"/>
              <a:gd name="connsiteX67" fmla="*/ 266735 w 502974"/>
              <a:gd name="connsiteY67" fmla="*/ 0 h 877494"/>
              <a:gd name="connsiteX68" fmla="*/ 266735 w 502974"/>
              <a:gd name="connsiteY68" fmla="*/ 72971 h 877494"/>
              <a:gd name="connsiteX69" fmla="*/ 230576 w 502974"/>
              <a:gd name="connsiteY69" fmla="*/ 72971 h 877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02974" h="877494">
                <a:moveTo>
                  <a:pt x="142915" y="688036"/>
                </a:moveTo>
                <a:cubicBezTo>
                  <a:pt x="121388" y="685166"/>
                  <a:pt x="100937" y="690906"/>
                  <a:pt x="85151" y="702746"/>
                </a:cubicBezTo>
                <a:cubicBezTo>
                  <a:pt x="69364" y="714945"/>
                  <a:pt x="57883" y="732884"/>
                  <a:pt x="55013" y="754052"/>
                </a:cubicBezTo>
                <a:cubicBezTo>
                  <a:pt x="52142" y="775579"/>
                  <a:pt x="57883" y="796030"/>
                  <a:pt x="69723" y="811817"/>
                </a:cubicBezTo>
                <a:cubicBezTo>
                  <a:pt x="81921" y="827962"/>
                  <a:pt x="99861" y="839084"/>
                  <a:pt x="121029" y="842313"/>
                </a:cubicBezTo>
                <a:cubicBezTo>
                  <a:pt x="142556" y="845184"/>
                  <a:pt x="163007" y="839084"/>
                  <a:pt x="179152" y="827244"/>
                </a:cubicBezTo>
                <a:cubicBezTo>
                  <a:pt x="194939" y="815046"/>
                  <a:pt x="206061" y="797106"/>
                  <a:pt x="209290" y="775938"/>
                </a:cubicBezTo>
                <a:cubicBezTo>
                  <a:pt x="212160" y="754411"/>
                  <a:pt x="206061" y="733960"/>
                  <a:pt x="194221" y="718174"/>
                </a:cubicBezTo>
                <a:cubicBezTo>
                  <a:pt x="182381" y="702387"/>
                  <a:pt x="164083" y="690906"/>
                  <a:pt x="142915" y="688036"/>
                </a:cubicBezTo>
                <a:close/>
                <a:moveTo>
                  <a:pt x="395164" y="684562"/>
                </a:moveTo>
                <a:cubicBezTo>
                  <a:pt x="373604" y="681687"/>
                  <a:pt x="353121" y="687436"/>
                  <a:pt x="337310" y="699654"/>
                </a:cubicBezTo>
                <a:cubicBezTo>
                  <a:pt x="321499" y="711512"/>
                  <a:pt x="310360" y="729839"/>
                  <a:pt x="307126" y="751040"/>
                </a:cubicBezTo>
                <a:cubicBezTo>
                  <a:pt x="304251" y="772241"/>
                  <a:pt x="310000" y="793083"/>
                  <a:pt x="321859" y="808894"/>
                </a:cubicBezTo>
                <a:cubicBezTo>
                  <a:pt x="334076" y="824705"/>
                  <a:pt x="352043" y="835844"/>
                  <a:pt x="373604" y="839078"/>
                </a:cubicBezTo>
                <a:cubicBezTo>
                  <a:pt x="394805" y="841953"/>
                  <a:pt x="415647" y="835844"/>
                  <a:pt x="431458" y="823986"/>
                </a:cubicBezTo>
                <a:cubicBezTo>
                  <a:pt x="447269" y="812128"/>
                  <a:pt x="458408" y="794161"/>
                  <a:pt x="461642" y="772600"/>
                </a:cubicBezTo>
                <a:cubicBezTo>
                  <a:pt x="464517" y="751399"/>
                  <a:pt x="458408" y="730557"/>
                  <a:pt x="446550" y="714746"/>
                </a:cubicBezTo>
                <a:cubicBezTo>
                  <a:pt x="434692" y="698935"/>
                  <a:pt x="416725" y="687796"/>
                  <a:pt x="395164" y="684562"/>
                </a:cubicBezTo>
                <a:close/>
                <a:moveTo>
                  <a:pt x="255606" y="524023"/>
                </a:moveTo>
                <a:cubicBezTo>
                  <a:pt x="242293" y="524382"/>
                  <a:pt x="231859" y="535174"/>
                  <a:pt x="231859" y="548124"/>
                </a:cubicBezTo>
                <a:cubicBezTo>
                  <a:pt x="232219" y="561433"/>
                  <a:pt x="243013" y="571505"/>
                  <a:pt x="255965" y="571505"/>
                </a:cubicBezTo>
                <a:cubicBezTo>
                  <a:pt x="269278" y="571505"/>
                  <a:pt x="279712" y="560714"/>
                  <a:pt x="279352" y="547404"/>
                </a:cubicBezTo>
                <a:cubicBezTo>
                  <a:pt x="279352" y="534454"/>
                  <a:pt x="268558" y="524023"/>
                  <a:pt x="255606" y="524023"/>
                </a:cubicBezTo>
                <a:close/>
                <a:moveTo>
                  <a:pt x="230576" y="328549"/>
                </a:moveTo>
                <a:lnTo>
                  <a:pt x="266735" y="328549"/>
                </a:lnTo>
                <a:lnTo>
                  <a:pt x="266735" y="369528"/>
                </a:lnTo>
                <a:lnTo>
                  <a:pt x="230576" y="369528"/>
                </a:lnTo>
                <a:close/>
                <a:moveTo>
                  <a:pt x="230576" y="219272"/>
                </a:moveTo>
                <a:lnTo>
                  <a:pt x="266735" y="219272"/>
                </a:lnTo>
                <a:lnTo>
                  <a:pt x="266735" y="292243"/>
                </a:lnTo>
                <a:lnTo>
                  <a:pt x="230576" y="292243"/>
                </a:lnTo>
                <a:close/>
                <a:moveTo>
                  <a:pt x="230576" y="109636"/>
                </a:moveTo>
                <a:lnTo>
                  <a:pt x="266735" y="109636"/>
                </a:lnTo>
                <a:lnTo>
                  <a:pt x="266735" y="182607"/>
                </a:lnTo>
                <a:lnTo>
                  <a:pt x="230576" y="182607"/>
                </a:lnTo>
                <a:close/>
                <a:moveTo>
                  <a:pt x="453134" y="68262"/>
                </a:moveTo>
                <a:lnTo>
                  <a:pt x="469325" y="91644"/>
                </a:lnTo>
                <a:cubicBezTo>
                  <a:pt x="563591" y="226177"/>
                  <a:pt x="438742" y="401000"/>
                  <a:pt x="352751" y="521505"/>
                </a:cubicBezTo>
                <a:cubicBezTo>
                  <a:pt x="340877" y="538052"/>
                  <a:pt x="329724" y="553519"/>
                  <a:pt x="320369" y="567189"/>
                </a:cubicBezTo>
                <a:lnTo>
                  <a:pt x="367434" y="652288"/>
                </a:lnTo>
                <a:lnTo>
                  <a:pt x="399836" y="650424"/>
                </a:lnTo>
                <a:cubicBezTo>
                  <a:pt x="430739" y="654377"/>
                  <a:pt x="456971" y="670907"/>
                  <a:pt x="474219" y="693904"/>
                </a:cubicBezTo>
                <a:cubicBezTo>
                  <a:pt x="491468" y="716902"/>
                  <a:pt x="500092" y="746728"/>
                  <a:pt x="496139" y="777272"/>
                </a:cubicBezTo>
                <a:cubicBezTo>
                  <a:pt x="491468" y="808175"/>
                  <a:pt x="475297" y="834407"/>
                  <a:pt x="451940" y="851655"/>
                </a:cubicBezTo>
                <a:cubicBezTo>
                  <a:pt x="428942" y="868904"/>
                  <a:pt x="399476" y="877528"/>
                  <a:pt x="368932" y="873575"/>
                </a:cubicBezTo>
                <a:cubicBezTo>
                  <a:pt x="338029" y="868904"/>
                  <a:pt x="311797" y="852733"/>
                  <a:pt x="294549" y="829376"/>
                </a:cubicBezTo>
                <a:cubicBezTo>
                  <a:pt x="276941" y="806378"/>
                  <a:pt x="268676" y="776912"/>
                  <a:pt x="272988" y="746368"/>
                </a:cubicBezTo>
                <a:lnTo>
                  <a:pt x="286966" y="705854"/>
                </a:lnTo>
                <a:lnTo>
                  <a:pt x="257045" y="662873"/>
                </a:lnTo>
                <a:lnTo>
                  <a:pt x="227250" y="708452"/>
                </a:lnTo>
                <a:lnTo>
                  <a:pt x="240684" y="736023"/>
                </a:lnTo>
                <a:cubicBezTo>
                  <a:pt x="244451" y="750106"/>
                  <a:pt x="245528" y="765175"/>
                  <a:pt x="243375" y="780602"/>
                </a:cubicBezTo>
                <a:cubicBezTo>
                  <a:pt x="239070" y="811099"/>
                  <a:pt x="222565" y="837290"/>
                  <a:pt x="199603" y="854871"/>
                </a:cubicBezTo>
                <a:cubicBezTo>
                  <a:pt x="176641" y="872092"/>
                  <a:pt x="147220" y="880703"/>
                  <a:pt x="116365" y="876398"/>
                </a:cubicBezTo>
                <a:cubicBezTo>
                  <a:pt x="85509" y="872092"/>
                  <a:pt x="59677" y="855588"/>
                  <a:pt x="42096" y="832626"/>
                </a:cubicBezTo>
                <a:cubicBezTo>
                  <a:pt x="24875" y="809664"/>
                  <a:pt x="16264" y="780244"/>
                  <a:pt x="20569" y="749388"/>
                </a:cubicBezTo>
                <a:cubicBezTo>
                  <a:pt x="24875" y="718533"/>
                  <a:pt x="41379" y="692700"/>
                  <a:pt x="64341" y="675120"/>
                </a:cubicBezTo>
                <a:cubicBezTo>
                  <a:pt x="75822" y="666509"/>
                  <a:pt x="88918" y="660051"/>
                  <a:pt x="103000" y="656283"/>
                </a:cubicBezTo>
                <a:lnTo>
                  <a:pt x="147255" y="653612"/>
                </a:lnTo>
                <a:lnTo>
                  <a:pt x="191562" y="568627"/>
                </a:lnTo>
                <a:cubicBezTo>
                  <a:pt x="182207" y="555318"/>
                  <a:pt x="170693" y="540210"/>
                  <a:pt x="158101" y="523663"/>
                </a:cubicBezTo>
                <a:cubicBezTo>
                  <a:pt x="69231" y="405316"/>
                  <a:pt x="-59936" y="233732"/>
                  <a:pt x="31092" y="96680"/>
                </a:cubicBezTo>
                <a:lnTo>
                  <a:pt x="46923" y="73298"/>
                </a:lnTo>
                <a:lnTo>
                  <a:pt x="60596" y="98118"/>
                </a:lnTo>
                <a:lnTo>
                  <a:pt x="254526" y="448482"/>
                </a:lnTo>
                <a:lnTo>
                  <a:pt x="439821" y="93442"/>
                </a:lnTo>
                <a:close/>
                <a:moveTo>
                  <a:pt x="230576" y="0"/>
                </a:moveTo>
                <a:lnTo>
                  <a:pt x="266735" y="0"/>
                </a:lnTo>
                <a:lnTo>
                  <a:pt x="266735" y="72971"/>
                </a:lnTo>
                <a:lnTo>
                  <a:pt x="230576" y="72971"/>
                </a:lnTo>
                <a:close/>
              </a:path>
            </a:pathLst>
          </a:custGeom>
          <a:solidFill>
            <a:schemeClr val="bg1"/>
          </a:solidFill>
          <a:ln>
            <a:noFill/>
          </a:ln>
          <a:effectLst/>
        </p:spPr>
        <p:txBody>
          <a:bodyPr wrap="square" anchor="ctr">
            <a:noAutofit/>
          </a:bodyPr>
          <a:lstStyle/>
          <a:p>
            <a:endParaRPr lang="en-US" sz="900">
              <a:latin typeface="Lato Light" panose="020F0502020204030203" pitchFamily="34" charset="0"/>
            </a:endParaRPr>
          </a:p>
        </p:txBody>
      </p:sp>
      <p:sp>
        <p:nvSpPr>
          <p:cNvPr id="30" name="Freeform 29">
            <a:extLst>
              <a:ext uri="{FF2B5EF4-FFF2-40B4-BE49-F238E27FC236}">
                <a16:creationId xmlns:a16="http://schemas.microsoft.com/office/drawing/2014/main" id="{AA652231-A2F8-07E7-FA43-5E2134A9F2A1}"/>
              </a:ext>
            </a:extLst>
          </p:cNvPr>
          <p:cNvSpPr>
            <a:spLocks noChangeArrowheads="1"/>
          </p:cNvSpPr>
          <p:nvPr userDrawn="1"/>
        </p:nvSpPr>
        <p:spPr bwMode="auto">
          <a:xfrm>
            <a:off x="7257443" y="5320845"/>
            <a:ext cx="420315" cy="565571"/>
          </a:xfrm>
          <a:custGeom>
            <a:avLst/>
            <a:gdLst>
              <a:gd name="connsiteX0" fmla="*/ 266225 w 652601"/>
              <a:gd name="connsiteY0" fmla="*/ 95393 h 878134"/>
              <a:gd name="connsiteX1" fmla="*/ 380990 w 652601"/>
              <a:gd name="connsiteY1" fmla="*/ 134280 h 878134"/>
              <a:gd name="connsiteX2" fmla="*/ 391423 w 652601"/>
              <a:gd name="connsiteY2" fmla="*/ 143282 h 878134"/>
              <a:gd name="connsiteX3" fmla="*/ 648294 w 652601"/>
              <a:gd name="connsiteY3" fmla="*/ 660698 h 878134"/>
              <a:gd name="connsiteX4" fmla="*/ 651172 w 652601"/>
              <a:gd name="connsiteY4" fmla="*/ 690223 h 878134"/>
              <a:gd name="connsiteX5" fmla="*/ 632464 w 652601"/>
              <a:gd name="connsiteY5" fmla="*/ 713627 h 878134"/>
              <a:gd name="connsiteX6" fmla="*/ 309397 w 652601"/>
              <a:gd name="connsiteY6" fmla="*/ 874577 h 878134"/>
              <a:gd name="connsiteX7" fmla="*/ 279177 w 652601"/>
              <a:gd name="connsiteY7" fmla="*/ 874937 h 878134"/>
              <a:gd name="connsiteX8" fmla="*/ 257591 w 652601"/>
              <a:gd name="connsiteY8" fmla="*/ 854774 h 878134"/>
              <a:gd name="connsiteX9" fmla="*/ 1079 w 652601"/>
              <a:gd name="connsiteY9" fmla="*/ 337358 h 878134"/>
              <a:gd name="connsiteX10" fmla="*/ 0 w 652601"/>
              <a:gd name="connsiteY10" fmla="*/ 323315 h 878134"/>
              <a:gd name="connsiteX11" fmla="*/ 38495 w 652601"/>
              <a:gd name="connsiteY11" fmla="*/ 208814 h 878134"/>
              <a:gd name="connsiteX12" fmla="*/ 40653 w 652601"/>
              <a:gd name="connsiteY12" fmla="*/ 201613 h 878134"/>
              <a:gd name="connsiteX13" fmla="*/ 47489 w 652601"/>
              <a:gd name="connsiteY13" fmla="*/ 198012 h 878134"/>
              <a:gd name="connsiteX14" fmla="*/ 103252 w 652601"/>
              <a:gd name="connsiteY14" fmla="*/ 170287 h 878134"/>
              <a:gd name="connsiteX15" fmla="*/ 105771 w 652601"/>
              <a:gd name="connsiteY15" fmla="*/ 174248 h 878134"/>
              <a:gd name="connsiteX16" fmla="*/ 136350 w 652601"/>
              <a:gd name="connsiteY16" fmla="*/ 158765 h 878134"/>
              <a:gd name="connsiteX17" fmla="*/ 133832 w 652601"/>
              <a:gd name="connsiteY17" fmla="*/ 155164 h 878134"/>
              <a:gd name="connsiteX18" fmla="*/ 198230 w 652601"/>
              <a:gd name="connsiteY18" fmla="*/ 123118 h 878134"/>
              <a:gd name="connsiteX19" fmla="*/ 209382 w 652601"/>
              <a:gd name="connsiteY19" fmla="*/ 174608 h 878134"/>
              <a:gd name="connsiteX20" fmla="*/ 199669 w 652601"/>
              <a:gd name="connsiteY20" fmla="*/ 206654 h 878134"/>
              <a:gd name="connsiteX21" fmla="*/ 168369 w 652601"/>
              <a:gd name="connsiteY21" fmla="*/ 194771 h 878134"/>
              <a:gd name="connsiteX22" fmla="*/ 160095 w 652601"/>
              <a:gd name="connsiteY22" fmla="*/ 187570 h 878134"/>
              <a:gd name="connsiteX23" fmla="*/ 155418 w 652601"/>
              <a:gd name="connsiteY23" fmla="*/ 183249 h 878134"/>
              <a:gd name="connsiteX24" fmla="*/ 123759 w 652601"/>
              <a:gd name="connsiteY24" fmla="*/ 199092 h 878134"/>
              <a:gd name="connsiteX25" fmla="*/ 132033 w 652601"/>
              <a:gd name="connsiteY25" fmla="*/ 207374 h 878134"/>
              <a:gd name="connsiteX26" fmla="*/ 147143 w 652601"/>
              <a:gd name="connsiteY26" fmla="*/ 221416 h 878134"/>
              <a:gd name="connsiteX27" fmla="*/ 214779 w 652601"/>
              <a:gd name="connsiteY27" fmla="*/ 237259 h 878134"/>
              <a:gd name="connsiteX28" fmla="*/ 243200 w 652601"/>
              <a:gd name="connsiteY28" fmla="*/ 173527 h 878134"/>
              <a:gd name="connsiteX29" fmla="*/ 228810 w 652601"/>
              <a:gd name="connsiteY29" fmla="*/ 107995 h 878134"/>
              <a:gd name="connsiteX30" fmla="*/ 252554 w 652601"/>
              <a:gd name="connsiteY30" fmla="*/ 96113 h 878134"/>
              <a:gd name="connsiteX31" fmla="*/ 128211 w 652601"/>
              <a:gd name="connsiteY31" fmla="*/ 1560 h 878134"/>
              <a:gd name="connsiteX32" fmla="*/ 159059 w 652601"/>
              <a:gd name="connsiteY32" fmla="*/ 18117 h 878134"/>
              <a:gd name="connsiteX33" fmla="*/ 212146 w 652601"/>
              <a:gd name="connsiteY33" fmla="*/ 88493 h 878134"/>
              <a:gd name="connsiteX34" fmla="*/ 235461 w 652601"/>
              <a:gd name="connsiteY34" fmla="*/ 173666 h 878134"/>
              <a:gd name="connsiteX35" fmla="*/ 211787 w 652601"/>
              <a:gd name="connsiteY35" fmla="*/ 229245 h 878134"/>
              <a:gd name="connsiteX36" fmla="*/ 153678 w 652601"/>
              <a:gd name="connsiteY36" fmla="*/ 214809 h 878134"/>
              <a:gd name="connsiteX37" fmla="*/ 139331 w 652601"/>
              <a:gd name="connsiteY37" fmla="*/ 201456 h 878134"/>
              <a:gd name="connsiteX38" fmla="*/ 155113 w 652601"/>
              <a:gd name="connsiteY38" fmla="*/ 193516 h 878134"/>
              <a:gd name="connsiteX39" fmla="*/ 164081 w 652601"/>
              <a:gd name="connsiteY39" fmla="*/ 201456 h 878134"/>
              <a:gd name="connsiteX40" fmla="*/ 204613 w 652601"/>
              <a:gd name="connsiteY40" fmla="*/ 214088 h 878134"/>
              <a:gd name="connsiteX41" fmla="*/ 218961 w 652601"/>
              <a:gd name="connsiteY41" fmla="*/ 174388 h 878134"/>
              <a:gd name="connsiteX42" fmla="*/ 197081 w 652601"/>
              <a:gd name="connsiteY42" fmla="*/ 96072 h 878134"/>
              <a:gd name="connsiteX43" fmla="*/ 148298 w 652601"/>
              <a:gd name="connsiteY43" fmla="*/ 31470 h 878134"/>
              <a:gd name="connsiteX44" fmla="*/ 108124 w 652601"/>
              <a:gd name="connsiteY44" fmla="*/ 18478 h 878134"/>
              <a:gd name="connsiteX45" fmla="*/ 93776 w 652601"/>
              <a:gd name="connsiteY45" fmla="*/ 58899 h 878134"/>
              <a:gd name="connsiteX46" fmla="*/ 115298 w 652601"/>
              <a:gd name="connsiteY46" fmla="*/ 136854 h 878134"/>
              <a:gd name="connsiteX47" fmla="*/ 125341 w 652601"/>
              <a:gd name="connsiteY47" fmla="*/ 155260 h 878134"/>
              <a:gd name="connsiteX48" fmla="*/ 110276 w 652601"/>
              <a:gd name="connsiteY48" fmla="*/ 162839 h 878134"/>
              <a:gd name="connsiteX49" fmla="*/ 100233 w 652601"/>
              <a:gd name="connsiteY49" fmla="*/ 144433 h 878134"/>
              <a:gd name="connsiteX50" fmla="*/ 76918 w 652601"/>
              <a:gd name="connsiteY50" fmla="*/ 59260 h 878134"/>
              <a:gd name="connsiteX51" fmla="*/ 100591 w 652601"/>
              <a:gd name="connsiteY51" fmla="*/ 3681 h 878134"/>
              <a:gd name="connsiteX52" fmla="*/ 128211 w 652601"/>
              <a:gd name="connsiteY52" fmla="*/ 1560 h 87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652601" h="878134">
                <a:moveTo>
                  <a:pt x="266225" y="95393"/>
                </a:moveTo>
                <a:lnTo>
                  <a:pt x="380990" y="134280"/>
                </a:lnTo>
                <a:lnTo>
                  <a:pt x="391423" y="143282"/>
                </a:lnTo>
                <a:lnTo>
                  <a:pt x="648294" y="660698"/>
                </a:lnTo>
                <a:cubicBezTo>
                  <a:pt x="652971" y="670419"/>
                  <a:pt x="653690" y="680861"/>
                  <a:pt x="651172" y="690223"/>
                </a:cubicBezTo>
                <a:cubicBezTo>
                  <a:pt x="648654" y="700305"/>
                  <a:pt x="642178" y="708946"/>
                  <a:pt x="632464" y="713627"/>
                </a:cubicBezTo>
                <a:lnTo>
                  <a:pt x="309397" y="874577"/>
                </a:lnTo>
                <a:cubicBezTo>
                  <a:pt x="299683" y="879258"/>
                  <a:pt x="288890" y="879258"/>
                  <a:pt x="279177" y="874937"/>
                </a:cubicBezTo>
                <a:cubicBezTo>
                  <a:pt x="270183" y="871337"/>
                  <a:pt x="262268" y="864495"/>
                  <a:pt x="257591" y="854774"/>
                </a:cubicBezTo>
                <a:lnTo>
                  <a:pt x="1079" y="337358"/>
                </a:lnTo>
                <a:lnTo>
                  <a:pt x="0" y="323315"/>
                </a:lnTo>
                <a:lnTo>
                  <a:pt x="38495" y="208814"/>
                </a:lnTo>
                <a:lnTo>
                  <a:pt x="40653" y="201613"/>
                </a:lnTo>
                <a:lnTo>
                  <a:pt x="47489" y="198012"/>
                </a:lnTo>
                <a:lnTo>
                  <a:pt x="103252" y="170287"/>
                </a:lnTo>
                <a:lnTo>
                  <a:pt x="105771" y="174248"/>
                </a:lnTo>
                <a:lnTo>
                  <a:pt x="136350" y="158765"/>
                </a:lnTo>
                <a:lnTo>
                  <a:pt x="133832" y="155164"/>
                </a:lnTo>
                <a:lnTo>
                  <a:pt x="198230" y="123118"/>
                </a:lnTo>
                <a:cubicBezTo>
                  <a:pt x="204346" y="140041"/>
                  <a:pt x="208663" y="157685"/>
                  <a:pt x="209382" y="174608"/>
                </a:cubicBezTo>
                <a:cubicBezTo>
                  <a:pt x="209382" y="182889"/>
                  <a:pt x="208663" y="201973"/>
                  <a:pt x="199669" y="206654"/>
                </a:cubicBezTo>
                <a:cubicBezTo>
                  <a:pt x="190675" y="211334"/>
                  <a:pt x="174845" y="200172"/>
                  <a:pt x="168369" y="194771"/>
                </a:cubicBezTo>
                <a:cubicBezTo>
                  <a:pt x="165491" y="192611"/>
                  <a:pt x="162613" y="190091"/>
                  <a:pt x="160095" y="187570"/>
                </a:cubicBezTo>
                <a:lnTo>
                  <a:pt x="155418" y="183249"/>
                </a:lnTo>
                <a:lnTo>
                  <a:pt x="123759" y="199092"/>
                </a:lnTo>
                <a:lnTo>
                  <a:pt x="132033" y="207374"/>
                </a:lnTo>
                <a:cubicBezTo>
                  <a:pt x="136710" y="212415"/>
                  <a:pt x="141747" y="217096"/>
                  <a:pt x="147143" y="221416"/>
                </a:cubicBezTo>
                <a:cubicBezTo>
                  <a:pt x="165491" y="236539"/>
                  <a:pt x="191394" y="248781"/>
                  <a:pt x="214779" y="237259"/>
                </a:cubicBezTo>
                <a:cubicBezTo>
                  <a:pt x="238164" y="225737"/>
                  <a:pt x="243920" y="197292"/>
                  <a:pt x="243200" y="173527"/>
                </a:cubicBezTo>
                <a:cubicBezTo>
                  <a:pt x="242481" y="151923"/>
                  <a:pt x="236725" y="129239"/>
                  <a:pt x="228810" y="107995"/>
                </a:cubicBezTo>
                <a:lnTo>
                  <a:pt x="252554" y="96113"/>
                </a:lnTo>
                <a:close/>
                <a:moveTo>
                  <a:pt x="128211" y="1560"/>
                </a:moveTo>
                <a:cubicBezTo>
                  <a:pt x="138165" y="4132"/>
                  <a:pt x="148657" y="9816"/>
                  <a:pt x="159059" y="18117"/>
                </a:cubicBezTo>
                <a:cubicBezTo>
                  <a:pt x="178070" y="33636"/>
                  <a:pt x="197081" y="58538"/>
                  <a:pt x="212146" y="88493"/>
                </a:cubicBezTo>
                <a:cubicBezTo>
                  <a:pt x="226852" y="118448"/>
                  <a:pt x="234744" y="149125"/>
                  <a:pt x="235461" y="173666"/>
                </a:cubicBezTo>
                <a:cubicBezTo>
                  <a:pt x="236178" y="200373"/>
                  <a:pt x="228646" y="220945"/>
                  <a:pt x="211787" y="229245"/>
                </a:cubicBezTo>
                <a:cubicBezTo>
                  <a:pt x="195646" y="237907"/>
                  <a:pt x="174124" y="231411"/>
                  <a:pt x="153678" y="214809"/>
                </a:cubicBezTo>
                <a:cubicBezTo>
                  <a:pt x="148657" y="210839"/>
                  <a:pt x="143994" y="206509"/>
                  <a:pt x="139331" y="201456"/>
                </a:cubicBezTo>
                <a:lnTo>
                  <a:pt x="155113" y="193516"/>
                </a:lnTo>
                <a:cubicBezTo>
                  <a:pt x="157983" y="196403"/>
                  <a:pt x="161211" y="198930"/>
                  <a:pt x="164081" y="201456"/>
                </a:cubicBezTo>
                <a:cubicBezTo>
                  <a:pt x="179505" y="214088"/>
                  <a:pt x="194211" y="219501"/>
                  <a:pt x="204613" y="214088"/>
                </a:cubicBezTo>
                <a:cubicBezTo>
                  <a:pt x="214657" y="209035"/>
                  <a:pt x="219320" y="194238"/>
                  <a:pt x="218961" y="174388"/>
                </a:cubicBezTo>
                <a:cubicBezTo>
                  <a:pt x="218244" y="152012"/>
                  <a:pt x="210711" y="124223"/>
                  <a:pt x="197081" y="96072"/>
                </a:cubicBezTo>
                <a:cubicBezTo>
                  <a:pt x="183091" y="67922"/>
                  <a:pt x="165515" y="45546"/>
                  <a:pt x="148298" y="31470"/>
                </a:cubicBezTo>
                <a:cubicBezTo>
                  <a:pt x="132874" y="18839"/>
                  <a:pt x="118168" y="13786"/>
                  <a:pt x="108124" y="18478"/>
                </a:cubicBezTo>
                <a:cubicBezTo>
                  <a:pt x="98081" y="23531"/>
                  <a:pt x="93059" y="38688"/>
                  <a:pt x="93776" y="58899"/>
                </a:cubicBezTo>
                <a:cubicBezTo>
                  <a:pt x="94494" y="81275"/>
                  <a:pt x="101668" y="109065"/>
                  <a:pt x="115298" y="136854"/>
                </a:cubicBezTo>
                <a:cubicBezTo>
                  <a:pt x="118526" y="143350"/>
                  <a:pt x="121754" y="149486"/>
                  <a:pt x="125341" y="155260"/>
                </a:cubicBezTo>
                <a:lnTo>
                  <a:pt x="110276" y="162839"/>
                </a:lnTo>
                <a:cubicBezTo>
                  <a:pt x="106689" y="156704"/>
                  <a:pt x="103461" y="150568"/>
                  <a:pt x="100233" y="144433"/>
                </a:cubicBezTo>
                <a:cubicBezTo>
                  <a:pt x="85526" y="114117"/>
                  <a:pt x="77635" y="83801"/>
                  <a:pt x="76918" y="59260"/>
                </a:cubicBezTo>
                <a:cubicBezTo>
                  <a:pt x="76200" y="32553"/>
                  <a:pt x="84091" y="11621"/>
                  <a:pt x="100591" y="3681"/>
                </a:cubicBezTo>
                <a:cubicBezTo>
                  <a:pt x="108841" y="-470"/>
                  <a:pt x="118257" y="-1011"/>
                  <a:pt x="128211" y="1560"/>
                </a:cubicBezTo>
                <a:close/>
              </a:path>
            </a:pathLst>
          </a:custGeom>
          <a:solidFill>
            <a:schemeClr val="bg1"/>
          </a:solidFill>
          <a:ln>
            <a:noFill/>
          </a:ln>
          <a:effectLst/>
        </p:spPr>
        <p:txBody>
          <a:bodyPr wrap="square" anchor="ctr">
            <a:noAutofit/>
          </a:bodyPr>
          <a:lstStyle/>
          <a:p>
            <a:endParaRPr lang="en-US" sz="900">
              <a:latin typeface="Lato Light" panose="020F0502020204030203" pitchFamily="34" charset="0"/>
            </a:endParaRPr>
          </a:p>
        </p:txBody>
      </p:sp>
      <p:sp>
        <p:nvSpPr>
          <p:cNvPr id="31" name="Freeform 13">
            <a:extLst>
              <a:ext uri="{FF2B5EF4-FFF2-40B4-BE49-F238E27FC236}">
                <a16:creationId xmlns:a16="http://schemas.microsoft.com/office/drawing/2014/main" id="{6D872204-A50D-298B-9B9C-F862166BE7C5}"/>
              </a:ext>
            </a:extLst>
          </p:cNvPr>
          <p:cNvSpPr>
            <a:spLocks noChangeArrowheads="1"/>
          </p:cNvSpPr>
          <p:nvPr userDrawn="1"/>
        </p:nvSpPr>
        <p:spPr bwMode="auto">
          <a:xfrm>
            <a:off x="9928092" y="5390450"/>
            <a:ext cx="565413" cy="426360"/>
          </a:xfrm>
          <a:custGeom>
            <a:avLst/>
            <a:gdLst>
              <a:gd name="T0" fmla="*/ 1168 w 2438"/>
              <a:gd name="T1" fmla="*/ 101 h 1838"/>
              <a:gd name="T2" fmla="*/ 56 w 2438"/>
              <a:gd name="T3" fmla="*/ 5 h 1838"/>
              <a:gd name="T4" fmla="*/ 0 w 2438"/>
              <a:gd name="T5" fmla="*/ 0 h 1838"/>
              <a:gd name="T6" fmla="*/ 0 w 2438"/>
              <a:gd name="T7" fmla="*/ 55 h 1838"/>
              <a:gd name="T8" fmla="*/ 0 w 2438"/>
              <a:gd name="T9" fmla="*/ 1782 h 1838"/>
              <a:gd name="T10" fmla="*/ 0 w 2438"/>
              <a:gd name="T11" fmla="*/ 1837 h 1838"/>
              <a:gd name="T12" fmla="*/ 56 w 2438"/>
              <a:gd name="T13" fmla="*/ 1832 h 1838"/>
              <a:gd name="T14" fmla="*/ 1168 w 2438"/>
              <a:gd name="T15" fmla="*/ 1735 h 1838"/>
              <a:gd name="T16" fmla="*/ 1168 w 2438"/>
              <a:gd name="T17" fmla="*/ 101 h 1838"/>
              <a:gd name="T18" fmla="*/ 2112 w 2438"/>
              <a:gd name="T19" fmla="*/ 512 h 1838"/>
              <a:gd name="T20" fmla="*/ 2010 w 2438"/>
              <a:gd name="T21" fmla="*/ 512 h 1838"/>
              <a:gd name="T22" fmla="*/ 2010 w 2438"/>
              <a:gd name="T23" fmla="*/ 1274 h 1838"/>
              <a:gd name="T24" fmla="*/ 2112 w 2438"/>
              <a:gd name="T25" fmla="*/ 1274 h 1838"/>
              <a:gd name="T26" fmla="*/ 2112 w 2438"/>
              <a:gd name="T27" fmla="*/ 512 h 1838"/>
              <a:gd name="T28" fmla="*/ 1858 w 2438"/>
              <a:gd name="T29" fmla="*/ 664 h 1838"/>
              <a:gd name="T30" fmla="*/ 1756 w 2438"/>
              <a:gd name="T31" fmla="*/ 664 h 1838"/>
              <a:gd name="T32" fmla="*/ 1756 w 2438"/>
              <a:gd name="T33" fmla="*/ 1274 h 1838"/>
              <a:gd name="T34" fmla="*/ 1858 w 2438"/>
              <a:gd name="T35" fmla="*/ 1274 h 1838"/>
              <a:gd name="T36" fmla="*/ 1858 w 2438"/>
              <a:gd name="T37" fmla="*/ 664 h 1838"/>
              <a:gd name="T38" fmla="*/ 1604 w 2438"/>
              <a:gd name="T39" fmla="*/ 766 h 1838"/>
              <a:gd name="T40" fmla="*/ 1503 w 2438"/>
              <a:gd name="T41" fmla="*/ 766 h 1838"/>
              <a:gd name="T42" fmla="*/ 1503 w 2438"/>
              <a:gd name="T43" fmla="*/ 1274 h 1838"/>
              <a:gd name="T44" fmla="*/ 1604 w 2438"/>
              <a:gd name="T45" fmla="*/ 1274 h 1838"/>
              <a:gd name="T46" fmla="*/ 1604 w 2438"/>
              <a:gd name="T47" fmla="*/ 766 h 1838"/>
              <a:gd name="T48" fmla="*/ 196 w 2438"/>
              <a:gd name="T49" fmla="*/ 1098 h 1838"/>
              <a:gd name="T50" fmla="*/ 398 w 2438"/>
              <a:gd name="T51" fmla="*/ 896 h 1838"/>
              <a:gd name="T52" fmla="*/ 427 w 2438"/>
              <a:gd name="T53" fmla="*/ 867 h 1838"/>
              <a:gd name="T54" fmla="*/ 455 w 2438"/>
              <a:gd name="T55" fmla="*/ 896 h 1838"/>
              <a:gd name="T56" fmla="*/ 630 w 2438"/>
              <a:gd name="T57" fmla="*/ 1071 h 1838"/>
              <a:gd name="T58" fmla="*/ 845 w 2438"/>
              <a:gd name="T59" fmla="*/ 856 h 1838"/>
              <a:gd name="T60" fmla="*/ 749 w 2438"/>
              <a:gd name="T61" fmla="*/ 758 h 1838"/>
              <a:gd name="T62" fmla="*/ 952 w 2438"/>
              <a:gd name="T63" fmla="*/ 758 h 1838"/>
              <a:gd name="T64" fmla="*/ 991 w 2438"/>
              <a:gd name="T65" fmla="*/ 758 h 1838"/>
              <a:gd name="T66" fmla="*/ 991 w 2438"/>
              <a:gd name="T67" fmla="*/ 797 h 1838"/>
              <a:gd name="T68" fmla="*/ 991 w 2438"/>
              <a:gd name="T69" fmla="*/ 1007 h 1838"/>
              <a:gd name="T70" fmla="*/ 900 w 2438"/>
              <a:gd name="T71" fmla="*/ 913 h 1838"/>
              <a:gd name="T72" fmla="*/ 658 w 2438"/>
              <a:gd name="T73" fmla="*/ 1155 h 1838"/>
              <a:gd name="T74" fmla="*/ 630 w 2438"/>
              <a:gd name="T75" fmla="*/ 1183 h 1838"/>
              <a:gd name="T76" fmla="*/ 602 w 2438"/>
              <a:gd name="T77" fmla="*/ 1155 h 1838"/>
              <a:gd name="T78" fmla="*/ 427 w 2438"/>
              <a:gd name="T79" fmla="*/ 980 h 1838"/>
              <a:gd name="T80" fmla="*/ 252 w 2438"/>
              <a:gd name="T81" fmla="*/ 1154 h 1838"/>
              <a:gd name="T82" fmla="*/ 196 w 2438"/>
              <a:gd name="T83" fmla="*/ 1098 h 1838"/>
              <a:gd name="T84" fmla="*/ 1270 w 2438"/>
              <a:gd name="T85" fmla="*/ 101 h 1838"/>
              <a:gd name="T86" fmla="*/ 2382 w 2438"/>
              <a:gd name="T87" fmla="*/ 5 h 1838"/>
              <a:gd name="T88" fmla="*/ 2437 w 2438"/>
              <a:gd name="T89" fmla="*/ 0 h 1838"/>
              <a:gd name="T90" fmla="*/ 2437 w 2438"/>
              <a:gd name="T91" fmla="*/ 55 h 1838"/>
              <a:gd name="T92" fmla="*/ 2437 w 2438"/>
              <a:gd name="T93" fmla="*/ 1782 h 1838"/>
              <a:gd name="T94" fmla="*/ 2437 w 2438"/>
              <a:gd name="T95" fmla="*/ 1837 h 1838"/>
              <a:gd name="T96" fmla="*/ 2382 w 2438"/>
              <a:gd name="T97" fmla="*/ 1832 h 1838"/>
              <a:gd name="T98" fmla="*/ 1270 w 2438"/>
              <a:gd name="T99" fmla="*/ 1735 h 1838"/>
              <a:gd name="T100" fmla="*/ 1270 w 2438"/>
              <a:gd name="T101" fmla="*/ 101 h 1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38" h="1838">
                <a:moveTo>
                  <a:pt x="1168" y="101"/>
                </a:moveTo>
                <a:lnTo>
                  <a:pt x="56" y="5"/>
                </a:lnTo>
                <a:lnTo>
                  <a:pt x="0" y="0"/>
                </a:lnTo>
                <a:lnTo>
                  <a:pt x="0" y="55"/>
                </a:lnTo>
                <a:lnTo>
                  <a:pt x="0" y="1782"/>
                </a:lnTo>
                <a:lnTo>
                  <a:pt x="0" y="1837"/>
                </a:lnTo>
                <a:lnTo>
                  <a:pt x="56" y="1832"/>
                </a:lnTo>
                <a:lnTo>
                  <a:pt x="1168" y="1735"/>
                </a:lnTo>
                <a:lnTo>
                  <a:pt x="1168" y="101"/>
                </a:lnTo>
                <a:close/>
                <a:moveTo>
                  <a:pt x="2112" y="512"/>
                </a:moveTo>
                <a:lnTo>
                  <a:pt x="2010" y="512"/>
                </a:lnTo>
                <a:lnTo>
                  <a:pt x="2010" y="1274"/>
                </a:lnTo>
                <a:lnTo>
                  <a:pt x="2112" y="1274"/>
                </a:lnTo>
                <a:lnTo>
                  <a:pt x="2112" y="512"/>
                </a:lnTo>
                <a:close/>
                <a:moveTo>
                  <a:pt x="1858" y="664"/>
                </a:moveTo>
                <a:lnTo>
                  <a:pt x="1756" y="664"/>
                </a:lnTo>
                <a:lnTo>
                  <a:pt x="1756" y="1274"/>
                </a:lnTo>
                <a:lnTo>
                  <a:pt x="1858" y="1274"/>
                </a:lnTo>
                <a:lnTo>
                  <a:pt x="1858" y="664"/>
                </a:lnTo>
                <a:close/>
                <a:moveTo>
                  <a:pt x="1604" y="766"/>
                </a:moveTo>
                <a:lnTo>
                  <a:pt x="1503" y="766"/>
                </a:lnTo>
                <a:lnTo>
                  <a:pt x="1503" y="1274"/>
                </a:lnTo>
                <a:lnTo>
                  <a:pt x="1604" y="1274"/>
                </a:lnTo>
                <a:lnTo>
                  <a:pt x="1604" y="766"/>
                </a:lnTo>
                <a:close/>
                <a:moveTo>
                  <a:pt x="196" y="1098"/>
                </a:moveTo>
                <a:lnTo>
                  <a:pt x="398" y="896"/>
                </a:lnTo>
                <a:lnTo>
                  <a:pt x="427" y="867"/>
                </a:lnTo>
                <a:lnTo>
                  <a:pt x="455" y="896"/>
                </a:lnTo>
                <a:lnTo>
                  <a:pt x="630" y="1071"/>
                </a:lnTo>
                <a:lnTo>
                  <a:pt x="845" y="856"/>
                </a:lnTo>
                <a:lnTo>
                  <a:pt x="749" y="758"/>
                </a:lnTo>
                <a:lnTo>
                  <a:pt x="952" y="758"/>
                </a:lnTo>
                <a:lnTo>
                  <a:pt x="991" y="758"/>
                </a:lnTo>
                <a:lnTo>
                  <a:pt x="991" y="797"/>
                </a:lnTo>
                <a:lnTo>
                  <a:pt x="991" y="1007"/>
                </a:lnTo>
                <a:lnTo>
                  <a:pt x="900" y="913"/>
                </a:lnTo>
                <a:lnTo>
                  <a:pt x="658" y="1155"/>
                </a:lnTo>
                <a:lnTo>
                  <a:pt x="630" y="1183"/>
                </a:lnTo>
                <a:lnTo>
                  <a:pt x="602" y="1155"/>
                </a:lnTo>
                <a:lnTo>
                  <a:pt x="427" y="980"/>
                </a:lnTo>
                <a:lnTo>
                  <a:pt x="252" y="1154"/>
                </a:lnTo>
                <a:lnTo>
                  <a:pt x="196" y="1098"/>
                </a:lnTo>
                <a:close/>
                <a:moveTo>
                  <a:pt x="1270" y="101"/>
                </a:moveTo>
                <a:lnTo>
                  <a:pt x="2382" y="5"/>
                </a:lnTo>
                <a:lnTo>
                  <a:pt x="2437" y="0"/>
                </a:lnTo>
                <a:lnTo>
                  <a:pt x="2437" y="55"/>
                </a:lnTo>
                <a:lnTo>
                  <a:pt x="2437" y="1782"/>
                </a:lnTo>
                <a:lnTo>
                  <a:pt x="2437" y="1837"/>
                </a:lnTo>
                <a:lnTo>
                  <a:pt x="2382" y="1832"/>
                </a:lnTo>
                <a:lnTo>
                  <a:pt x="1270" y="1735"/>
                </a:lnTo>
                <a:lnTo>
                  <a:pt x="1270" y="101"/>
                </a:lnTo>
                <a:close/>
              </a:path>
            </a:pathLst>
          </a:custGeom>
          <a:solidFill>
            <a:schemeClr val="bg1"/>
          </a:solidFill>
          <a:ln>
            <a:noFill/>
          </a:ln>
          <a:effectLst/>
        </p:spPr>
        <p:txBody>
          <a:bodyPr wrap="none" anchor="ctr"/>
          <a:lstStyle/>
          <a:p>
            <a:endParaRPr lang="en-US" sz="900">
              <a:latin typeface="Lato Light" panose="020F0502020204030203" pitchFamily="34" charset="0"/>
            </a:endParaRPr>
          </a:p>
        </p:txBody>
      </p:sp>
      <p:sp>
        <p:nvSpPr>
          <p:cNvPr id="32" name="Freeform 31">
            <a:extLst>
              <a:ext uri="{FF2B5EF4-FFF2-40B4-BE49-F238E27FC236}">
                <a16:creationId xmlns:a16="http://schemas.microsoft.com/office/drawing/2014/main" id="{BB4434E6-85AD-04AE-AC75-68D68E373598}"/>
              </a:ext>
            </a:extLst>
          </p:cNvPr>
          <p:cNvSpPr>
            <a:spLocks noChangeArrowheads="1"/>
          </p:cNvSpPr>
          <p:nvPr userDrawn="1"/>
        </p:nvSpPr>
        <p:spPr bwMode="auto">
          <a:xfrm>
            <a:off x="4445901" y="5321192"/>
            <a:ext cx="557001" cy="565181"/>
          </a:xfrm>
          <a:custGeom>
            <a:avLst/>
            <a:gdLst>
              <a:gd name="connsiteX0" fmla="*/ 74612 w 864827"/>
              <a:gd name="connsiteY0" fmla="*/ 601663 h 877527"/>
              <a:gd name="connsiteX1" fmla="*/ 112119 w 864827"/>
              <a:gd name="connsiteY1" fmla="*/ 601663 h 877527"/>
              <a:gd name="connsiteX2" fmla="*/ 112119 w 864827"/>
              <a:gd name="connsiteY2" fmla="*/ 771354 h 877527"/>
              <a:gd name="connsiteX3" fmla="*/ 357187 w 864827"/>
              <a:gd name="connsiteY3" fmla="*/ 771354 h 877527"/>
              <a:gd name="connsiteX4" fmla="*/ 357187 w 864827"/>
              <a:gd name="connsiteY4" fmla="*/ 696913 h 877527"/>
              <a:gd name="connsiteX5" fmla="*/ 445730 w 864827"/>
              <a:gd name="connsiteY5" fmla="*/ 787220 h 877527"/>
              <a:gd name="connsiteX6" fmla="*/ 357187 w 864827"/>
              <a:gd name="connsiteY6" fmla="*/ 877527 h 877527"/>
              <a:gd name="connsiteX7" fmla="*/ 357187 w 864827"/>
              <a:gd name="connsiteY7" fmla="*/ 809264 h 877527"/>
              <a:gd name="connsiteX8" fmla="*/ 93365 w 864827"/>
              <a:gd name="connsiteY8" fmla="*/ 809264 h 877527"/>
              <a:gd name="connsiteX9" fmla="*/ 74612 w 864827"/>
              <a:gd name="connsiteY9" fmla="*/ 809264 h 877527"/>
              <a:gd name="connsiteX10" fmla="*/ 74612 w 864827"/>
              <a:gd name="connsiteY10" fmla="*/ 790129 h 877527"/>
              <a:gd name="connsiteX11" fmla="*/ 523852 w 864827"/>
              <a:gd name="connsiteY11" fmla="*/ 573184 h 877527"/>
              <a:gd name="connsiteX12" fmla="*/ 810876 w 864827"/>
              <a:gd name="connsiteY12" fmla="*/ 573184 h 877527"/>
              <a:gd name="connsiteX13" fmla="*/ 849002 w 864827"/>
              <a:gd name="connsiteY13" fmla="*/ 589016 h 877527"/>
              <a:gd name="connsiteX14" fmla="*/ 864827 w 864827"/>
              <a:gd name="connsiteY14" fmla="*/ 627157 h 877527"/>
              <a:gd name="connsiteX15" fmla="*/ 864827 w 864827"/>
              <a:gd name="connsiteY15" fmla="*/ 855283 h 877527"/>
              <a:gd name="connsiteX16" fmla="*/ 864827 w 864827"/>
              <a:gd name="connsiteY16" fmla="*/ 874353 h 877527"/>
              <a:gd name="connsiteX17" fmla="*/ 846124 w 864827"/>
              <a:gd name="connsiteY17" fmla="*/ 874353 h 877527"/>
              <a:gd name="connsiteX18" fmla="*/ 488603 w 864827"/>
              <a:gd name="connsiteY18" fmla="*/ 874353 h 877527"/>
              <a:gd name="connsiteX19" fmla="*/ 469900 w 864827"/>
              <a:gd name="connsiteY19" fmla="*/ 874353 h 877527"/>
              <a:gd name="connsiteX20" fmla="*/ 469900 w 864827"/>
              <a:gd name="connsiteY20" fmla="*/ 855283 h 877527"/>
              <a:gd name="connsiteX21" fmla="*/ 469900 w 864827"/>
              <a:gd name="connsiteY21" fmla="*/ 627157 h 877527"/>
              <a:gd name="connsiteX22" fmla="*/ 485726 w 864827"/>
              <a:gd name="connsiteY22" fmla="*/ 589016 h 877527"/>
              <a:gd name="connsiteX23" fmla="*/ 523852 w 864827"/>
              <a:gd name="connsiteY23" fmla="*/ 573184 h 877527"/>
              <a:gd name="connsiteX24" fmla="*/ 667364 w 864827"/>
              <a:gd name="connsiteY24" fmla="*/ 315913 h 877527"/>
              <a:gd name="connsiteX25" fmla="*/ 753687 w 864827"/>
              <a:gd name="connsiteY25" fmla="*/ 351895 h 877527"/>
              <a:gd name="connsiteX26" fmla="*/ 789655 w 864827"/>
              <a:gd name="connsiteY26" fmla="*/ 438251 h 877527"/>
              <a:gd name="connsiteX27" fmla="*/ 753687 w 864827"/>
              <a:gd name="connsiteY27" fmla="*/ 524608 h 877527"/>
              <a:gd name="connsiteX28" fmla="*/ 667364 w 864827"/>
              <a:gd name="connsiteY28" fmla="*/ 560590 h 877527"/>
              <a:gd name="connsiteX29" fmla="*/ 581041 w 864827"/>
              <a:gd name="connsiteY29" fmla="*/ 524608 h 877527"/>
              <a:gd name="connsiteX30" fmla="*/ 545073 w 864827"/>
              <a:gd name="connsiteY30" fmla="*/ 438251 h 877527"/>
              <a:gd name="connsiteX31" fmla="*/ 581041 w 864827"/>
              <a:gd name="connsiteY31" fmla="*/ 351895 h 877527"/>
              <a:gd name="connsiteX32" fmla="*/ 667364 w 864827"/>
              <a:gd name="connsiteY32" fmla="*/ 315913 h 877527"/>
              <a:gd name="connsiteX33" fmla="*/ 53952 w 864827"/>
              <a:gd name="connsiteY33" fmla="*/ 274734 h 877527"/>
              <a:gd name="connsiteX34" fmla="*/ 340975 w 864827"/>
              <a:gd name="connsiteY34" fmla="*/ 274734 h 877527"/>
              <a:gd name="connsiteX35" fmla="*/ 378742 w 864827"/>
              <a:gd name="connsiteY35" fmla="*/ 290566 h 877527"/>
              <a:gd name="connsiteX36" fmla="*/ 394927 w 864827"/>
              <a:gd name="connsiteY36" fmla="*/ 329067 h 877527"/>
              <a:gd name="connsiteX37" fmla="*/ 394927 w 864827"/>
              <a:gd name="connsiteY37" fmla="*/ 557192 h 877527"/>
              <a:gd name="connsiteX38" fmla="*/ 394927 w 864827"/>
              <a:gd name="connsiteY38" fmla="*/ 575903 h 877527"/>
              <a:gd name="connsiteX39" fmla="*/ 376224 w 864827"/>
              <a:gd name="connsiteY39" fmla="*/ 575903 h 877527"/>
              <a:gd name="connsiteX40" fmla="*/ 18703 w 864827"/>
              <a:gd name="connsiteY40" fmla="*/ 575903 h 877527"/>
              <a:gd name="connsiteX41" fmla="*/ 0 w 864827"/>
              <a:gd name="connsiteY41" fmla="*/ 575903 h 877527"/>
              <a:gd name="connsiteX42" fmla="*/ 0 w 864827"/>
              <a:gd name="connsiteY42" fmla="*/ 557192 h 877527"/>
              <a:gd name="connsiteX43" fmla="*/ 0 w 864827"/>
              <a:gd name="connsiteY43" fmla="*/ 329067 h 877527"/>
              <a:gd name="connsiteX44" fmla="*/ 15826 w 864827"/>
              <a:gd name="connsiteY44" fmla="*/ 290566 h 877527"/>
              <a:gd name="connsiteX45" fmla="*/ 53952 w 864827"/>
              <a:gd name="connsiteY45" fmla="*/ 274734 h 877527"/>
              <a:gd name="connsiteX46" fmla="*/ 197464 w 864827"/>
              <a:gd name="connsiteY46" fmla="*/ 17463 h 877527"/>
              <a:gd name="connsiteX47" fmla="*/ 283786 w 864827"/>
              <a:gd name="connsiteY47" fmla="*/ 53445 h 877527"/>
              <a:gd name="connsiteX48" fmla="*/ 319395 w 864827"/>
              <a:gd name="connsiteY48" fmla="*/ 140161 h 877527"/>
              <a:gd name="connsiteX49" fmla="*/ 283786 w 864827"/>
              <a:gd name="connsiteY49" fmla="*/ 226518 h 877527"/>
              <a:gd name="connsiteX50" fmla="*/ 197464 w 864827"/>
              <a:gd name="connsiteY50" fmla="*/ 262140 h 877527"/>
              <a:gd name="connsiteX51" fmla="*/ 110781 w 864827"/>
              <a:gd name="connsiteY51" fmla="*/ 226518 h 877527"/>
              <a:gd name="connsiteX52" fmla="*/ 75173 w 864827"/>
              <a:gd name="connsiteY52" fmla="*/ 140161 h 877527"/>
              <a:gd name="connsiteX53" fmla="*/ 110781 w 864827"/>
              <a:gd name="connsiteY53" fmla="*/ 53445 h 877527"/>
              <a:gd name="connsiteX54" fmla="*/ 197464 w 864827"/>
              <a:gd name="connsiteY54" fmla="*/ 17463 h 877527"/>
              <a:gd name="connsiteX55" fmla="*/ 433025 w 864827"/>
              <a:gd name="connsiteY55" fmla="*/ 0 h 877527"/>
              <a:gd name="connsiteX56" fmla="*/ 433025 w 864827"/>
              <a:gd name="connsiteY56" fmla="*/ 66675 h 877527"/>
              <a:gd name="connsiteX57" fmla="*/ 695330 w 864827"/>
              <a:gd name="connsiteY57" fmla="*/ 66675 h 877527"/>
              <a:gd name="connsiteX58" fmla="*/ 714016 w 864827"/>
              <a:gd name="connsiteY58" fmla="*/ 66675 h 877527"/>
              <a:gd name="connsiteX59" fmla="*/ 714016 w 864827"/>
              <a:gd name="connsiteY59" fmla="*/ 85449 h 877527"/>
              <a:gd name="connsiteX60" fmla="*/ 714016 w 864827"/>
              <a:gd name="connsiteY60" fmla="*/ 274277 h 877527"/>
              <a:gd name="connsiteX61" fmla="*/ 676645 w 864827"/>
              <a:gd name="connsiteY61" fmla="*/ 274277 h 877527"/>
              <a:gd name="connsiteX62" fmla="*/ 676645 w 864827"/>
              <a:gd name="connsiteY62" fmla="*/ 104585 h 877527"/>
              <a:gd name="connsiteX63" fmla="*/ 433025 w 864827"/>
              <a:gd name="connsiteY63" fmla="*/ 104585 h 877527"/>
              <a:gd name="connsiteX64" fmla="*/ 433025 w 864827"/>
              <a:gd name="connsiteY64" fmla="*/ 180614 h 877527"/>
              <a:gd name="connsiteX65" fmla="*/ 342900 w 864827"/>
              <a:gd name="connsiteY65" fmla="*/ 90307 h 87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864827" h="877527">
                <a:moveTo>
                  <a:pt x="74612" y="601663"/>
                </a:moveTo>
                <a:lnTo>
                  <a:pt x="112119" y="601663"/>
                </a:lnTo>
                <a:lnTo>
                  <a:pt x="112119" y="771354"/>
                </a:lnTo>
                <a:lnTo>
                  <a:pt x="357187" y="771354"/>
                </a:lnTo>
                <a:lnTo>
                  <a:pt x="357187" y="696913"/>
                </a:lnTo>
                <a:lnTo>
                  <a:pt x="445730" y="787220"/>
                </a:lnTo>
                <a:lnTo>
                  <a:pt x="357187" y="877527"/>
                </a:lnTo>
                <a:lnTo>
                  <a:pt x="357187" y="809264"/>
                </a:lnTo>
                <a:lnTo>
                  <a:pt x="93365" y="809264"/>
                </a:lnTo>
                <a:lnTo>
                  <a:pt x="74612" y="809264"/>
                </a:lnTo>
                <a:lnTo>
                  <a:pt x="74612" y="790129"/>
                </a:lnTo>
                <a:close/>
                <a:moveTo>
                  <a:pt x="523852" y="573184"/>
                </a:moveTo>
                <a:lnTo>
                  <a:pt x="810876" y="573184"/>
                </a:lnTo>
                <a:cubicBezTo>
                  <a:pt x="825622" y="573184"/>
                  <a:pt x="838931" y="579301"/>
                  <a:pt x="849002" y="589016"/>
                </a:cubicBezTo>
                <a:cubicBezTo>
                  <a:pt x="858713" y="599091"/>
                  <a:pt x="864827" y="612404"/>
                  <a:pt x="864827" y="627157"/>
                </a:cubicBezTo>
                <a:lnTo>
                  <a:pt x="864827" y="855283"/>
                </a:lnTo>
                <a:lnTo>
                  <a:pt x="864827" y="874353"/>
                </a:lnTo>
                <a:lnTo>
                  <a:pt x="846124" y="874353"/>
                </a:lnTo>
                <a:lnTo>
                  <a:pt x="488603" y="874353"/>
                </a:lnTo>
                <a:lnTo>
                  <a:pt x="469900" y="874353"/>
                </a:lnTo>
                <a:lnTo>
                  <a:pt x="469900" y="855283"/>
                </a:lnTo>
                <a:lnTo>
                  <a:pt x="469900" y="627157"/>
                </a:lnTo>
                <a:cubicBezTo>
                  <a:pt x="469900" y="612404"/>
                  <a:pt x="476015" y="599091"/>
                  <a:pt x="485726" y="589016"/>
                </a:cubicBezTo>
                <a:cubicBezTo>
                  <a:pt x="495437" y="579301"/>
                  <a:pt x="509105" y="573184"/>
                  <a:pt x="523852" y="573184"/>
                </a:cubicBezTo>
                <a:close/>
                <a:moveTo>
                  <a:pt x="667364" y="315913"/>
                </a:moveTo>
                <a:cubicBezTo>
                  <a:pt x="701174" y="315913"/>
                  <a:pt x="731746" y="329586"/>
                  <a:pt x="753687" y="351895"/>
                </a:cubicBezTo>
                <a:cubicBezTo>
                  <a:pt x="775987" y="373844"/>
                  <a:pt x="789655" y="404428"/>
                  <a:pt x="789655" y="438251"/>
                </a:cubicBezTo>
                <a:cubicBezTo>
                  <a:pt x="789655" y="472075"/>
                  <a:pt x="775987" y="502659"/>
                  <a:pt x="753687" y="524608"/>
                </a:cubicBezTo>
                <a:cubicBezTo>
                  <a:pt x="731746" y="546917"/>
                  <a:pt x="701174" y="560590"/>
                  <a:pt x="667364" y="560590"/>
                </a:cubicBezTo>
                <a:cubicBezTo>
                  <a:pt x="633554" y="560590"/>
                  <a:pt x="602981" y="546917"/>
                  <a:pt x="581041" y="524608"/>
                </a:cubicBezTo>
                <a:cubicBezTo>
                  <a:pt x="558741" y="502659"/>
                  <a:pt x="545073" y="472075"/>
                  <a:pt x="545073" y="438251"/>
                </a:cubicBezTo>
                <a:cubicBezTo>
                  <a:pt x="545073" y="404428"/>
                  <a:pt x="558741" y="373844"/>
                  <a:pt x="581041" y="351895"/>
                </a:cubicBezTo>
                <a:cubicBezTo>
                  <a:pt x="602981" y="329586"/>
                  <a:pt x="633554" y="315913"/>
                  <a:pt x="667364" y="315913"/>
                </a:cubicBezTo>
                <a:close/>
                <a:moveTo>
                  <a:pt x="53952" y="274734"/>
                </a:moveTo>
                <a:lnTo>
                  <a:pt x="340975" y="274734"/>
                </a:lnTo>
                <a:cubicBezTo>
                  <a:pt x="355722" y="274734"/>
                  <a:pt x="369031" y="280851"/>
                  <a:pt x="378742" y="290566"/>
                </a:cubicBezTo>
                <a:cubicBezTo>
                  <a:pt x="388813" y="300281"/>
                  <a:pt x="394927" y="314314"/>
                  <a:pt x="394927" y="329067"/>
                </a:cubicBezTo>
                <a:lnTo>
                  <a:pt x="394927" y="557192"/>
                </a:lnTo>
                <a:lnTo>
                  <a:pt x="394927" y="575903"/>
                </a:lnTo>
                <a:lnTo>
                  <a:pt x="376224" y="575903"/>
                </a:lnTo>
                <a:lnTo>
                  <a:pt x="18703" y="575903"/>
                </a:lnTo>
                <a:lnTo>
                  <a:pt x="0" y="575903"/>
                </a:lnTo>
                <a:lnTo>
                  <a:pt x="0" y="557192"/>
                </a:lnTo>
                <a:lnTo>
                  <a:pt x="0" y="329067"/>
                </a:lnTo>
                <a:cubicBezTo>
                  <a:pt x="0" y="314314"/>
                  <a:pt x="5755" y="300281"/>
                  <a:pt x="15826" y="290566"/>
                </a:cubicBezTo>
                <a:cubicBezTo>
                  <a:pt x="25537" y="280851"/>
                  <a:pt x="38845" y="274734"/>
                  <a:pt x="53952" y="274734"/>
                </a:cubicBezTo>
                <a:close/>
                <a:moveTo>
                  <a:pt x="197464" y="17463"/>
                </a:moveTo>
                <a:cubicBezTo>
                  <a:pt x="230914" y="17463"/>
                  <a:pt x="261486" y="31496"/>
                  <a:pt x="283786" y="53445"/>
                </a:cubicBezTo>
                <a:cubicBezTo>
                  <a:pt x="306087" y="75394"/>
                  <a:pt x="319395" y="106338"/>
                  <a:pt x="319395" y="140161"/>
                </a:cubicBezTo>
                <a:cubicBezTo>
                  <a:pt x="319395" y="173625"/>
                  <a:pt x="306087" y="204209"/>
                  <a:pt x="283786" y="226518"/>
                </a:cubicBezTo>
                <a:cubicBezTo>
                  <a:pt x="261486" y="248827"/>
                  <a:pt x="230914" y="262140"/>
                  <a:pt x="197464" y="262140"/>
                </a:cubicBezTo>
                <a:cubicBezTo>
                  <a:pt x="163654" y="262140"/>
                  <a:pt x="133081" y="248827"/>
                  <a:pt x="110781" y="226518"/>
                </a:cubicBezTo>
                <a:cubicBezTo>
                  <a:pt x="88841" y="204209"/>
                  <a:pt x="75173" y="173625"/>
                  <a:pt x="75173" y="140161"/>
                </a:cubicBezTo>
                <a:cubicBezTo>
                  <a:pt x="75173" y="106338"/>
                  <a:pt x="88841" y="75394"/>
                  <a:pt x="110781" y="53445"/>
                </a:cubicBezTo>
                <a:cubicBezTo>
                  <a:pt x="133081" y="31496"/>
                  <a:pt x="163654" y="17463"/>
                  <a:pt x="197464" y="17463"/>
                </a:cubicBezTo>
                <a:close/>
                <a:moveTo>
                  <a:pt x="433025" y="0"/>
                </a:moveTo>
                <a:lnTo>
                  <a:pt x="433025" y="66675"/>
                </a:lnTo>
                <a:lnTo>
                  <a:pt x="695330" y="66675"/>
                </a:lnTo>
                <a:lnTo>
                  <a:pt x="714016" y="66675"/>
                </a:lnTo>
                <a:lnTo>
                  <a:pt x="714016" y="85449"/>
                </a:lnTo>
                <a:lnTo>
                  <a:pt x="714016" y="274277"/>
                </a:lnTo>
                <a:lnTo>
                  <a:pt x="676645" y="274277"/>
                </a:lnTo>
                <a:lnTo>
                  <a:pt x="676645" y="104585"/>
                </a:lnTo>
                <a:lnTo>
                  <a:pt x="433025" y="104585"/>
                </a:lnTo>
                <a:lnTo>
                  <a:pt x="433025" y="180614"/>
                </a:lnTo>
                <a:lnTo>
                  <a:pt x="342900" y="90307"/>
                </a:lnTo>
                <a:close/>
              </a:path>
            </a:pathLst>
          </a:custGeom>
          <a:solidFill>
            <a:schemeClr val="bg1"/>
          </a:solidFill>
          <a:ln>
            <a:noFill/>
          </a:ln>
          <a:effectLst/>
        </p:spPr>
        <p:txBody>
          <a:bodyPr wrap="square" anchor="ctr">
            <a:noAutofit/>
          </a:bodyPr>
          <a:lstStyle/>
          <a:p>
            <a:endParaRPr lang="en-US" sz="900">
              <a:latin typeface="Lato Light" panose="020F0502020204030203" pitchFamily="34" charset="0"/>
            </a:endParaRPr>
          </a:p>
        </p:txBody>
      </p:sp>
      <p:sp>
        <p:nvSpPr>
          <p:cNvPr id="33" name="Title 1">
            <a:extLst>
              <a:ext uri="{FF2B5EF4-FFF2-40B4-BE49-F238E27FC236}">
                <a16:creationId xmlns:a16="http://schemas.microsoft.com/office/drawing/2014/main" id="{EE4636BF-F125-E80F-FE7A-E0B7C971BB7E}"/>
              </a:ext>
            </a:extLst>
          </p:cNvPr>
          <p:cNvSpPr>
            <a:spLocks noGrp="1"/>
          </p:cNvSpPr>
          <p:nvPr>
            <p:ph type="title"/>
          </p:nvPr>
        </p:nvSpPr>
        <p:spPr>
          <a:xfrm>
            <a:off x="838200" y="365126"/>
            <a:ext cx="10515600" cy="735762"/>
          </a:xfrm>
        </p:spPr>
        <p:txBody>
          <a:bodyPr>
            <a:normAutofit/>
          </a:bodyPr>
          <a:lstStyle>
            <a:lvl1pPr algn="ctr">
              <a:defRPr sz="3600"/>
            </a:lvl1pPr>
          </a:lstStyle>
          <a:p>
            <a:r>
              <a:rPr lang="en-US"/>
              <a:t>Click to edit Master title style</a:t>
            </a:r>
          </a:p>
        </p:txBody>
      </p:sp>
      <p:sp>
        <p:nvSpPr>
          <p:cNvPr id="34" name="Text Placeholder 2">
            <a:extLst>
              <a:ext uri="{FF2B5EF4-FFF2-40B4-BE49-F238E27FC236}">
                <a16:creationId xmlns:a16="http://schemas.microsoft.com/office/drawing/2014/main" id="{C3D7D1E7-26E0-250D-000E-CDA749BE5925}"/>
              </a:ext>
            </a:extLst>
          </p:cNvPr>
          <p:cNvSpPr>
            <a:spLocks noGrp="1"/>
          </p:cNvSpPr>
          <p:nvPr>
            <p:ph type="body" idx="13"/>
          </p:nvPr>
        </p:nvSpPr>
        <p:spPr>
          <a:xfrm>
            <a:off x="1475740" y="1042383"/>
            <a:ext cx="9240520" cy="338943"/>
          </a:xfrm>
        </p:spPr>
        <p:txBody>
          <a:bodyPr>
            <a:normAutofit/>
          </a:bodyPr>
          <a:lstStyle>
            <a:lvl1pPr marL="0" indent="0" algn="ctr">
              <a:buNone/>
              <a:defRPr sz="20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5" name="Text Placeholder 35">
            <a:extLst>
              <a:ext uri="{FF2B5EF4-FFF2-40B4-BE49-F238E27FC236}">
                <a16:creationId xmlns:a16="http://schemas.microsoft.com/office/drawing/2014/main" id="{00867AB4-2582-5308-11B0-9DCBCA4B166D}"/>
              </a:ext>
            </a:extLst>
          </p:cNvPr>
          <p:cNvSpPr>
            <a:spLocks noGrp="1"/>
          </p:cNvSpPr>
          <p:nvPr>
            <p:ph type="body" sz="quarter" idx="10" hasCustomPrompt="1"/>
          </p:nvPr>
        </p:nvSpPr>
        <p:spPr>
          <a:xfrm>
            <a:off x="922021" y="4165600"/>
            <a:ext cx="2109788" cy="495301"/>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8" name="Text Placeholder 35">
            <a:extLst>
              <a:ext uri="{FF2B5EF4-FFF2-40B4-BE49-F238E27FC236}">
                <a16:creationId xmlns:a16="http://schemas.microsoft.com/office/drawing/2014/main" id="{A2E76E04-C452-62E7-EABD-759C5BA74B9C}"/>
              </a:ext>
            </a:extLst>
          </p:cNvPr>
          <p:cNvSpPr>
            <a:spLocks noGrp="1"/>
          </p:cNvSpPr>
          <p:nvPr>
            <p:ph type="body" sz="quarter" idx="14" hasCustomPrompt="1"/>
          </p:nvPr>
        </p:nvSpPr>
        <p:spPr>
          <a:xfrm>
            <a:off x="3658926" y="4165600"/>
            <a:ext cx="2109788" cy="495301"/>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9" name="Text Placeholder 35">
            <a:extLst>
              <a:ext uri="{FF2B5EF4-FFF2-40B4-BE49-F238E27FC236}">
                <a16:creationId xmlns:a16="http://schemas.microsoft.com/office/drawing/2014/main" id="{30857AB5-596B-1537-30E8-3A7084203E2C}"/>
              </a:ext>
            </a:extLst>
          </p:cNvPr>
          <p:cNvSpPr>
            <a:spLocks noGrp="1"/>
          </p:cNvSpPr>
          <p:nvPr>
            <p:ph type="body" sz="quarter" idx="15" hasCustomPrompt="1"/>
          </p:nvPr>
        </p:nvSpPr>
        <p:spPr>
          <a:xfrm>
            <a:off x="6410700" y="4165600"/>
            <a:ext cx="2109788" cy="495301"/>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0" name="Text Placeholder 35">
            <a:extLst>
              <a:ext uri="{FF2B5EF4-FFF2-40B4-BE49-F238E27FC236}">
                <a16:creationId xmlns:a16="http://schemas.microsoft.com/office/drawing/2014/main" id="{4377D26E-FBF1-4EA7-A1FE-CD9334B6C2BF}"/>
              </a:ext>
            </a:extLst>
          </p:cNvPr>
          <p:cNvSpPr>
            <a:spLocks noGrp="1"/>
          </p:cNvSpPr>
          <p:nvPr>
            <p:ph type="body" sz="quarter" idx="16" hasCustomPrompt="1"/>
          </p:nvPr>
        </p:nvSpPr>
        <p:spPr>
          <a:xfrm>
            <a:off x="9150768" y="4165600"/>
            <a:ext cx="2109788" cy="495301"/>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1" name="Text Placeholder 2">
            <a:extLst>
              <a:ext uri="{FF2B5EF4-FFF2-40B4-BE49-F238E27FC236}">
                <a16:creationId xmlns:a16="http://schemas.microsoft.com/office/drawing/2014/main" id="{F5A50997-7F15-1188-4B12-71F9E975E589}"/>
              </a:ext>
            </a:extLst>
          </p:cNvPr>
          <p:cNvSpPr>
            <a:spLocks noGrp="1"/>
          </p:cNvSpPr>
          <p:nvPr>
            <p:ph type="body" idx="17" hasCustomPrompt="1"/>
          </p:nvPr>
        </p:nvSpPr>
        <p:spPr>
          <a:xfrm>
            <a:off x="930595" y="2692400"/>
            <a:ext cx="2101213" cy="1300866"/>
          </a:xfrm>
        </p:spPr>
        <p:txBody>
          <a:bodyPr>
            <a:normAutofit/>
          </a:bodyPr>
          <a:lstStyle>
            <a:lvl1pPr marL="0" indent="0" algn="ctr">
              <a:lnSpc>
                <a:spcPct val="100000"/>
              </a:lnSpc>
              <a:buNone/>
              <a:defRPr sz="12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2" name="Text Placeholder 2">
            <a:extLst>
              <a:ext uri="{FF2B5EF4-FFF2-40B4-BE49-F238E27FC236}">
                <a16:creationId xmlns:a16="http://schemas.microsoft.com/office/drawing/2014/main" id="{88827603-0B5D-88D1-D04B-3B1F7EC94FE5}"/>
              </a:ext>
            </a:extLst>
          </p:cNvPr>
          <p:cNvSpPr>
            <a:spLocks noGrp="1"/>
          </p:cNvSpPr>
          <p:nvPr>
            <p:ph type="body" idx="18" hasCustomPrompt="1"/>
          </p:nvPr>
        </p:nvSpPr>
        <p:spPr>
          <a:xfrm>
            <a:off x="3673795" y="2692400"/>
            <a:ext cx="2101213" cy="1300866"/>
          </a:xfrm>
        </p:spPr>
        <p:txBody>
          <a:bodyPr>
            <a:normAutofit/>
          </a:bodyPr>
          <a:lstStyle>
            <a:lvl1pPr marL="0" indent="0" algn="ctr">
              <a:lnSpc>
                <a:spcPct val="100000"/>
              </a:lnSpc>
              <a:buNone/>
              <a:defRPr sz="12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3" name="Text Placeholder 2">
            <a:extLst>
              <a:ext uri="{FF2B5EF4-FFF2-40B4-BE49-F238E27FC236}">
                <a16:creationId xmlns:a16="http://schemas.microsoft.com/office/drawing/2014/main" id="{B8FE05B6-C7DB-4FE3-29A3-6917D8974065}"/>
              </a:ext>
            </a:extLst>
          </p:cNvPr>
          <p:cNvSpPr>
            <a:spLocks noGrp="1"/>
          </p:cNvSpPr>
          <p:nvPr>
            <p:ph type="body" idx="19" hasCustomPrompt="1"/>
          </p:nvPr>
        </p:nvSpPr>
        <p:spPr>
          <a:xfrm>
            <a:off x="6408529" y="2692400"/>
            <a:ext cx="2101213" cy="1300866"/>
          </a:xfrm>
        </p:spPr>
        <p:txBody>
          <a:bodyPr>
            <a:normAutofit/>
          </a:bodyPr>
          <a:lstStyle>
            <a:lvl1pPr marL="0" indent="0" algn="ctr">
              <a:lnSpc>
                <a:spcPct val="100000"/>
              </a:lnSpc>
              <a:buNone/>
              <a:defRPr sz="12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4" name="Text Placeholder 2">
            <a:extLst>
              <a:ext uri="{FF2B5EF4-FFF2-40B4-BE49-F238E27FC236}">
                <a16:creationId xmlns:a16="http://schemas.microsoft.com/office/drawing/2014/main" id="{20B26531-7C8D-B555-6299-20BEB3DFD2FB}"/>
              </a:ext>
            </a:extLst>
          </p:cNvPr>
          <p:cNvSpPr>
            <a:spLocks noGrp="1"/>
          </p:cNvSpPr>
          <p:nvPr>
            <p:ph type="body" idx="20" hasCustomPrompt="1"/>
          </p:nvPr>
        </p:nvSpPr>
        <p:spPr>
          <a:xfrm>
            <a:off x="9151729" y="2692400"/>
            <a:ext cx="2101213" cy="1300866"/>
          </a:xfrm>
        </p:spPr>
        <p:txBody>
          <a:bodyPr>
            <a:normAutofit/>
          </a:bodyPr>
          <a:lstStyle>
            <a:lvl1pPr marL="0" indent="0" algn="ctr">
              <a:lnSpc>
                <a:spcPct val="100000"/>
              </a:lnSpc>
              <a:buNone/>
              <a:defRPr sz="12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5" name="Rectangle 44">
            <a:extLst>
              <a:ext uri="{FF2B5EF4-FFF2-40B4-BE49-F238E27FC236}">
                <a16:creationId xmlns:a16="http://schemas.microsoft.com/office/drawing/2014/main" id="{1ABFBE34-2614-1561-2698-01D86871189A}"/>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72332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1DEEFBE-26BF-D227-9AEB-0E9A0C0B9474}"/>
              </a:ext>
            </a:extLst>
          </p:cNvPr>
          <p:cNvGrpSpPr/>
          <p:nvPr userDrawn="1"/>
        </p:nvGrpSpPr>
        <p:grpSpPr>
          <a:xfrm>
            <a:off x="3335230" y="1499833"/>
            <a:ext cx="5521540" cy="4900835"/>
            <a:chOff x="6667285" y="2999665"/>
            <a:chExt cx="11043080" cy="9801670"/>
          </a:xfrm>
        </p:grpSpPr>
        <p:grpSp>
          <p:nvGrpSpPr>
            <p:cNvPr id="4" name="Group 3">
              <a:extLst>
                <a:ext uri="{FF2B5EF4-FFF2-40B4-BE49-F238E27FC236}">
                  <a16:creationId xmlns:a16="http://schemas.microsoft.com/office/drawing/2014/main" id="{3A439E51-8062-2151-DA81-CFE808C548B0}"/>
                </a:ext>
              </a:extLst>
            </p:cNvPr>
            <p:cNvGrpSpPr/>
            <p:nvPr/>
          </p:nvGrpSpPr>
          <p:grpSpPr>
            <a:xfrm>
              <a:off x="6667285" y="5694922"/>
              <a:ext cx="5256553" cy="4594083"/>
              <a:chOff x="6667285" y="5675467"/>
              <a:chExt cx="5256553" cy="4594083"/>
            </a:xfrm>
          </p:grpSpPr>
          <p:sp>
            <p:nvSpPr>
              <p:cNvPr id="17" name="Freeform 5">
                <a:extLst>
                  <a:ext uri="{FF2B5EF4-FFF2-40B4-BE49-F238E27FC236}">
                    <a16:creationId xmlns:a16="http://schemas.microsoft.com/office/drawing/2014/main" id="{0FE2C82F-6177-FBCB-E031-E9C7412B29F5}"/>
                  </a:ext>
                </a:extLst>
              </p:cNvPr>
              <p:cNvSpPr>
                <a:spLocks noChangeArrowheads="1"/>
              </p:cNvSpPr>
              <p:nvPr/>
            </p:nvSpPr>
            <p:spPr bwMode="auto">
              <a:xfrm>
                <a:off x="6667285" y="5675467"/>
                <a:ext cx="5256553" cy="4594083"/>
              </a:xfrm>
              <a:custGeom>
                <a:avLst/>
                <a:gdLst>
                  <a:gd name="T0" fmla="*/ 8046 w 8047"/>
                  <a:gd name="T1" fmla="*/ 3516 h 7033"/>
                  <a:gd name="T2" fmla="*/ 5781 w 8047"/>
                  <a:gd name="T3" fmla="*/ 1251 h 7033"/>
                  <a:gd name="T4" fmla="*/ 5781 w 8047"/>
                  <a:gd name="T5" fmla="*/ 1251 h 7033"/>
                  <a:gd name="T6" fmla="*/ 1251 w 8047"/>
                  <a:gd name="T7" fmla="*/ 1251 h 7033"/>
                  <a:gd name="T8" fmla="*/ 1251 w 8047"/>
                  <a:gd name="T9" fmla="*/ 1251 h 7033"/>
                  <a:gd name="T10" fmla="*/ 1251 w 8047"/>
                  <a:gd name="T11" fmla="*/ 5781 h 7033"/>
                  <a:gd name="T12" fmla="*/ 1251 w 8047"/>
                  <a:gd name="T13" fmla="*/ 5781 h 7033"/>
                  <a:gd name="T14" fmla="*/ 5781 w 8047"/>
                  <a:gd name="T15" fmla="*/ 5781 h 7033"/>
                  <a:gd name="T16" fmla="*/ 8046 w 8047"/>
                  <a:gd name="T17" fmla="*/ 3516 h 7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47" h="7033">
                    <a:moveTo>
                      <a:pt x="8046" y="3516"/>
                    </a:moveTo>
                    <a:lnTo>
                      <a:pt x="5781" y="1251"/>
                    </a:lnTo>
                    <a:lnTo>
                      <a:pt x="5781" y="1251"/>
                    </a:lnTo>
                    <a:cubicBezTo>
                      <a:pt x="4530" y="0"/>
                      <a:pt x="2501" y="0"/>
                      <a:pt x="1251" y="1251"/>
                    </a:cubicBezTo>
                    <a:lnTo>
                      <a:pt x="1251" y="1251"/>
                    </a:lnTo>
                    <a:cubicBezTo>
                      <a:pt x="0" y="2502"/>
                      <a:pt x="0" y="4530"/>
                      <a:pt x="1251" y="5781"/>
                    </a:cubicBezTo>
                    <a:lnTo>
                      <a:pt x="1251" y="5781"/>
                    </a:lnTo>
                    <a:cubicBezTo>
                      <a:pt x="2501" y="7032"/>
                      <a:pt x="4530" y="7032"/>
                      <a:pt x="5781" y="5781"/>
                    </a:cubicBezTo>
                    <a:lnTo>
                      <a:pt x="8046" y="3516"/>
                    </a:lnTo>
                  </a:path>
                </a:pathLst>
              </a:custGeom>
              <a:solidFill>
                <a:schemeClr val="accent4"/>
              </a:solidFill>
              <a:ln>
                <a:noFill/>
              </a:ln>
              <a:effectLst/>
            </p:spPr>
            <p:txBody>
              <a:bodyPr wrap="none" anchor="ctr"/>
              <a:lstStyle/>
              <a:p>
                <a:endParaRPr lang="en-US" sz="3266">
                  <a:latin typeface="Lato Light" panose="020F0502020204030203" pitchFamily="34" charset="0"/>
                </a:endParaRPr>
              </a:p>
            </p:txBody>
          </p:sp>
          <p:sp useBgFill="1">
            <p:nvSpPr>
              <p:cNvPr id="18" name="Freeform 6">
                <a:extLst>
                  <a:ext uri="{FF2B5EF4-FFF2-40B4-BE49-F238E27FC236}">
                    <a16:creationId xmlns:a16="http://schemas.microsoft.com/office/drawing/2014/main" id="{DB5FFA69-E020-FC29-0710-A3E6C9C14C3A}"/>
                  </a:ext>
                </a:extLst>
              </p:cNvPr>
              <p:cNvSpPr>
                <a:spLocks noChangeArrowheads="1"/>
              </p:cNvSpPr>
              <p:nvPr/>
            </p:nvSpPr>
            <p:spPr bwMode="auto">
              <a:xfrm>
                <a:off x="7318233" y="6326415"/>
                <a:ext cx="3295066" cy="3292187"/>
              </a:xfrm>
              <a:custGeom>
                <a:avLst/>
                <a:gdLst>
                  <a:gd name="T0" fmla="*/ 4145 w 5043"/>
                  <a:gd name="T1" fmla="*/ 4144 h 5041"/>
                  <a:gd name="T2" fmla="*/ 4145 w 5043"/>
                  <a:gd name="T3" fmla="*/ 4144 h 5041"/>
                  <a:gd name="T4" fmla="*/ 897 w 5043"/>
                  <a:gd name="T5" fmla="*/ 4144 h 5041"/>
                  <a:gd name="T6" fmla="*/ 897 w 5043"/>
                  <a:gd name="T7" fmla="*/ 4144 h 5041"/>
                  <a:gd name="T8" fmla="*/ 897 w 5043"/>
                  <a:gd name="T9" fmla="*/ 897 h 5041"/>
                  <a:gd name="T10" fmla="*/ 897 w 5043"/>
                  <a:gd name="T11" fmla="*/ 897 h 5041"/>
                  <a:gd name="T12" fmla="*/ 4145 w 5043"/>
                  <a:gd name="T13" fmla="*/ 897 h 5041"/>
                  <a:gd name="T14" fmla="*/ 4145 w 5043"/>
                  <a:gd name="T15" fmla="*/ 897 h 5041"/>
                  <a:gd name="T16" fmla="*/ 4145 w 5043"/>
                  <a:gd name="T17" fmla="*/ 4144 h 5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3" h="5041">
                    <a:moveTo>
                      <a:pt x="4145" y="4144"/>
                    </a:moveTo>
                    <a:lnTo>
                      <a:pt x="4145" y="4144"/>
                    </a:lnTo>
                    <a:cubicBezTo>
                      <a:pt x="3248" y="5040"/>
                      <a:pt x="1794" y="5040"/>
                      <a:pt x="897" y="4144"/>
                    </a:cubicBezTo>
                    <a:lnTo>
                      <a:pt x="897" y="4144"/>
                    </a:lnTo>
                    <a:cubicBezTo>
                      <a:pt x="0" y="3247"/>
                      <a:pt x="0" y="1794"/>
                      <a:pt x="897" y="897"/>
                    </a:cubicBezTo>
                    <a:lnTo>
                      <a:pt x="897" y="897"/>
                    </a:lnTo>
                    <a:cubicBezTo>
                      <a:pt x="1794" y="0"/>
                      <a:pt x="3248" y="0"/>
                      <a:pt x="4145" y="897"/>
                    </a:cubicBezTo>
                    <a:lnTo>
                      <a:pt x="4145" y="897"/>
                    </a:lnTo>
                    <a:cubicBezTo>
                      <a:pt x="5042" y="1794"/>
                      <a:pt x="5042" y="3247"/>
                      <a:pt x="4145" y="4144"/>
                    </a:cubicBez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latin typeface="Lato Light" panose="020F0502020204030203" pitchFamily="34" charset="0"/>
                </a:endParaRPr>
              </a:p>
            </p:txBody>
          </p:sp>
          <p:sp>
            <p:nvSpPr>
              <p:cNvPr id="19" name="Freeform 99">
                <a:extLst>
                  <a:ext uri="{FF2B5EF4-FFF2-40B4-BE49-F238E27FC236}">
                    <a16:creationId xmlns:a16="http://schemas.microsoft.com/office/drawing/2014/main" id="{6B9EDC62-9A15-303F-E16A-179783FDBD4F}"/>
                  </a:ext>
                </a:extLst>
              </p:cNvPr>
              <p:cNvSpPr>
                <a:spLocks noChangeArrowheads="1"/>
              </p:cNvSpPr>
              <p:nvPr/>
            </p:nvSpPr>
            <p:spPr bwMode="auto">
              <a:xfrm>
                <a:off x="8281875" y="7527298"/>
                <a:ext cx="1367781" cy="890419"/>
              </a:xfrm>
              <a:custGeom>
                <a:avLst/>
                <a:gdLst>
                  <a:gd name="T0" fmla="*/ 783146 w 877527"/>
                  <a:gd name="T1" fmla="*/ 487000 h 571141"/>
                  <a:gd name="T2" fmla="*/ 760812 w 877527"/>
                  <a:gd name="T3" fmla="*/ 508934 h 571141"/>
                  <a:gd name="T4" fmla="*/ 783146 w 877527"/>
                  <a:gd name="T5" fmla="*/ 530868 h 571141"/>
                  <a:gd name="T6" fmla="*/ 805120 w 877527"/>
                  <a:gd name="T7" fmla="*/ 508934 h 571141"/>
                  <a:gd name="T8" fmla="*/ 783146 w 877527"/>
                  <a:gd name="T9" fmla="*/ 487000 h 571141"/>
                  <a:gd name="T10" fmla="*/ 697771 w 877527"/>
                  <a:gd name="T11" fmla="*/ 487000 h 571141"/>
                  <a:gd name="T12" fmla="*/ 675797 w 877527"/>
                  <a:gd name="T13" fmla="*/ 508934 h 571141"/>
                  <a:gd name="T14" fmla="*/ 697771 w 877527"/>
                  <a:gd name="T15" fmla="*/ 530868 h 571141"/>
                  <a:gd name="T16" fmla="*/ 719745 w 877527"/>
                  <a:gd name="T17" fmla="*/ 508934 h 571141"/>
                  <a:gd name="T18" fmla="*/ 697771 w 877527"/>
                  <a:gd name="T19" fmla="*/ 487000 h 571141"/>
                  <a:gd name="T20" fmla="*/ 0 w 877527"/>
                  <a:gd name="T21" fmla="*/ 446368 h 571141"/>
                  <a:gd name="T22" fmla="*/ 18011 w 877527"/>
                  <a:gd name="T23" fmla="*/ 446368 h 571141"/>
                  <a:gd name="T24" fmla="*/ 860236 w 877527"/>
                  <a:gd name="T25" fmla="*/ 446368 h 571141"/>
                  <a:gd name="T26" fmla="*/ 877887 w 877527"/>
                  <a:gd name="T27" fmla="*/ 446368 h 571141"/>
                  <a:gd name="T28" fmla="*/ 877887 w 877527"/>
                  <a:gd name="T29" fmla="*/ 464347 h 571141"/>
                  <a:gd name="T30" fmla="*/ 877887 w 877527"/>
                  <a:gd name="T31" fmla="*/ 553521 h 571141"/>
                  <a:gd name="T32" fmla="*/ 877887 w 877527"/>
                  <a:gd name="T33" fmla="*/ 571500 h 571141"/>
                  <a:gd name="T34" fmla="*/ 860236 w 877527"/>
                  <a:gd name="T35" fmla="*/ 571500 h 571141"/>
                  <a:gd name="T36" fmla="*/ 18011 w 877527"/>
                  <a:gd name="T37" fmla="*/ 571500 h 571141"/>
                  <a:gd name="T38" fmla="*/ 0 w 877527"/>
                  <a:gd name="T39" fmla="*/ 571500 h 571141"/>
                  <a:gd name="T40" fmla="*/ 0 w 877527"/>
                  <a:gd name="T41" fmla="*/ 553521 h 571141"/>
                  <a:gd name="T42" fmla="*/ 0 w 877527"/>
                  <a:gd name="T43" fmla="*/ 464347 h 571141"/>
                  <a:gd name="T44" fmla="*/ 158301 w 877527"/>
                  <a:gd name="T45" fmla="*/ 303935 h 571141"/>
                  <a:gd name="T46" fmla="*/ 158301 w 877527"/>
                  <a:gd name="T47" fmla="*/ 339586 h 571141"/>
                  <a:gd name="T48" fmla="*/ 497808 w 877527"/>
                  <a:gd name="T49" fmla="*/ 339586 h 571141"/>
                  <a:gd name="T50" fmla="*/ 497808 w 877527"/>
                  <a:gd name="T51" fmla="*/ 303935 h 571141"/>
                  <a:gd name="T52" fmla="*/ 158301 w 877527"/>
                  <a:gd name="T53" fmla="*/ 214627 h 571141"/>
                  <a:gd name="T54" fmla="*/ 158301 w 877527"/>
                  <a:gd name="T55" fmla="*/ 250278 h 571141"/>
                  <a:gd name="T56" fmla="*/ 497808 w 877527"/>
                  <a:gd name="T57" fmla="*/ 250278 h 571141"/>
                  <a:gd name="T58" fmla="*/ 497808 w 877527"/>
                  <a:gd name="T59" fmla="*/ 214627 h 571141"/>
                  <a:gd name="T60" fmla="*/ 158301 w 877527"/>
                  <a:gd name="T61" fmla="*/ 124959 h 571141"/>
                  <a:gd name="T62" fmla="*/ 158301 w 877527"/>
                  <a:gd name="T63" fmla="*/ 160970 h 571141"/>
                  <a:gd name="T64" fmla="*/ 497808 w 877527"/>
                  <a:gd name="T65" fmla="*/ 160970 h 571141"/>
                  <a:gd name="T66" fmla="*/ 497808 w 877527"/>
                  <a:gd name="T67" fmla="*/ 124959 h 571141"/>
                  <a:gd name="T68" fmla="*/ 533092 w 877527"/>
                  <a:gd name="T69" fmla="*/ 121358 h 571141"/>
                  <a:gd name="T70" fmla="*/ 540292 w 877527"/>
                  <a:gd name="T71" fmla="*/ 154848 h 571141"/>
                  <a:gd name="T72" fmla="*/ 574855 w 877527"/>
                  <a:gd name="T73" fmla="*/ 310777 h 571141"/>
                  <a:gd name="T74" fmla="*/ 580255 w 877527"/>
                  <a:gd name="T75" fmla="*/ 335985 h 571141"/>
                  <a:gd name="T76" fmla="*/ 600776 w 877527"/>
                  <a:gd name="T77" fmla="*/ 320140 h 571141"/>
                  <a:gd name="T78" fmla="*/ 640380 w 877527"/>
                  <a:gd name="T79" fmla="*/ 289531 h 571141"/>
                  <a:gd name="T80" fmla="*/ 699785 w 877527"/>
                  <a:gd name="T81" fmla="*/ 359393 h 571141"/>
                  <a:gd name="T82" fmla="*/ 724626 w 877527"/>
                  <a:gd name="T83" fmla="*/ 338146 h 571141"/>
                  <a:gd name="T84" fmla="*/ 665942 w 877527"/>
                  <a:gd name="T85" fmla="*/ 269364 h 571141"/>
                  <a:gd name="T86" fmla="*/ 709145 w 877527"/>
                  <a:gd name="T87" fmla="*/ 235874 h 571141"/>
                  <a:gd name="T88" fmla="*/ 729307 w 877527"/>
                  <a:gd name="T89" fmla="*/ 220029 h 571141"/>
                  <a:gd name="T90" fmla="*/ 706265 w 877527"/>
                  <a:gd name="T91" fmla="*/ 208505 h 571141"/>
                  <a:gd name="T92" fmla="*/ 563693 w 877527"/>
                  <a:gd name="T93" fmla="*/ 136843 h 571141"/>
                  <a:gd name="T94" fmla="*/ 75855 w 877527"/>
                  <a:gd name="T95" fmla="*/ 0 h 571141"/>
                  <a:gd name="T96" fmla="*/ 802033 w 877527"/>
                  <a:gd name="T97" fmla="*/ 0 h 571141"/>
                  <a:gd name="T98" fmla="*/ 826515 w 877527"/>
                  <a:gd name="T99" fmla="*/ 10083 h 571141"/>
                  <a:gd name="T100" fmla="*/ 836595 w 877527"/>
                  <a:gd name="T101" fmla="*/ 34571 h 571141"/>
                  <a:gd name="T102" fmla="*/ 836595 w 877527"/>
                  <a:gd name="T103" fmla="*/ 428534 h 571141"/>
                  <a:gd name="T104" fmla="*/ 41292 w 877527"/>
                  <a:gd name="T105" fmla="*/ 428534 h 571141"/>
                  <a:gd name="T106" fmla="*/ 41292 w 877527"/>
                  <a:gd name="T107" fmla="*/ 34571 h 571141"/>
                  <a:gd name="T108" fmla="*/ 51373 w 877527"/>
                  <a:gd name="T109" fmla="*/ 10083 h 571141"/>
                  <a:gd name="T110" fmla="*/ 75855 w 877527"/>
                  <a:gd name="T111" fmla="*/ 0 h 57114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77527" h="571141">
                    <a:moveTo>
                      <a:pt x="782825" y="486694"/>
                    </a:moveTo>
                    <a:cubicBezTo>
                      <a:pt x="770222" y="486694"/>
                      <a:pt x="760500" y="496397"/>
                      <a:pt x="760500" y="508614"/>
                    </a:cubicBezTo>
                    <a:cubicBezTo>
                      <a:pt x="760500" y="520473"/>
                      <a:pt x="770222" y="530535"/>
                      <a:pt x="782825" y="530535"/>
                    </a:cubicBezTo>
                    <a:cubicBezTo>
                      <a:pt x="794708" y="530535"/>
                      <a:pt x="804790" y="520473"/>
                      <a:pt x="804790" y="508614"/>
                    </a:cubicBezTo>
                    <a:cubicBezTo>
                      <a:pt x="804790" y="496397"/>
                      <a:pt x="794708" y="486694"/>
                      <a:pt x="782825" y="486694"/>
                    </a:cubicBezTo>
                    <a:close/>
                    <a:moveTo>
                      <a:pt x="697485" y="486694"/>
                    </a:moveTo>
                    <a:cubicBezTo>
                      <a:pt x="685242" y="486694"/>
                      <a:pt x="675520" y="496397"/>
                      <a:pt x="675520" y="508614"/>
                    </a:cubicBezTo>
                    <a:cubicBezTo>
                      <a:pt x="675520" y="520473"/>
                      <a:pt x="685242" y="530535"/>
                      <a:pt x="697485" y="530535"/>
                    </a:cubicBezTo>
                    <a:cubicBezTo>
                      <a:pt x="709367" y="530535"/>
                      <a:pt x="719450" y="520473"/>
                      <a:pt x="719450" y="508614"/>
                    </a:cubicBezTo>
                    <a:cubicBezTo>
                      <a:pt x="719450" y="496397"/>
                      <a:pt x="709367" y="486694"/>
                      <a:pt x="697485" y="486694"/>
                    </a:cubicBezTo>
                    <a:close/>
                    <a:moveTo>
                      <a:pt x="0" y="446088"/>
                    </a:moveTo>
                    <a:lnTo>
                      <a:pt x="18004" y="446088"/>
                    </a:lnTo>
                    <a:lnTo>
                      <a:pt x="859883" y="446088"/>
                    </a:lnTo>
                    <a:lnTo>
                      <a:pt x="877527" y="446088"/>
                    </a:lnTo>
                    <a:lnTo>
                      <a:pt x="877527" y="464055"/>
                    </a:lnTo>
                    <a:lnTo>
                      <a:pt x="877527" y="553173"/>
                    </a:lnTo>
                    <a:lnTo>
                      <a:pt x="877527" y="571141"/>
                    </a:lnTo>
                    <a:lnTo>
                      <a:pt x="859883" y="571141"/>
                    </a:lnTo>
                    <a:lnTo>
                      <a:pt x="18004" y="571141"/>
                    </a:lnTo>
                    <a:lnTo>
                      <a:pt x="0" y="571141"/>
                    </a:lnTo>
                    <a:lnTo>
                      <a:pt x="0" y="553173"/>
                    </a:lnTo>
                    <a:lnTo>
                      <a:pt x="0" y="464055"/>
                    </a:lnTo>
                    <a:lnTo>
                      <a:pt x="0" y="446088"/>
                    </a:lnTo>
                    <a:close/>
                    <a:moveTo>
                      <a:pt x="158236" y="303744"/>
                    </a:moveTo>
                    <a:lnTo>
                      <a:pt x="158236" y="339373"/>
                    </a:lnTo>
                    <a:lnTo>
                      <a:pt x="497604" y="339373"/>
                    </a:lnTo>
                    <a:lnTo>
                      <a:pt x="497604" y="303744"/>
                    </a:lnTo>
                    <a:lnTo>
                      <a:pt x="158236" y="303744"/>
                    </a:lnTo>
                    <a:close/>
                    <a:moveTo>
                      <a:pt x="158236" y="214492"/>
                    </a:moveTo>
                    <a:lnTo>
                      <a:pt x="158236" y="250121"/>
                    </a:lnTo>
                    <a:lnTo>
                      <a:pt x="497604" y="250121"/>
                    </a:lnTo>
                    <a:lnTo>
                      <a:pt x="497604" y="214492"/>
                    </a:lnTo>
                    <a:lnTo>
                      <a:pt x="158236" y="214492"/>
                    </a:lnTo>
                    <a:close/>
                    <a:moveTo>
                      <a:pt x="158236" y="124881"/>
                    </a:moveTo>
                    <a:lnTo>
                      <a:pt x="158236" y="160869"/>
                    </a:lnTo>
                    <a:lnTo>
                      <a:pt x="497604" y="160869"/>
                    </a:lnTo>
                    <a:lnTo>
                      <a:pt x="497604" y="124881"/>
                    </a:lnTo>
                    <a:lnTo>
                      <a:pt x="158236" y="124881"/>
                    </a:lnTo>
                    <a:close/>
                    <a:moveTo>
                      <a:pt x="532873" y="121282"/>
                    </a:moveTo>
                    <a:lnTo>
                      <a:pt x="540070" y="154751"/>
                    </a:lnTo>
                    <a:lnTo>
                      <a:pt x="574619" y="310582"/>
                    </a:lnTo>
                    <a:lnTo>
                      <a:pt x="580017" y="335774"/>
                    </a:lnTo>
                    <a:lnTo>
                      <a:pt x="600530" y="319939"/>
                    </a:lnTo>
                    <a:lnTo>
                      <a:pt x="640117" y="289349"/>
                    </a:lnTo>
                    <a:lnTo>
                      <a:pt x="699498" y="359167"/>
                    </a:lnTo>
                    <a:lnTo>
                      <a:pt x="724329" y="337934"/>
                    </a:lnTo>
                    <a:lnTo>
                      <a:pt x="665669" y="269195"/>
                    </a:lnTo>
                    <a:lnTo>
                      <a:pt x="708854" y="235726"/>
                    </a:lnTo>
                    <a:lnTo>
                      <a:pt x="729008" y="219891"/>
                    </a:lnTo>
                    <a:lnTo>
                      <a:pt x="705975" y="208374"/>
                    </a:lnTo>
                    <a:lnTo>
                      <a:pt x="563462" y="136757"/>
                    </a:lnTo>
                    <a:lnTo>
                      <a:pt x="532873" y="121282"/>
                    </a:lnTo>
                    <a:close/>
                    <a:moveTo>
                      <a:pt x="75824" y="0"/>
                    </a:moveTo>
                    <a:lnTo>
                      <a:pt x="801704" y="0"/>
                    </a:lnTo>
                    <a:cubicBezTo>
                      <a:pt x="811061" y="0"/>
                      <a:pt x="819698" y="3959"/>
                      <a:pt x="826176" y="10077"/>
                    </a:cubicBezTo>
                    <a:cubicBezTo>
                      <a:pt x="832654" y="16195"/>
                      <a:pt x="836252" y="24832"/>
                      <a:pt x="836252" y="34549"/>
                    </a:cubicBezTo>
                    <a:lnTo>
                      <a:pt x="836252" y="428265"/>
                    </a:lnTo>
                    <a:lnTo>
                      <a:pt x="41275" y="428265"/>
                    </a:lnTo>
                    <a:lnTo>
                      <a:pt x="41275" y="34549"/>
                    </a:lnTo>
                    <a:cubicBezTo>
                      <a:pt x="41275" y="25192"/>
                      <a:pt x="45234" y="16555"/>
                      <a:pt x="51352" y="10077"/>
                    </a:cubicBezTo>
                    <a:cubicBezTo>
                      <a:pt x="57830" y="3959"/>
                      <a:pt x="66467" y="0"/>
                      <a:pt x="75824" y="0"/>
                    </a:cubicBezTo>
                    <a:close/>
                  </a:path>
                </a:pathLst>
              </a:custGeom>
              <a:solidFill>
                <a:schemeClr val="tx2"/>
              </a:solidFill>
              <a:ln>
                <a:noFill/>
              </a:ln>
              <a:effectLst/>
            </p:spPr>
            <p:txBody>
              <a:bodyPr anchor="ctr"/>
              <a:lstStyle/>
              <a:p>
                <a:endParaRPr lang="en-US" sz="900">
                  <a:latin typeface="Lato Light" panose="020F0502020204030203" pitchFamily="34" charset="0"/>
                </a:endParaRPr>
              </a:p>
            </p:txBody>
          </p:sp>
        </p:grpSp>
        <p:grpSp>
          <p:nvGrpSpPr>
            <p:cNvPr id="5" name="Group 4">
              <a:extLst>
                <a:ext uri="{FF2B5EF4-FFF2-40B4-BE49-F238E27FC236}">
                  <a16:creationId xmlns:a16="http://schemas.microsoft.com/office/drawing/2014/main" id="{FA6F5BEC-7B5D-5933-B2E4-5B42EE8FFA71}"/>
                </a:ext>
              </a:extLst>
            </p:cNvPr>
            <p:cNvGrpSpPr/>
            <p:nvPr/>
          </p:nvGrpSpPr>
          <p:grpSpPr>
            <a:xfrm>
              <a:off x="10138411" y="2999665"/>
              <a:ext cx="4133233" cy="4732336"/>
              <a:chOff x="10103486" y="2999665"/>
              <a:chExt cx="4133233" cy="4732336"/>
            </a:xfrm>
          </p:grpSpPr>
          <p:sp>
            <p:nvSpPr>
              <p:cNvPr id="14" name="Freeform 3">
                <a:extLst>
                  <a:ext uri="{FF2B5EF4-FFF2-40B4-BE49-F238E27FC236}">
                    <a16:creationId xmlns:a16="http://schemas.microsoft.com/office/drawing/2014/main" id="{62AEF05C-A421-8B28-EC94-769D6A4BE3F2}"/>
                  </a:ext>
                </a:extLst>
              </p:cNvPr>
              <p:cNvSpPr>
                <a:spLocks noChangeArrowheads="1"/>
              </p:cNvSpPr>
              <p:nvPr/>
            </p:nvSpPr>
            <p:spPr bwMode="auto">
              <a:xfrm>
                <a:off x="10103486" y="2999665"/>
                <a:ext cx="4133233" cy="4732336"/>
              </a:xfrm>
              <a:custGeom>
                <a:avLst/>
                <a:gdLst>
                  <a:gd name="T0" fmla="*/ 3164 w 6328"/>
                  <a:gd name="T1" fmla="*/ 7242 h 7243"/>
                  <a:gd name="T2" fmla="*/ 1125 w 6328"/>
                  <a:gd name="T3" fmla="*/ 5204 h 7243"/>
                  <a:gd name="T4" fmla="*/ 1125 w 6328"/>
                  <a:gd name="T5" fmla="*/ 5204 h 7243"/>
                  <a:gd name="T6" fmla="*/ 1125 w 6328"/>
                  <a:gd name="T7" fmla="*/ 1126 h 7243"/>
                  <a:gd name="T8" fmla="*/ 1125 w 6328"/>
                  <a:gd name="T9" fmla="*/ 1126 h 7243"/>
                  <a:gd name="T10" fmla="*/ 5201 w 6328"/>
                  <a:gd name="T11" fmla="*/ 1126 h 7243"/>
                  <a:gd name="T12" fmla="*/ 5201 w 6328"/>
                  <a:gd name="T13" fmla="*/ 1126 h 7243"/>
                  <a:gd name="T14" fmla="*/ 5201 w 6328"/>
                  <a:gd name="T15" fmla="*/ 5204 h 7243"/>
                  <a:gd name="T16" fmla="*/ 3164 w 6328"/>
                  <a:gd name="T17" fmla="*/ 7242 h 7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8" h="7243">
                    <a:moveTo>
                      <a:pt x="3164" y="7242"/>
                    </a:moveTo>
                    <a:lnTo>
                      <a:pt x="1125" y="5204"/>
                    </a:lnTo>
                    <a:lnTo>
                      <a:pt x="1125" y="5204"/>
                    </a:lnTo>
                    <a:cubicBezTo>
                      <a:pt x="0" y="4078"/>
                      <a:pt x="0" y="2252"/>
                      <a:pt x="1125" y="1126"/>
                    </a:cubicBezTo>
                    <a:lnTo>
                      <a:pt x="1125" y="1126"/>
                    </a:lnTo>
                    <a:cubicBezTo>
                      <a:pt x="2251" y="0"/>
                      <a:pt x="4076" y="0"/>
                      <a:pt x="5201" y="1126"/>
                    </a:cubicBezTo>
                    <a:lnTo>
                      <a:pt x="5201" y="1126"/>
                    </a:lnTo>
                    <a:cubicBezTo>
                      <a:pt x="6327" y="2252"/>
                      <a:pt x="6327" y="4078"/>
                      <a:pt x="5201" y="5204"/>
                    </a:cubicBezTo>
                    <a:lnTo>
                      <a:pt x="3164" y="7242"/>
                    </a:lnTo>
                  </a:path>
                </a:pathLst>
              </a:custGeom>
              <a:solidFill>
                <a:schemeClr val="accent1"/>
              </a:solidFill>
              <a:ln>
                <a:noFill/>
              </a:ln>
              <a:effectLst/>
            </p:spPr>
            <p:txBody>
              <a:bodyPr wrap="none" anchor="ctr"/>
              <a:lstStyle/>
              <a:p>
                <a:endParaRPr lang="en-US" sz="3266">
                  <a:latin typeface="Lato Light" panose="020F0502020204030203" pitchFamily="34" charset="0"/>
                </a:endParaRPr>
              </a:p>
            </p:txBody>
          </p:sp>
          <p:sp useBgFill="1">
            <p:nvSpPr>
              <p:cNvPr id="15" name="Freeform 4">
                <a:extLst>
                  <a:ext uri="{FF2B5EF4-FFF2-40B4-BE49-F238E27FC236}">
                    <a16:creationId xmlns:a16="http://schemas.microsoft.com/office/drawing/2014/main" id="{58B23760-0A2F-80CE-0C08-084EA47E1FCD}"/>
                  </a:ext>
                </a:extLst>
              </p:cNvPr>
              <p:cNvSpPr>
                <a:spLocks noChangeArrowheads="1"/>
              </p:cNvSpPr>
              <p:nvPr/>
            </p:nvSpPr>
            <p:spPr bwMode="auto">
              <a:xfrm>
                <a:off x="10688187" y="3584366"/>
                <a:ext cx="2963832" cy="2963832"/>
              </a:xfrm>
              <a:custGeom>
                <a:avLst/>
                <a:gdLst>
                  <a:gd name="T0" fmla="*/ 3729 w 4537"/>
                  <a:gd name="T1" fmla="*/ 3729 h 4538"/>
                  <a:gd name="T2" fmla="*/ 3729 w 4537"/>
                  <a:gd name="T3" fmla="*/ 3729 h 4538"/>
                  <a:gd name="T4" fmla="*/ 3729 w 4537"/>
                  <a:gd name="T5" fmla="*/ 807 h 4538"/>
                  <a:gd name="T6" fmla="*/ 3729 w 4537"/>
                  <a:gd name="T7" fmla="*/ 807 h 4538"/>
                  <a:gd name="T8" fmla="*/ 807 w 4537"/>
                  <a:gd name="T9" fmla="*/ 807 h 4538"/>
                  <a:gd name="T10" fmla="*/ 807 w 4537"/>
                  <a:gd name="T11" fmla="*/ 807 h 4538"/>
                  <a:gd name="T12" fmla="*/ 807 w 4537"/>
                  <a:gd name="T13" fmla="*/ 3729 h 4538"/>
                  <a:gd name="T14" fmla="*/ 807 w 4537"/>
                  <a:gd name="T15" fmla="*/ 3729 h 4538"/>
                  <a:gd name="T16" fmla="*/ 3729 w 4537"/>
                  <a:gd name="T17" fmla="*/ 3729 h 4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7" h="4538">
                    <a:moveTo>
                      <a:pt x="3729" y="3729"/>
                    </a:moveTo>
                    <a:lnTo>
                      <a:pt x="3729" y="3729"/>
                    </a:lnTo>
                    <a:cubicBezTo>
                      <a:pt x="4536" y="2922"/>
                      <a:pt x="4536" y="1614"/>
                      <a:pt x="3729" y="807"/>
                    </a:cubicBezTo>
                    <a:lnTo>
                      <a:pt x="3729" y="807"/>
                    </a:lnTo>
                    <a:cubicBezTo>
                      <a:pt x="2922" y="0"/>
                      <a:pt x="1615" y="0"/>
                      <a:pt x="807" y="807"/>
                    </a:cubicBezTo>
                    <a:lnTo>
                      <a:pt x="807" y="807"/>
                    </a:lnTo>
                    <a:cubicBezTo>
                      <a:pt x="0" y="1614"/>
                      <a:pt x="0" y="2922"/>
                      <a:pt x="807" y="3729"/>
                    </a:cubicBezTo>
                    <a:lnTo>
                      <a:pt x="807" y="3729"/>
                    </a:lnTo>
                    <a:cubicBezTo>
                      <a:pt x="1615" y="4537"/>
                      <a:pt x="2922" y="4537"/>
                      <a:pt x="3729" y="3729"/>
                    </a:cubicBez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latin typeface="Lato Light" panose="020F0502020204030203" pitchFamily="34" charset="0"/>
                </a:endParaRPr>
              </a:p>
            </p:txBody>
          </p:sp>
          <p:sp>
            <p:nvSpPr>
              <p:cNvPr id="16" name="Freeform 8">
                <a:extLst>
                  <a:ext uri="{FF2B5EF4-FFF2-40B4-BE49-F238E27FC236}">
                    <a16:creationId xmlns:a16="http://schemas.microsoft.com/office/drawing/2014/main" id="{11DA39F1-8423-2EA3-937F-103C3F65527E}"/>
                  </a:ext>
                </a:extLst>
              </p:cNvPr>
              <p:cNvSpPr>
                <a:spLocks noChangeArrowheads="1"/>
              </p:cNvSpPr>
              <p:nvPr/>
            </p:nvSpPr>
            <p:spPr bwMode="auto">
              <a:xfrm>
                <a:off x="11642435" y="4382390"/>
                <a:ext cx="1098183" cy="1367783"/>
              </a:xfrm>
              <a:custGeom>
                <a:avLst/>
                <a:gdLst>
                  <a:gd name="T0" fmla="*/ 8535518 w 1960"/>
                  <a:gd name="T1" fmla="*/ 263342274 h 2438"/>
                  <a:gd name="T2" fmla="*/ 244811667 w 1960"/>
                  <a:gd name="T3" fmla="*/ 263342274 h 2438"/>
                  <a:gd name="T4" fmla="*/ 244811667 w 1960"/>
                  <a:gd name="T5" fmla="*/ 250246692 h 2438"/>
                  <a:gd name="T6" fmla="*/ 8535518 w 1960"/>
                  <a:gd name="T7" fmla="*/ 250246692 h 2438"/>
                  <a:gd name="T8" fmla="*/ 8535518 w 1960"/>
                  <a:gd name="T9" fmla="*/ 263342274 h 2438"/>
                  <a:gd name="T10" fmla="*/ 35693460 w 1960"/>
                  <a:gd name="T11" fmla="*/ 71573078 h 2438"/>
                  <a:gd name="T12" fmla="*/ 217523902 w 1960"/>
                  <a:gd name="T13" fmla="*/ 71573078 h 2438"/>
                  <a:gd name="T14" fmla="*/ 217523902 w 1960"/>
                  <a:gd name="T15" fmla="*/ 58347504 h 2438"/>
                  <a:gd name="T16" fmla="*/ 35693460 w 1960"/>
                  <a:gd name="T17" fmla="*/ 58347504 h 2438"/>
                  <a:gd name="T18" fmla="*/ 35693460 w 1960"/>
                  <a:gd name="T19" fmla="*/ 71573078 h 2438"/>
                  <a:gd name="T20" fmla="*/ 35693460 w 1960"/>
                  <a:gd name="T21" fmla="*/ 115269071 h 2438"/>
                  <a:gd name="T22" fmla="*/ 217523902 w 1960"/>
                  <a:gd name="T23" fmla="*/ 115269071 h 2438"/>
                  <a:gd name="T24" fmla="*/ 217523902 w 1960"/>
                  <a:gd name="T25" fmla="*/ 102173128 h 2438"/>
                  <a:gd name="T26" fmla="*/ 35693460 w 1960"/>
                  <a:gd name="T27" fmla="*/ 102173128 h 2438"/>
                  <a:gd name="T28" fmla="*/ 35693460 w 1960"/>
                  <a:gd name="T29" fmla="*/ 115269071 h 2438"/>
                  <a:gd name="T30" fmla="*/ 35693460 w 1960"/>
                  <a:gd name="T31" fmla="*/ 159094695 h 2438"/>
                  <a:gd name="T32" fmla="*/ 217523902 w 1960"/>
                  <a:gd name="T33" fmla="*/ 159094695 h 2438"/>
                  <a:gd name="T34" fmla="*/ 217523902 w 1960"/>
                  <a:gd name="T35" fmla="*/ 145998752 h 2438"/>
                  <a:gd name="T36" fmla="*/ 35693460 w 1960"/>
                  <a:gd name="T37" fmla="*/ 145998752 h 2438"/>
                  <a:gd name="T38" fmla="*/ 35693460 w 1960"/>
                  <a:gd name="T39" fmla="*/ 159094695 h 2438"/>
                  <a:gd name="T40" fmla="*/ 126738143 w 1960"/>
                  <a:gd name="T41" fmla="*/ 273844883 h 2438"/>
                  <a:gd name="T42" fmla="*/ 126738143 w 1960"/>
                  <a:gd name="T43" fmla="*/ 273844883 h 2438"/>
                  <a:gd name="T44" fmla="*/ 110960652 w 1960"/>
                  <a:gd name="T45" fmla="*/ 289663791 h 2438"/>
                  <a:gd name="T46" fmla="*/ 110960652 w 1960"/>
                  <a:gd name="T47" fmla="*/ 289663791 h 2438"/>
                  <a:gd name="T48" fmla="*/ 126738143 w 1960"/>
                  <a:gd name="T49" fmla="*/ 305482339 h 2438"/>
                  <a:gd name="T50" fmla="*/ 126738143 w 1960"/>
                  <a:gd name="T51" fmla="*/ 305482339 h 2438"/>
                  <a:gd name="T52" fmla="*/ 142386533 w 1960"/>
                  <a:gd name="T53" fmla="*/ 289663791 h 2438"/>
                  <a:gd name="T54" fmla="*/ 142386533 w 1960"/>
                  <a:gd name="T55" fmla="*/ 289663791 h 2438"/>
                  <a:gd name="T56" fmla="*/ 126738143 w 1960"/>
                  <a:gd name="T57" fmla="*/ 273844883 h 2438"/>
                  <a:gd name="T58" fmla="*/ 12415070 w 1960"/>
                  <a:gd name="T59" fmla="*/ 0 h 2438"/>
                  <a:gd name="T60" fmla="*/ 240931755 w 1960"/>
                  <a:gd name="T61" fmla="*/ 0 h 2438"/>
                  <a:gd name="T62" fmla="*/ 240931755 w 1960"/>
                  <a:gd name="T63" fmla="*/ 0 h 2438"/>
                  <a:gd name="T64" fmla="*/ 249596375 w 1960"/>
                  <a:gd name="T65" fmla="*/ 3630380 h 2438"/>
                  <a:gd name="T66" fmla="*/ 249596375 w 1960"/>
                  <a:gd name="T67" fmla="*/ 3630380 h 2438"/>
                  <a:gd name="T68" fmla="*/ 249596375 w 1960"/>
                  <a:gd name="T69" fmla="*/ 3630380 h 2438"/>
                  <a:gd name="T70" fmla="*/ 253346825 w 1960"/>
                  <a:gd name="T71" fmla="*/ 12317798 h 2438"/>
                  <a:gd name="T72" fmla="*/ 253346825 w 1960"/>
                  <a:gd name="T73" fmla="*/ 303667149 h 2438"/>
                  <a:gd name="T74" fmla="*/ 253346825 w 1960"/>
                  <a:gd name="T75" fmla="*/ 303667149 h 2438"/>
                  <a:gd name="T76" fmla="*/ 249596375 w 1960"/>
                  <a:gd name="T77" fmla="*/ 312354567 h 2438"/>
                  <a:gd name="T78" fmla="*/ 249596375 w 1960"/>
                  <a:gd name="T79" fmla="*/ 312354567 h 2438"/>
                  <a:gd name="T80" fmla="*/ 249596375 w 1960"/>
                  <a:gd name="T81" fmla="*/ 312354567 h 2438"/>
                  <a:gd name="T82" fmla="*/ 240931755 w 1960"/>
                  <a:gd name="T83" fmla="*/ 315984947 h 2438"/>
                  <a:gd name="T84" fmla="*/ 12415070 w 1960"/>
                  <a:gd name="T85" fmla="*/ 315984947 h 2438"/>
                  <a:gd name="T86" fmla="*/ 12415070 w 1960"/>
                  <a:gd name="T87" fmla="*/ 315984947 h 2438"/>
                  <a:gd name="T88" fmla="*/ 3620987 w 1960"/>
                  <a:gd name="T89" fmla="*/ 312354567 h 2438"/>
                  <a:gd name="T90" fmla="*/ 3620987 w 1960"/>
                  <a:gd name="T91" fmla="*/ 312354567 h 2438"/>
                  <a:gd name="T92" fmla="*/ 0 w 1960"/>
                  <a:gd name="T93" fmla="*/ 303667149 h 2438"/>
                  <a:gd name="T94" fmla="*/ 0 w 1960"/>
                  <a:gd name="T95" fmla="*/ 12317798 h 2438"/>
                  <a:gd name="T96" fmla="*/ 0 w 1960"/>
                  <a:gd name="T97" fmla="*/ 12317798 h 2438"/>
                  <a:gd name="T98" fmla="*/ 3620987 w 1960"/>
                  <a:gd name="T99" fmla="*/ 3630380 h 2438"/>
                  <a:gd name="T100" fmla="*/ 3620987 w 1960"/>
                  <a:gd name="T101" fmla="*/ 3630380 h 2438"/>
                  <a:gd name="T102" fmla="*/ 3620987 w 1960"/>
                  <a:gd name="T103" fmla="*/ 3630380 h 2438"/>
                  <a:gd name="T104" fmla="*/ 12415070 w 1960"/>
                  <a:gd name="T105" fmla="*/ 0 h 243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60" h="2438">
                    <a:moveTo>
                      <a:pt x="66" y="2031"/>
                    </a:moveTo>
                    <a:lnTo>
                      <a:pt x="1893" y="2031"/>
                    </a:lnTo>
                    <a:lnTo>
                      <a:pt x="1893" y="1930"/>
                    </a:lnTo>
                    <a:lnTo>
                      <a:pt x="66" y="1930"/>
                    </a:lnTo>
                    <a:lnTo>
                      <a:pt x="66" y="2031"/>
                    </a:lnTo>
                    <a:close/>
                    <a:moveTo>
                      <a:pt x="276" y="552"/>
                    </a:moveTo>
                    <a:lnTo>
                      <a:pt x="1682" y="552"/>
                    </a:lnTo>
                    <a:lnTo>
                      <a:pt x="1682" y="450"/>
                    </a:lnTo>
                    <a:lnTo>
                      <a:pt x="276" y="450"/>
                    </a:lnTo>
                    <a:lnTo>
                      <a:pt x="276" y="552"/>
                    </a:lnTo>
                    <a:close/>
                    <a:moveTo>
                      <a:pt x="276" y="889"/>
                    </a:moveTo>
                    <a:lnTo>
                      <a:pt x="1682" y="889"/>
                    </a:lnTo>
                    <a:lnTo>
                      <a:pt x="1682" y="788"/>
                    </a:lnTo>
                    <a:lnTo>
                      <a:pt x="276" y="788"/>
                    </a:lnTo>
                    <a:lnTo>
                      <a:pt x="276" y="889"/>
                    </a:lnTo>
                    <a:close/>
                    <a:moveTo>
                      <a:pt x="276" y="1227"/>
                    </a:moveTo>
                    <a:lnTo>
                      <a:pt x="1682" y="1227"/>
                    </a:lnTo>
                    <a:lnTo>
                      <a:pt x="1682" y="1126"/>
                    </a:lnTo>
                    <a:lnTo>
                      <a:pt x="276" y="1126"/>
                    </a:lnTo>
                    <a:lnTo>
                      <a:pt x="276" y="1227"/>
                    </a:lnTo>
                    <a:close/>
                    <a:moveTo>
                      <a:pt x="980" y="2112"/>
                    </a:moveTo>
                    <a:lnTo>
                      <a:pt x="980" y="2112"/>
                    </a:lnTo>
                    <a:cubicBezTo>
                      <a:pt x="912" y="2112"/>
                      <a:pt x="858" y="2167"/>
                      <a:pt x="858" y="2234"/>
                    </a:cubicBezTo>
                    <a:cubicBezTo>
                      <a:pt x="858" y="2301"/>
                      <a:pt x="912" y="2356"/>
                      <a:pt x="980" y="2356"/>
                    </a:cubicBezTo>
                    <a:cubicBezTo>
                      <a:pt x="1046" y="2356"/>
                      <a:pt x="1101" y="2301"/>
                      <a:pt x="1101" y="2234"/>
                    </a:cubicBezTo>
                    <a:cubicBezTo>
                      <a:pt x="1101" y="2167"/>
                      <a:pt x="1046" y="2112"/>
                      <a:pt x="980" y="2112"/>
                    </a:cubicBezTo>
                    <a:close/>
                    <a:moveTo>
                      <a:pt x="96" y="0"/>
                    </a:moveTo>
                    <a:lnTo>
                      <a:pt x="1863" y="0"/>
                    </a:lnTo>
                    <a:cubicBezTo>
                      <a:pt x="1889" y="0"/>
                      <a:pt x="1913" y="10"/>
                      <a:pt x="1930" y="28"/>
                    </a:cubicBezTo>
                    <a:cubicBezTo>
                      <a:pt x="1948" y="45"/>
                      <a:pt x="1959" y="69"/>
                      <a:pt x="1959" y="95"/>
                    </a:cubicBezTo>
                    <a:lnTo>
                      <a:pt x="1959" y="2342"/>
                    </a:lnTo>
                    <a:cubicBezTo>
                      <a:pt x="1959" y="2368"/>
                      <a:pt x="1948" y="2392"/>
                      <a:pt x="1930" y="2409"/>
                    </a:cubicBezTo>
                    <a:cubicBezTo>
                      <a:pt x="1913" y="2426"/>
                      <a:pt x="1889" y="2437"/>
                      <a:pt x="1863" y="2437"/>
                    </a:cubicBezTo>
                    <a:lnTo>
                      <a:pt x="96" y="2437"/>
                    </a:lnTo>
                    <a:cubicBezTo>
                      <a:pt x="69" y="2437"/>
                      <a:pt x="45" y="2426"/>
                      <a:pt x="28" y="2409"/>
                    </a:cubicBezTo>
                    <a:cubicBezTo>
                      <a:pt x="11" y="2392"/>
                      <a:pt x="0" y="2368"/>
                      <a:pt x="0" y="2342"/>
                    </a:cubicBezTo>
                    <a:lnTo>
                      <a:pt x="0" y="95"/>
                    </a:lnTo>
                    <a:cubicBezTo>
                      <a:pt x="0" y="69"/>
                      <a:pt x="11" y="45"/>
                      <a:pt x="28" y="28"/>
                    </a:cubicBezTo>
                    <a:cubicBezTo>
                      <a:pt x="45" y="10"/>
                      <a:pt x="69" y="0"/>
                      <a:pt x="96" y="0"/>
                    </a:cubicBezTo>
                    <a:close/>
                  </a:path>
                </a:pathLst>
              </a:custGeom>
              <a:solidFill>
                <a:schemeClr val="tx2"/>
              </a:solidFill>
              <a:ln>
                <a:noFill/>
              </a:ln>
              <a:effectLst/>
            </p:spPr>
            <p:txBody>
              <a:bodyPr wrap="none" anchor="ctr"/>
              <a:lstStyle/>
              <a:p>
                <a:endParaRPr lang="en-US" sz="900">
                  <a:latin typeface="Lato Light" panose="020F0502020204030203" pitchFamily="34" charset="0"/>
                </a:endParaRPr>
              </a:p>
            </p:txBody>
          </p:sp>
        </p:grpSp>
        <p:grpSp>
          <p:nvGrpSpPr>
            <p:cNvPr id="6" name="Group 5">
              <a:extLst>
                <a:ext uri="{FF2B5EF4-FFF2-40B4-BE49-F238E27FC236}">
                  <a16:creationId xmlns:a16="http://schemas.microsoft.com/office/drawing/2014/main" id="{D8585A96-C76F-9336-418D-406CC608D1B8}"/>
                </a:ext>
              </a:extLst>
            </p:cNvPr>
            <p:cNvGrpSpPr/>
            <p:nvPr/>
          </p:nvGrpSpPr>
          <p:grpSpPr>
            <a:xfrm>
              <a:off x="10224460" y="8259099"/>
              <a:ext cx="3969057" cy="4542236"/>
              <a:chOff x="10224460" y="8259099"/>
              <a:chExt cx="3969057" cy="4542236"/>
            </a:xfrm>
          </p:grpSpPr>
          <p:sp>
            <p:nvSpPr>
              <p:cNvPr id="11" name="Freeform 7">
                <a:extLst>
                  <a:ext uri="{FF2B5EF4-FFF2-40B4-BE49-F238E27FC236}">
                    <a16:creationId xmlns:a16="http://schemas.microsoft.com/office/drawing/2014/main" id="{4BBE3E0B-995F-501E-3065-7552B5898D4B}"/>
                  </a:ext>
                </a:extLst>
              </p:cNvPr>
              <p:cNvSpPr>
                <a:spLocks noChangeArrowheads="1"/>
              </p:cNvSpPr>
              <p:nvPr/>
            </p:nvSpPr>
            <p:spPr bwMode="auto">
              <a:xfrm>
                <a:off x="10224460" y="8259099"/>
                <a:ext cx="3969057" cy="4542236"/>
              </a:xfrm>
              <a:custGeom>
                <a:avLst/>
                <a:gdLst>
                  <a:gd name="T0" fmla="*/ 3037 w 6076"/>
                  <a:gd name="T1" fmla="*/ 0 h 6953"/>
                  <a:gd name="T2" fmla="*/ 4994 w 6076"/>
                  <a:gd name="T3" fmla="*/ 1957 h 6953"/>
                  <a:gd name="T4" fmla="*/ 4994 w 6076"/>
                  <a:gd name="T5" fmla="*/ 1957 h 6953"/>
                  <a:gd name="T6" fmla="*/ 4994 w 6076"/>
                  <a:gd name="T7" fmla="*/ 5871 h 6953"/>
                  <a:gd name="T8" fmla="*/ 4994 w 6076"/>
                  <a:gd name="T9" fmla="*/ 5871 h 6953"/>
                  <a:gd name="T10" fmla="*/ 1081 w 6076"/>
                  <a:gd name="T11" fmla="*/ 5871 h 6953"/>
                  <a:gd name="T12" fmla="*/ 1081 w 6076"/>
                  <a:gd name="T13" fmla="*/ 5871 h 6953"/>
                  <a:gd name="T14" fmla="*/ 1081 w 6076"/>
                  <a:gd name="T15" fmla="*/ 1957 h 6953"/>
                  <a:gd name="T16" fmla="*/ 3037 w 6076"/>
                  <a:gd name="T17" fmla="*/ 0 h 6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6" h="6953">
                    <a:moveTo>
                      <a:pt x="3037" y="0"/>
                    </a:moveTo>
                    <a:lnTo>
                      <a:pt x="4994" y="1957"/>
                    </a:lnTo>
                    <a:lnTo>
                      <a:pt x="4994" y="1957"/>
                    </a:lnTo>
                    <a:cubicBezTo>
                      <a:pt x="6075" y="3037"/>
                      <a:pt x="6075" y="4790"/>
                      <a:pt x="4994" y="5871"/>
                    </a:cubicBezTo>
                    <a:lnTo>
                      <a:pt x="4994" y="5871"/>
                    </a:lnTo>
                    <a:cubicBezTo>
                      <a:pt x="3913" y="6952"/>
                      <a:pt x="2162" y="6952"/>
                      <a:pt x="1081" y="5871"/>
                    </a:cubicBezTo>
                    <a:lnTo>
                      <a:pt x="1081" y="5871"/>
                    </a:lnTo>
                    <a:cubicBezTo>
                      <a:pt x="0" y="4790"/>
                      <a:pt x="0" y="3037"/>
                      <a:pt x="1081" y="1957"/>
                    </a:cubicBezTo>
                    <a:lnTo>
                      <a:pt x="3037" y="0"/>
                    </a:lnTo>
                  </a:path>
                </a:pathLst>
              </a:custGeom>
              <a:solidFill>
                <a:schemeClr val="accent3"/>
              </a:solidFill>
              <a:ln>
                <a:noFill/>
              </a:ln>
              <a:effectLst/>
            </p:spPr>
            <p:txBody>
              <a:bodyPr wrap="none" anchor="ctr"/>
              <a:lstStyle/>
              <a:p>
                <a:endParaRPr lang="en-US" sz="3266">
                  <a:latin typeface="Lato Light" panose="020F0502020204030203" pitchFamily="34" charset="0"/>
                </a:endParaRPr>
              </a:p>
            </p:txBody>
          </p:sp>
          <p:sp useBgFill="1">
            <p:nvSpPr>
              <p:cNvPr id="12" name="Freeform 8">
                <a:extLst>
                  <a:ext uri="{FF2B5EF4-FFF2-40B4-BE49-F238E27FC236}">
                    <a16:creationId xmlns:a16="http://schemas.microsoft.com/office/drawing/2014/main" id="{475B6F79-B279-EBED-EA17-B1A592B5414C}"/>
                  </a:ext>
                </a:extLst>
              </p:cNvPr>
              <p:cNvSpPr>
                <a:spLocks noChangeArrowheads="1"/>
              </p:cNvSpPr>
              <p:nvPr/>
            </p:nvSpPr>
            <p:spPr bwMode="auto">
              <a:xfrm>
                <a:off x="10786118" y="9391055"/>
                <a:ext cx="2842859" cy="2845739"/>
              </a:xfrm>
              <a:custGeom>
                <a:avLst/>
                <a:gdLst>
                  <a:gd name="T0" fmla="*/ 774 w 4354"/>
                  <a:gd name="T1" fmla="*/ 775 h 4357"/>
                  <a:gd name="T2" fmla="*/ 774 w 4354"/>
                  <a:gd name="T3" fmla="*/ 775 h 4357"/>
                  <a:gd name="T4" fmla="*/ 774 w 4354"/>
                  <a:gd name="T5" fmla="*/ 3581 h 4357"/>
                  <a:gd name="T6" fmla="*/ 774 w 4354"/>
                  <a:gd name="T7" fmla="*/ 3581 h 4357"/>
                  <a:gd name="T8" fmla="*/ 3579 w 4354"/>
                  <a:gd name="T9" fmla="*/ 3581 h 4357"/>
                  <a:gd name="T10" fmla="*/ 3579 w 4354"/>
                  <a:gd name="T11" fmla="*/ 3581 h 4357"/>
                  <a:gd name="T12" fmla="*/ 3579 w 4354"/>
                  <a:gd name="T13" fmla="*/ 775 h 4357"/>
                  <a:gd name="T14" fmla="*/ 3579 w 4354"/>
                  <a:gd name="T15" fmla="*/ 775 h 4357"/>
                  <a:gd name="T16" fmla="*/ 774 w 4354"/>
                  <a:gd name="T17" fmla="*/ 775 h 4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54" h="4357">
                    <a:moveTo>
                      <a:pt x="774" y="775"/>
                    </a:moveTo>
                    <a:lnTo>
                      <a:pt x="774" y="775"/>
                    </a:lnTo>
                    <a:cubicBezTo>
                      <a:pt x="0" y="1550"/>
                      <a:pt x="0" y="2806"/>
                      <a:pt x="774" y="3581"/>
                    </a:cubicBezTo>
                    <a:lnTo>
                      <a:pt x="774" y="3581"/>
                    </a:lnTo>
                    <a:cubicBezTo>
                      <a:pt x="1549" y="4356"/>
                      <a:pt x="2804" y="4356"/>
                      <a:pt x="3579" y="3581"/>
                    </a:cubicBezTo>
                    <a:lnTo>
                      <a:pt x="3579" y="3581"/>
                    </a:lnTo>
                    <a:cubicBezTo>
                      <a:pt x="4353" y="2806"/>
                      <a:pt x="4353" y="1550"/>
                      <a:pt x="3579" y="775"/>
                    </a:cubicBezTo>
                    <a:lnTo>
                      <a:pt x="3579" y="775"/>
                    </a:lnTo>
                    <a:cubicBezTo>
                      <a:pt x="2804" y="0"/>
                      <a:pt x="1549" y="0"/>
                      <a:pt x="774" y="775"/>
                    </a:cubicBez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latin typeface="Lato Light" panose="020F0502020204030203" pitchFamily="34" charset="0"/>
                </a:endParaRPr>
              </a:p>
            </p:txBody>
          </p:sp>
          <p:sp>
            <p:nvSpPr>
              <p:cNvPr id="13" name="Freeform 100">
                <a:extLst>
                  <a:ext uri="{FF2B5EF4-FFF2-40B4-BE49-F238E27FC236}">
                    <a16:creationId xmlns:a16="http://schemas.microsoft.com/office/drawing/2014/main" id="{10C29D5C-1DA6-7522-B5E3-59B351DB53E3}"/>
                  </a:ext>
                </a:extLst>
              </p:cNvPr>
              <p:cNvSpPr>
                <a:spLocks noChangeArrowheads="1"/>
              </p:cNvSpPr>
              <p:nvPr/>
            </p:nvSpPr>
            <p:spPr bwMode="auto">
              <a:xfrm>
                <a:off x="11816137" y="10133743"/>
                <a:ext cx="786536" cy="1360361"/>
              </a:xfrm>
              <a:custGeom>
                <a:avLst/>
                <a:gdLst>
                  <a:gd name="T0" fmla="*/ 242755 w 504465"/>
                  <a:gd name="T1" fmla="*/ 823901 h 872763"/>
                  <a:gd name="T2" fmla="*/ 239485 w 504465"/>
                  <a:gd name="T3" fmla="*/ 832195 h 872763"/>
                  <a:gd name="T4" fmla="*/ 243054 w 504465"/>
                  <a:gd name="T5" fmla="*/ 840525 h 872763"/>
                  <a:gd name="T6" fmla="*/ 251620 w 504465"/>
                  <a:gd name="T7" fmla="*/ 844148 h 872763"/>
                  <a:gd name="T8" fmla="*/ 260187 w 504465"/>
                  <a:gd name="T9" fmla="*/ 840525 h 872763"/>
                  <a:gd name="T10" fmla="*/ 263755 w 504465"/>
                  <a:gd name="T11" fmla="*/ 832195 h 872763"/>
                  <a:gd name="T12" fmla="*/ 260486 w 504465"/>
                  <a:gd name="T13" fmla="*/ 823901 h 872763"/>
                  <a:gd name="T14" fmla="*/ 172039 w 504465"/>
                  <a:gd name="T15" fmla="*/ 787727 h 872763"/>
                  <a:gd name="T16" fmla="*/ 332430 w 504465"/>
                  <a:gd name="T17" fmla="*/ 787727 h 872763"/>
                  <a:gd name="T18" fmla="*/ 350730 w 504465"/>
                  <a:gd name="T19" fmla="*/ 805813 h 872763"/>
                  <a:gd name="T20" fmla="*/ 332430 w 504465"/>
                  <a:gd name="T21" fmla="*/ 823901 h 872763"/>
                  <a:gd name="T22" fmla="*/ 288580 w 504465"/>
                  <a:gd name="T23" fmla="*/ 823901 h 872763"/>
                  <a:gd name="T24" fmla="*/ 291952 w 504465"/>
                  <a:gd name="T25" fmla="*/ 832195 h 872763"/>
                  <a:gd name="T26" fmla="*/ 280174 w 504465"/>
                  <a:gd name="T27" fmla="*/ 861172 h 872763"/>
                  <a:gd name="T28" fmla="*/ 251620 w 504465"/>
                  <a:gd name="T29" fmla="*/ 873125 h 872763"/>
                  <a:gd name="T30" fmla="*/ 222710 w 504465"/>
                  <a:gd name="T31" fmla="*/ 861172 h 872763"/>
                  <a:gd name="T32" fmla="*/ 211289 w 504465"/>
                  <a:gd name="T33" fmla="*/ 832195 h 872763"/>
                  <a:gd name="T34" fmla="*/ 214558 w 504465"/>
                  <a:gd name="T35" fmla="*/ 823901 h 872763"/>
                  <a:gd name="T36" fmla="*/ 172039 w 504465"/>
                  <a:gd name="T37" fmla="*/ 823901 h 872763"/>
                  <a:gd name="T38" fmla="*/ 154098 w 504465"/>
                  <a:gd name="T39" fmla="*/ 805813 h 872763"/>
                  <a:gd name="T40" fmla="*/ 172039 w 504465"/>
                  <a:gd name="T41" fmla="*/ 787727 h 872763"/>
                  <a:gd name="T42" fmla="*/ 172039 w 504465"/>
                  <a:gd name="T43" fmla="*/ 738494 h 872763"/>
                  <a:gd name="T44" fmla="*/ 332430 w 504465"/>
                  <a:gd name="T45" fmla="*/ 738494 h 872763"/>
                  <a:gd name="T46" fmla="*/ 350730 w 504465"/>
                  <a:gd name="T47" fmla="*/ 756400 h 872763"/>
                  <a:gd name="T48" fmla="*/ 332430 w 504465"/>
                  <a:gd name="T49" fmla="*/ 774663 h 872763"/>
                  <a:gd name="T50" fmla="*/ 172039 w 504465"/>
                  <a:gd name="T51" fmla="*/ 774663 h 872763"/>
                  <a:gd name="T52" fmla="*/ 154098 w 504465"/>
                  <a:gd name="T53" fmla="*/ 756400 h 872763"/>
                  <a:gd name="T54" fmla="*/ 172039 w 504465"/>
                  <a:gd name="T55" fmla="*/ 738494 h 872763"/>
                  <a:gd name="T56" fmla="*/ 172039 w 504465"/>
                  <a:gd name="T57" fmla="*/ 689261 h 872763"/>
                  <a:gd name="T58" fmla="*/ 332430 w 504465"/>
                  <a:gd name="T59" fmla="*/ 689261 h 872763"/>
                  <a:gd name="T60" fmla="*/ 350730 w 504465"/>
                  <a:gd name="T61" fmla="*/ 706993 h 872763"/>
                  <a:gd name="T62" fmla="*/ 332430 w 504465"/>
                  <a:gd name="T63" fmla="*/ 725434 h 872763"/>
                  <a:gd name="T64" fmla="*/ 172039 w 504465"/>
                  <a:gd name="T65" fmla="*/ 725434 h 872763"/>
                  <a:gd name="T66" fmla="*/ 154098 w 504465"/>
                  <a:gd name="T67" fmla="*/ 706993 h 872763"/>
                  <a:gd name="T68" fmla="*/ 172039 w 504465"/>
                  <a:gd name="T69" fmla="*/ 689261 h 872763"/>
                  <a:gd name="T70" fmla="*/ 204523 w 504465"/>
                  <a:gd name="T71" fmla="*/ 331184 h 872763"/>
                  <a:gd name="T72" fmla="*/ 188319 w 504465"/>
                  <a:gd name="T73" fmla="*/ 337304 h 872763"/>
                  <a:gd name="T74" fmla="*/ 188319 w 504465"/>
                  <a:gd name="T75" fmla="*/ 656608 h 872763"/>
                  <a:gd name="T76" fmla="*/ 206682 w 504465"/>
                  <a:gd name="T77" fmla="*/ 656608 h 872763"/>
                  <a:gd name="T78" fmla="*/ 206682 w 504465"/>
                  <a:gd name="T79" fmla="*/ 359983 h 872763"/>
                  <a:gd name="T80" fmla="*/ 248452 w 504465"/>
                  <a:gd name="T81" fmla="*/ 382662 h 872763"/>
                  <a:gd name="T82" fmla="*/ 298143 w 504465"/>
                  <a:gd name="T83" fmla="*/ 361783 h 872763"/>
                  <a:gd name="T84" fmla="*/ 298143 w 504465"/>
                  <a:gd name="T85" fmla="*/ 656608 h 872763"/>
                  <a:gd name="T86" fmla="*/ 316506 w 504465"/>
                  <a:gd name="T87" fmla="*/ 656608 h 872763"/>
                  <a:gd name="T88" fmla="*/ 316506 w 504465"/>
                  <a:gd name="T89" fmla="*/ 337304 h 872763"/>
                  <a:gd name="T90" fmla="*/ 299943 w 504465"/>
                  <a:gd name="T91" fmla="*/ 331905 h 872763"/>
                  <a:gd name="T92" fmla="*/ 250613 w 504465"/>
                  <a:gd name="T93" fmla="*/ 364303 h 872763"/>
                  <a:gd name="T94" fmla="*/ 204523 w 504465"/>
                  <a:gd name="T95" fmla="*/ 331184 h 872763"/>
                  <a:gd name="T96" fmla="*/ 252413 w 504465"/>
                  <a:gd name="T97" fmla="*/ 0 h 872763"/>
                  <a:gd name="T98" fmla="*/ 431010 w 504465"/>
                  <a:gd name="T99" fmla="*/ 73797 h 872763"/>
                  <a:gd name="T100" fmla="*/ 504825 w 504465"/>
                  <a:gd name="T101" fmla="*/ 251987 h 872763"/>
                  <a:gd name="T102" fmla="*/ 474579 w 504465"/>
                  <a:gd name="T103" fmla="*/ 372582 h 872763"/>
                  <a:gd name="T104" fmla="*/ 398243 w 504465"/>
                  <a:gd name="T105" fmla="*/ 457898 h 872763"/>
                  <a:gd name="T106" fmla="*/ 398243 w 504465"/>
                  <a:gd name="T107" fmla="*/ 623130 h 872763"/>
                  <a:gd name="T108" fmla="*/ 383480 w 504465"/>
                  <a:gd name="T109" fmla="*/ 659849 h 872763"/>
                  <a:gd name="T110" fmla="*/ 346752 w 504465"/>
                  <a:gd name="T111" fmla="*/ 674608 h 872763"/>
                  <a:gd name="T112" fmla="*/ 157712 w 504465"/>
                  <a:gd name="T113" fmla="*/ 674608 h 872763"/>
                  <a:gd name="T114" fmla="*/ 121346 w 504465"/>
                  <a:gd name="T115" fmla="*/ 659849 h 872763"/>
                  <a:gd name="T116" fmla="*/ 106222 w 504465"/>
                  <a:gd name="T117" fmla="*/ 623130 h 872763"/>
                  <a:gd name="T118" fmla="*/ 106222 w 504465"/>
                  <a:gd name="T119" fmla="*/ 457898 h 872763"/>
                  <a:gd name="T120" fmla="*/ 30246 w 504465"/>
                  <a:gd name="T121" fmla="*/ 372582 h 872763"/>
                  <a:gd name="T122" fmla="*/ 0 w 504465"/>
                  <a:gd name="T123" fmla="*/ 251987 h 872763"/>
                  <a:gd name="T124" fmla="*/ 73815 w 504465"/>
                  <a:gd name="T125" fmla="*/ 73797 h 872763"/>
                  <a:gd name="T126" fmla="*/ 252413 w 504465"/>
                  <a:gd name="T127" fmla="*/ 0 h 872763"/>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60000 65536"/>
                  <a:gd name="T190" fmla="*/ 0 60000 65536"/>
                  <a:gd name="T191" fmla="*/ 0 60000 65536"/>
                </a:gdLst>
                <a:ahLst/>
                <a:cxnLst>
                  <a:cxn ang="T128">
                    <a:pos x="T0" y="T1"/>
                  </a:cxn>
                  <a:cxn ang="T129">
                    <a:pos x="T2" y="T3"/>
                  </a:cxn>
                  <a:cxn ang="T130">
                    <a:pos x="T4" y="T5"/>
                  </a:cxn>
                  <a:cxn ang="T131">
                    <a:pos x="T6" y="T7"/>
                  </a:cxn>
                  <a:cxn ang="T132">
                    <a:pos x="T8" y="T9"/>
                  </a:cxn>
                  <a:cxn ang="T133">
                    <a:pos x="T10" y="T11"/>
                  </a:cxn>
                  <a:cxn ang="T134">
                    <a:pos x="T12" y="T13"/>
                  </a:cxn>
                  <a:cxn ang="T135">
                    <a:pos x="T14" y="T15"/>
                  </a:cxn>
                  <a:cxn ang="T136">
                    <a:pos x="T16" y="T17"/>
                  </a:cxn>
                  <a:cxn ang="T137">
                    <a:pos x="T18" y="T19"/>
                  </a:cxn>
                  <a:cxn ang="T138">
                    <a:pos x="T20" y="T21"/>
                  </a:cxn>
                  <a:cxn ang="T139">
                    <a:pos x="T22" y="T23"/>
                  </a:cxn>
                  <a:cxn ang="T140">
                    <a:pos x="T24" y="T25"/>
                  </a:cxn>
                  <a:cxn ang="T141">
                    <a:pos x="T26" y="T27"/>
                  </a:cxn>
                  <a:cxn ang="T142">
                    <a:pos x="T28" y="T29"/>
                  </a:cxn>
                  <a:cxn ang="T143">
                    <a:pos x="T30" y="T31"/>
                  </a:cxn>
                  <a:cxn ang="T144">
                    <a:pos x="T32" y="T33"/>
                  </a:cxn>
                  <a:cxn ang="T145">
                    <a:pos x="T34" y="T35"/>
                  </a:cxn>
                  <a:cxn ang="T146">
                    <a:pos x="T36" y="T37"/>
                  </a:cxn>
                  <a:cxn ang="T147">
                    <a:pos x="T38" y="T39"/>
                  </a:cxn>
                  <a:cxn ang="T148">
                    <a:pos x="T40" y="T41"/>
                  </a:cxn>
                  <a:cxn ang="T149">
                    <a:pos x="T42" y="T43"/>
                  </a:cxn>
                  <a:cxn ang="T150">
                    <a:pos x="T44" y="T45"/>
                  </a:cxn>
                  <a:cxn ang="T151">
                    <a:pos x="T46" y="T47"/>
                  </a:cxn>
                  <a:cxn ang="T152">
                    <a:pos x="T48" y="T49"/>
                  </a:cxn>
                  <a:cxn ang="T153">
                    <a:pos x="T50" y="T51"/>
                  </a:cxn>
                  <a:cxn ang="T154">
                    <a:pos x="T52" y="T53"/>
                  </a:cxn>
                  <a:cxn ang="T155">
                    <a:pos x="T54" y="T55"/>
                  </a:cxn>
                  <a:cxn ang="T156">
                    <a:pos x="T56" y="T57"/>
                  </a:cxn>
                  <a:cxn ang="T157">
                    <a:pos x="T58" y="T59"/>
                  </a:cxn>
                  <a:cxn ang="T158">
                    <a:pos x="T60" y="T61"/>
                  </a:cxn>
                  <a:cxn ang="T159">
                    <a:pos x="T62" y="T63"/>
                  </a:cxn>
                  <a:cxn ang="T160">
                    <a:pos x="T64" y="T65"/>
                  </a:cxn>
                  <a:cxn ang="T161">
                    <a:pos x="T66" y="T67"/>
                  </a:cxn>
                  <a:cxn ang="T162">
                    <a:pos x="T68" y="T69"/>
                  </a:cxn>
                  <a:cxn ang="T163">
                    <a:pos x="T70" y="T71"/>
                  </a:cxn>
                  <a:cxn ang="T164">
                    <a:pos x="T72" y="T73"/>
                  </a:cxn>
                  <a:cxn ang="T165">
                    <a:pos x="T74" y="T75"/>
                  </a:cxn>
                  <a:cxn ang="T166">
                    <a:pos x="T76" y="T77"/>
                  </a:cxn>
                  <a:cxn ang="T167">
                    <a:pos x="T78" y="T79"/>
                  </a:cxn>
                  <a:cxn ang="T168">
                    <a:pos x="T80" y="T81"/>
                  </a:cxn>
                  <a:cxn ang="T169">
                    <a:pos x="T82" y="T83"/>
                  </a:cxn>
                  <a:cxn ang="T170">
                    <a:pos x="T84" y="T85"/>
                  </a:cxn>
                  <a:cxn ang="T171">
                    <a:pos x="T86" y="T87"/>
                  </a:cxn>
                  <a:cxn ang="T172">
                    <a:pos x="T88" y="T89"/>
                  </a:cxn>
                  <a:cxn ang="T173">
                    <a:pos x="T90" y="T91"/>
                  </a:cxn>
                  <a:cxn ang="T174">
                    <a:pos x="T92" y="T93"/>
                  </a:cxn>
                  <a:cxn ang="T175">
                    <a:pos x="T94" y="T95"/>
                  </a:cxn>
                  <a:cxn ang="T176">
                    <a:pos x="T96" y="T97"/>
                  </a:cxn>
                  <a:cxn ang="T177">
                    <a:pos x="T98" y="T99"/>
                  </a:cxn>
                  <a:cxn ang="T178">
                    <a:pos x="T100" y="T101"/>
                  </a:cxn>
                  <a:cxn ang="T179">
                    <a:pos x="T102" y="T103"/>
                  </a:cxn>
                  <a:cxn ang="T180">
                    <a:pos x="T104" y="T105"/>
                  </a:cxn>
                  <a:cxn ang="T181">
                    <a:pos x="T106" y="T107"/>
                  </a:cxn>
                  <a:cxn ang="T182">
                    <a:pos x="T108" y="T109"/>
                  </a:cxn>
                  <a:cxn ang="T183">
                    <a:pos x="T110" y="T111"/>
                  </a:cxn>
                  <a:cxn ang="T184">
                    <a:pos x="T112" y="T113"/>
                  </a:cxn>
                  <a:cxn ang="T185">
                    <a:pos x="T114" y="T115"/>
                  </a:cxn>
                  <a:cxn ang="T186">
                    <a:pos x="T116" y="T117"/>
                  </a:cxn>
                  <a:cxn ang="T187">
                    <a:pos x="T118" y="T119"/>
                  </a:cxn>
                  <a:cxn ang="T188">
                    <a:pos x="T120" y="T121"/>
                  </a:cxn>
                  <a:cxn ang="T189">
                    <a:pos x="T122" y="T123"/>
                  </a:cxn>
                  <a:cxn ang="T190">
                    <a:pos x="T124" y="T125"/>
                  </a:cxn>
                  <a:cxn ang="T191">
                    <a:pos x="T126" y="T127"/>
                  </a:cxn>
                </a:cxnLst>
                <a:rect l="0" t="0" r="r" b="b"/>
                <a:pathLst>
                  <a:path w="504465" h="872763">
                    <a:moveTo>
                      <a:pt x="242582" y="823559"/>
                    </a:moveTo>
                    <a:lnTo>
                      <a:pt x="239314" y="831850"/>
                    </a:lnTo>
                    <a:cubicBezTo>
                      <a:pt x="239314" y="835109"/>
                      <a:pt x="240384" y="838367"/>
                      <a:pt x="242881" y="840177"/>
                    </a:cubicBezTo>
                    <a:cubicBezTo>
                      <a:pt x="245021" y="842712"/>
                      <a:pt x="248231" y="843798"/>
                      <a:pt x="251441" y="843798"/>
                    </a:cubicBezTo>
                    <a:cubicBezTo>
                      <a:pt x="254651" y="843798"/>
                      <a:pt x="257861" y="842712"/>
                      <a:pt x="260001" y="840177"/>
                    </a:cubicBezTo>
                    <a:cubicBezTo>
                      <a:pt x="262141" y="838367"/>
                      <a:pt x="263567" y="835109"/>
                      <a:pt x="263567" y="831850"/>
                    </a:cubicBezTo>
                    <a:lnTo>
                      <a:pt x="260300" y="823559"/>
                    </a:lnTo>
                    <a:lnTo>
                      <a:pt x="242582" y="823559"/>
                    </a:lnTo>
                    <a:close/>
                    <a:moveTo>
                      <a:pt x="171916" y="787400"/>
                    </a:moveTo>
                    <a:lnTo>
                      <a:pt x="332193" y="787400"/>
                    </a:lnTo>
                    <a:cubicBezTo>
                      <a:pt x="342233" y="787400"/>
                      <a:pt x="350480" y="795553"/>
                      <a:pt x="350480" y="805479"/>
                    </a:cubicBezTo>
                    <a:cubicBezTo>
                      <a:pt x="350480" y="815405"/>
                      <a:pt x="342233" y="823559"/>
                      <a:pt x="332193" y="823559"/>
                    </a:cubicBezTo>
                    <a:lnTo>
                      <a:pt x="288374" y="823559"/>
                    </a:lnTo>
                    <a:lnTo>
                      <a:pt x="291744" y="831850"/>
                    </a:lnTo>
                    <a:cubicBezTo>
                      <a:pt x="291744" y="843074"/>
                      <a:pt x="287107" y="853574"/>
                      <a:pt x="279974" y="860815"/>
                    </a:cubicBezTo>
                    <a:cubicBezTo>
                      <a:pt x="272484" y="868418"/>
                      <a:pt x="262497" y="872763"/>
                      <a:pt x="251441" y="872763"/>
                    </a:cubicBezTo>
                    <a:cubicBezTo>
                      <a:pt x="240028" y="872763"/>
                      <a:pt x="230041" y="868418"/>
                      <a:pt x="222551" y="860815"/>
                    </a:cubicBezTo>
                    <a:cubicBezTo>
                      <a:pt x="215418" y="853574"/>
                      <a:pt x="211138" y="843074"/>
                      <a:pt x="211138" y="831850"/>
                    </a:cubicBezTo>
                    <a:lnTo>
                      <a:pt x="214405" y="823559"/>
                    </a:lnTo>
                    <a:lnTo>
                      <a:pt x="171916" y="823559"/>
                    </a:lnTo>
                    <a:cubicBezTo>
                      <a:pt x="161876" y="823559"/>
                      <a:pt x="153988" y="815405"/>
                      <a:pt x="153988" y="805479"/>
                    </a:cubicBezTo>
                    <a:cubicBezTo>
                      <a:pt x="153988" y="795553"/>
                      <a:pt x="161876" y="787400"/>
                      <a:pt x="171916" y="787400"/>
                    </a:cubicBezTo>
                    <a:close/>
                    <a:moveTo>
                      <a:pt x="171916" y="738188"/>
                    </a:moveTo>
                    <a:lnTo>
                      <a:pt x="332193" y="738188"/>
                    </a:lnTo>
                    <a:cubicBezTo>
                      <a:pt x="342233" y="738188"/>
                      <a:pt x="350480" y="746063"/>
                      <a:pt x="350480" y="756086"/>
                    </a:cubicBezTo>
                    <a:cubicBezTo>
                      <a:pt x="350480" y="766109"/>
                      <a:pt x="342233" y="774342"/>
                      <a:pt x="332193" y="774342"/>
                    </a:cubicBezTo>
                    <a:lnTo>
                      <a:pt x="171916" y="774342"/>
                    </a:lnTo>
                    <a:cubicBezTo>
                      <a:pt x="161876" y="774342"/>
                      <a:pt x="153988" y="766109"/>
                      <a:pt x="153988" y="756086"/>
                    </a:cubicBezTo>
                    <a:cubicBezTo>
                      <a:pt x="153988" y="746063"/>
                      <a:pt x="161876" y="738188"/>
                      <a:pt x="171916" y="738188"/>
                    </a:cubicBezTo>
                    <a:close/>
                    <a:moveTo>
                      <a:pt x="171916" y="688975"/>
                    </a:moveTo>
                    <a:lnTo>
                      <a:pt x="332193" y="688975"/>
                    </a:lnTo>
                    <a:cubicBezTo>
                      <a:pt x="342233" y="688975"/>
                      <a:pt x="350480" y="697128"/>
                      <a:pt x="350480" y="706700"/>
                    </a:cubicBezTo>
                    <a:cubicBezTo>
                      <a:pt x="350480" y="716626"/>
                      <a:pt x="342233" y="725133"/>
                      <a:pt x="332193" y="725133"/>
                    </a:cubicBezTo>
                    <a:lnTo>
                      <a:pt x="171916" y="725133"/>
                    </a:lnTo>
                    <a:cubicBezTo>
                      <a:pt x="161876" y="725133"/>
                      <a:pt x="153988" y="716626"/>
                      <a:pt x="153988" y="706700"/>
                    </a:cubicBezTo>
                    <a:cubicBezTo>
                      <a:pt x="153988" y="697128"/>
                      <a:pt x="161876" y="688975"/>
                      <a:pt x="171916" y="688975"/>
                    </a:cubicBezTo>
                    <a:close/>
                    <a:moveTo>
                      <a:pt x="204377" y="331047"/>
                    </a:moveTo>
                    <a:lnTo>
                      <a:pt x="188185" y="337164"/>
                    </a:lnTo>
                    <a:lnTo>
                      <a:pt x="188185" y="656336"/>
                    </a:lnTo>
                    <a:lnTo>
                      <a:pt x="206535" y="656336"/>
                    </a:lnTo>
                    <a:lnTo>
                      <a:pt x="206535" y="359834"/>
                    </a:lnTo>
                    <a:cubicBezTo>
                      <a:pt x="219849" y="372428"/>
                      <a:pt x="233522" y="380704"/>
                      <a:pt x="248275" y="382503"/>
                    </a:cubicBezTo>
                    <a:cubicBezTo>
                      <a:pt x="264467" y="384302"/>
                      <a:pt x="280658" y="378185"/>
                      <a:pt x="297930" y="361633"/>
                    </a:cubicBezTo>
                    <a:lnTo>
                      <a:pt x="297930" y="656336"/>
                    </a:lnTo>
                    <a:lnTo>
                      <a:pt x="316280" y="656336"/>
                    </a:lnTo>
                    <a:lnTo>
                      <a:pt x="316280" y="337164"/>
                    </a:lnTo>
                    <a:lnTo>
                      <a:pt x="299729" y="331767"/>
                    </a:lnTo>
                    <a:cubicBezTo>
                      <a:pt x="281018" y="356955"/>
                      <a:pt x="264826" y="365951"/>
                      <a:pt x="250434" y="364152"/>
                    </a:cubicBezTo>
                    <a:cubicBezTo>
                      <a:pt x="235321" y="362352"/>
                      <a:pt x="220209" y="349758"/>
                      <a:pt x="204377" y="331047"/>
                    </a:cubicBezTo>
                    <a:close/>
                    <a:moveTo>
                      <a:pt x="252233" y="0"/>
                    </a:moveTo>
                    <a:cubicBezTo>
                      <a:pt x="321678" y="0"/>
                      <a:pt x="385006" y="28067"/>
                      <a:pt x="430703" y="73766"/>
                    </a:cubicBezTo>
                    <a:cubicBezTo>
                      <a:pt x="476400" y="119105"/>
                      <a:pt x="504465" y="182436"/>
                      <a:pt x="504465" y="251883"/>
                    </a:cubicBezTo>
                    <a:cubicBezTo>
                      <a:pt x="504465" y="295423"/>
                      <a:pt x="493311" y="336444"/>
                      <a:pt x="474241" y="372428"/>
                    </a:cubicBezTo>
                    <a:cubicBezTo>
                      <a:pt x="455530" y="405892"/>
                      <a:pt x="429623" y="435399"/>
                      <a:pt x="397959" y="457708"/>
                    </a:cubicBezTo>
                    <a:lnTo>
                      <a:pt x="397959" y="622872"/>
                    </a:lnTo>
                    <a:cubicBezTo>
                      <a:pt x="397959" y="637265"/>
                      <a:pt x="392202" y="650219"/>
                      <a:pt x="383207" y="659575"/>
                    </a:cubicBezTo>
                    <a:cubicBezTo>
                      <a:pt x="373492" y="668571"/>
                      <a:pt x="360538" y="674328"/>
                      <a:pt x="346505" y="674328"/>
                    </a:cubicBezTo>
                    <a:lnTo>
                      <a:pt x="157600" y="674328"/>
                    </a:lnTo>
                    <a:cubicBezTo>
                      <a:pt x="143567" y="674328"/>
                      <a:pt x="130614" y="668571"/>
                      <a:pt x="121259" y="659575"/>
                    </a:cubicBezTo>
                    <a:cubicBezTo>
                      <a:pt x="112263" y="650219"/>
                      <a:pt x="106146" y="637265"/>
                      <a:pt x="106146" y="622872"/>
                    </a:cubicBezTo>
                    <a:lnTo>
                      <a:pt x="106146" y="457708"/>
                    </a:lnTo>
                    <a:cubicBezTo>
                      <a:pt x="74842" y="435399"/>
                      <a:pt x="48575" y="405892"/>
                      <a:pt x="30224" y="372428"/>
                    </a:cubicBezTo>
                    <a:cubicBezTo>
                      <a:pt x="10794" y="336444"/>
                      <a:pt x="0" y="295423"/>
                      <a:pt x="0" y="251883"/>
                    </a:cubicBezTo>
                    <a:cubicBezTo>
                      <a:pt x="0" y="182436"/>
                      <a:pt x="28425" y="119105"/>
                      <a:pt x="73762" y="73766"/>
                    </a:cubicBezTo>
                    <a:cubicBezTo>
                      <a:pt x="119459" y="28067"/>
                      <a:pt x="182428" y="0"/>
                      <a:pt x="252233" y="0"/>
                    </a:cubicBezTo>
                    <a:close/>
                  </a:path>
                </a:pathLst>
              </a:custGeom>
              <a:solidFill>
                <a:schemeClr val="tx2"/>
              </a:solidFill>
              <a:ln>
                <a:noFill/>
              </a:ln>
              <a:effectLst/>
            </p:spPr>
            <p:txBody>
              <a:bodyPr anchor="ctr"/>
              <a:lstStyle/>
              <a:p>
                <a:endParaRPr lang="en-US" sz="900">
                  <a:latin typeface="Lato Light" panose="020F0502020204030203" pitchFamily="34" charset="0"/>
                </a:endParaRPr>
              </a:p>
            </p:txBody>
          </p:sp>
        </p:grpSp>
        <p:grpSp>
          <p:nvGrpSpPr>
            <p:cNvPr id="7" name="Group 6">
              <a:extLst>
                <a:ext uri="{FF2B5EF4-FFF2-40B4-BE49-F238E27FC236}">
                  <a16:creationId xmlns:a16="http://schemas.microsoft.com/office/drawing/2014/main" id="{916339ED-360A-2C12-1E82-A1123F4AB322}"/>
                </a:ext>
              </a:extLst>
            </p:cNvPr>
            <p:cNvGrpSpPr/>
            <p:nvPr/>
          </p:nvGrpSpPr>
          <p:grpSpPr>
            <a:xfrm>
              <a:off x="12453814" y="5718671"/>
              <a:ext cx="5256551" cy="4594081"/>
              <a:chOff x="12453814" y="5718671"/>
              <a:chExt cx="5256551" cy="4594081"/>
            </a:xfrm>
          </p:grpSpPr>
          <p:sp>
            <p:nvSpPr>
              <p:cNvPr id="8" name="Freeform 1">
                <a:extLst>
                  <a:ext uri="{FF2B5EF4-FFF2-40B4-BE49-F238E27FC236}">
                    <a16:creationId xmlns:a16="http://schemas.microsoft.com/office/drawing/2014/main" id="{E7939F8A-67CA-2AA4-66A5-8BA91FF81473}"/>
                  </a:ext>
                </a:extLst>
              </p:cNvPr>
              <p:cNvSpPr>
                <a:spLocks noChangeArrowheads="1"/>
              </p:cNvSpPr>
              <p:nvPr/>
            </p:nvSpPr>
            <p:spPr bwMode="auto">
              <a:xfrm>
                <a:off x="12453814" y="5718671"/>
                <a:ext cx="5256551" cy="4594081"/>
              </a:xfrm>
              <a:custGeom>
                <a:avLst/>
                <a:gdLst>
                  <a:gd name="T0" fmla="*/ 6796 w 8048"/>
                  <a:gd name="T1" fmla="*/ 1251 h 7033"/>
                  <a:gd name="T2" fmla="*/ 6796 w 8048"/>
                  <a:gd name="T3" fmla="*/ 1251 h 7033"/>
                  <a:gd name="T4" fmla="*/ 2266 w 8048"/>
                  <a:gd name="T5" fmla="*/ 1251 h 7033"/>
                  <a:gd name="T6" fmla="*/ 0 w 8048"/>
                  <a:gd name="T7" fmla="*/ 3515 h 7033"/>
                  <a:gd name="T8" fmla="*/ 2266 w 8048"/>
                  <a:gd name="T9" fmla="*/ 5780 h 7033"/>
                  <a:gd name="T10" fmla="*/ 2266 w 8048"/>
                  <a:gd name="T11" fmla="*/ 5780 h 7033"/>
                  <a:gd name="T12" fmla="*/ 6796 w 8048"/>
                  <a:gd name="T13" fmla="*/ 5780 h 7033"/>
                  <a:gd name="T14" fmla="*/ 6796 w 8048"/>
                  <a:gd name="T15" fmla="*/ 5780 h 7033"/>
                  <a:gd name="T16" fmla="*/ 6796 w 8048"/>
                  <a:gd name="T17" fmla="*/ 1251 h 7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48" h="7033">
                    <a:moveTo>
                      <a:pt x="6796" y="1251"/>
                    </a:moveTo>
                    <a:lnTo>
                      <a:pt x="6796" y="1251"/>
                    </a:lnTo>
                    <a:cubicBezTo>
                      <a:pt x="5545" y="0"/>
                      <a:pt x="3517" y="0"/>
                      <a:pt x="2266" y="1251"/>
                    </a:cubicBezTo>
                    <a:lnTo>
                      <a:pt x="0" y="3515"/>
                    </a:lnTo>
                    <a:lnTo>
                      <a:pt x="2266" y="5780"/>
                    </a:lnTo>
                    <a:lnTo>
                      <a:pt x="2266" y="5780"/>
                    </a:lnTo>
                    <a:cubicBezTo>
                      <a:pt x="3517" y="7032"/>
                      <a:pt x="5545" y="7032"/>
                      <a:pt x="6796" y="5780"/>
                    </a:cubicBezTo>
                    <a:lnTo>
                      <a:pt x="6796" y="5780"/>
                    </a:lnTo>
                    <a:cubicBezTo>
                      <a:pt x="8047" y="4529"/>
                      <a:pt x="8047" y="2502"/>
                      <a:pt x="6796" y="1251"/>
                    </a:cubicBezTo>
                  </a:path>
                </a:pathLst>
              </a:custGeom>
              <a:solidFill>
                <a:schemeClr val="accent2"/>
              </a:solidFill>
              <a:ln>
                <a:noFill/>
              </a:ln>
              <a:effectLst/>
            </p:spPr>
            <p:txBody>
              <a:bodyPr wrap="none" anchor="ctr"/>
              <a:lstStyle/>
              <a:p>
                <a:endParaRPr lang="en-US" sz="3266">
                  <a:latin typeface="Lato Light" panose="020F0502020204030203" pitchFamily="34" charset="0"/>
                </a:endParaRPr>
              </a:p>
            </p:txBody>
          </p:sp>
          <p:sp useBgFill="1">
            <p:nvSpPr>
              <p:cNvPr id="9" name="Freeform 2">
                <a:extLst>
                  <a:ext uri="{FF2B5EF4-FFF2-40B4-BE49-F238E27FC236}">
                    <a16:creationId xmlns:a16="http://schemas.microsoft.com/office/drawing/2014/main" id="{34EF2D5F-C884-73C6-AB0D-4ADA3C9FEA37}"/>
                  </a:ext>
                </a:extLst>
              </p:cNvPr>
              <p:cNvSpPr>
                <a:spLocks noChangeArrowheads="1"/>
              </p:cNvSpPr>
              <p:nvPr/>
            </p:nvSpPr>
            <p:spPr bwMode="auto">
              <a:xfrm>
                <a:off x="13767231" y="6369619"/>
                <a:ext cx="3295066" cy="3292185"/>
              </a:xfrm>
              <a:custGeom>
                <a:avLst/>
                <a:gdLst>
                  <a:gd name="T0" fmla="*/ 897 w 5043"/>
                  <a:gd name="T1" fmla="*/ 896 h 5041"/>
                  <a:gd name="T2" fmla="*/ 897 w 5043"/>
                  <a:gd name="T3" fmla="*/ 896 h 5041"/>
                  <a:gd name="T4" fmla="*/ 4145 w 5043"/>
                  <a:gd name="T5" fmla="*/ 896 h 5041"/>
                  <a:gd name="T6" fmla="*/ 4145 w 5043"/>
                  <a:gd name="T7" fmla="*/ 896 h 5041"/>
                  <a:gd name="T8" fmla="*/ 4145 w 5043"/>
                  <a:gd name="T9" fmla="*/ 4143 h 5041"/>
                  <a:gd name="T10" fmla="*/ 4145 w 5043"/>
                  <a:gd name="T11" fmla="*/ 4143 h 5041"/>
                  <a:gd name="T12" fmla="*/ 897 w 5043"/>
                  <a:gd name="T13" fmla="*/ 4143 h 5041"/>
                  <a:gd name="T14" fmla="*/ 897 w 5043"/>
                  <a:gd name="T15" fmla="*/ 4143 h 5041"/>
                  <a:gd name="T16" fmla="*/ 897 w 5043"/>
                  <a:gd name="T17" fmla="*/ 896 h 5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3" h="5041">
                    <a:moveTo>
                      <a:pt x="897" y="896"/>
                    </a:moveTo>
                    <a:lnTo>
                      <a:pt x="897" y="896"/>
                    </a:lnTo>
                    <a:cubicBezTo>
                      <a:pt x="1794" y="0"/>
                      <a:pt x="3248" y="0"/>
                      <a:pt x="4145" y="896"/>
                    </a:cubicBezTo>
                    <a:lnTo>
                      <a:pt x="4145" y="896"/>
                    </a:lnTo>
                    <a:cubicBezTo>
                      <a:pt x="5042" y="1793"/>
                      <a:pt x="5042" y="3246"/>
                      <a:pt x="4145" y="4143"/>
                    </a:cubicBezTo>
                    <a:lnTo>
                      <a:pt x="4145" y="4143"/>
                    </a:lnTo>
                    <a:cubicBezTo>
                      <a:pt x="3248" y="5040"/>
                      <a:pt x="1794" y="5040"/>
                      <a:pt x="897" y="4143"/>
                    </a:cubicBezTo>
                    <a:lnTo>
                      <a:pt x="897" y="4143"/>
                    </a:lnTo>
                    <a:cubicBezTo>
                      <a:pt x="0" y="3246"/>
                      <a:pt x="0" y="1793"/>
                      <a:pt x="897" y="896"/>
                    </a:cubicBez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latin typeface="Lato Light" panose="020F0502020204030203" pitchFamily="34" charset="0"/>
                </a:endParaRPr>
              </a:p>
            </p:txBody>
          </p:sp>
          <p:sp>
            <p:nvSpPr>
              <p:cNvPr id="10" name="Freeform 101">
                <a:extLst>
                  <a:ext uri="{FF2B5EF4-FFF2-40B4-BE49-F238E27FC236}">
                    <a16:creationId xmlns:a16="http://schemas.microsoft.com/office/drawing/2014/main" id="{7E2F4230-7CF3-D875-7950-F91C67D53A81}"/>
                  </a:ext>
                </a:extLst>
              </p:cNvPr>
              <p:cNvSpPr>
                <a:spLocks noChangeArrowheads="1"/>
              </p:cNvSpPr>
              <p:nvPr/>
            </p:nvSpPr>
            <p:spPr bwMode="auto">
              <a:xfrm>
                <a:off x="14814967" y="7325636"/>
                <a:ext cx="1199593" cy="1380149"/>
              </a:xfrm>
              <a:custGeom>
                <a:avLst/>
                <a:gdLst>
                  <a:gd name="T0" fmla="*/ 43243 w 769578"/>
                  <a:gd name="T1" fmla="*/ 420839 h 885465"/>
                  <a:gd name="T2" fmla="*/ 43243 w 769578"/>
                  <a:gd name="T3" fmla="*/ 451563 h 885465"/>
                  <a:gd name="T4" fmla="*/ 73873 w 769578"/>
                  <a:gd name="T5" fmla="*/ 451563 h 885465"/>
                  <a:gd name="T6" fmla="*/ 73873 w 769578"/>
                  <a:gd name="T7" fmla="*/ 420839 h 885465"/>
                  <a:gd name="T8" fmla="*/ 676571 w 769578"/>
                  <a:gd name="T9" fmla="*/ 121805 h 885465"/>
                  <a:gd name="T10" fmla="*/ 487673 w 769578"/>
                  <a:gd name="T11" fmla="*/ 336584 h 885465"/>
                  <a:gd name="T12" fmla="*/ 676571 w 769578"/>
                  <a:gd name="T13" fmla="*/ 121805 h 885465"/>
                  <a:gd name="T14" fmla="*/ 484068 w 769578"/>
                  <a:gd name="T15" fmla="*/ 12973 h 885465"/>
                  <a:gd name="T16" fmla="*/ 658907 w 769578"/>
                  <a:gd name="T17" fmla="*/ 100903 h 885465"/>
                  <a:gd name="T18" fmla="*/ 751192 w 769578"/>
                  <a:gd name="T19" fmla="*/ 156040 h 885465"/>
                  <a:gd name="T20" fmla="*/ 759844 w 769578"/>
                  <a:gd name="T21" fmla="*/ 167211 h 885465"/>
                  <a:gd name="T22" fmla="*/ 769578 w 769578"/>
                  <a:gd name="T23" fmla="*/ 179824 h 885465"/>
                  <a:gd name="T24" fmla="*/ 540305 w 769578"/>
                  <a:gd name="T25" fmla="*/ 415505 h 885465"/>
                  <a:gd name="T26" fmla="*/ 516512 w 769578"/>
                  <a:gd name="T27" fmla="*/ 417667 h 885465"/>
                  <a:gd name="T28" fmla="*/ 504977 w 769578"/>
                  <a:gd name="T29" fmla="*/ 408658 h 885465"/>
                  <a:gd name="T30" fmla="*/ 447298 w 769578"/>
                  <a:gd name="T31" fmla="*/ 318566 h 885465"/>
                  <a:gd name="T32" fmla="*/ 366177 w 769578"/>
                  <a:gd name="T33" fmla="*/ 157467 h 885465"/>
                  <a:gd name="T34" fmla="*/ 112520 w 769578"/>
                  <a:gd name="T35" fmla="*/ 413565 h 885465"/>
                  <a:gd name="T36" fmla="*/ 112520 w 769578"/>
                  <a:gd name="T37" fmla="*/ 459064 h 885465"/>
                  <a:gd name="T38" fmla="*/ 394997 w 769578"/>
                  <a:gd name="T39" fmla="*/ 741668 h 885465"/>
                  <a:gd name="T40" fmla="*/ 493157 w 769578"/>
                  <a:gd name="T41" fmla="*/ 771316 h 885465"/>
                  <a:gd name="T42" fmla="*/ 525822 w 769578"/>
                  <a:gd name="T43" fmla="*/ 847725 h 885465"/>
                  <a:gd name="T44" fmla="*/ 571140 w 769578"/>
                  <a:gd name="T45" fmla="*/ 865804 h 885465"/>
                  <a:gd name="T46" fmla="*/ 522987 w 769578"/>
                  <a:gd name="T47" fmla="*/ 883883 h 885465"/>
                  <a:gd name="T48" fmla="*/ 507219 w 769578"/>
                  <a:gd name="T49" fmla="*/ 885465 h 885465"/>
                  <a:gd name="T50" fmla="*/ 302416 w 769578"/>
                  <a:gd name="T51" fmla="*/ 885465 h 885465"/>
                  <a:gd name="T52" fmla="*/ 272380 w 769578"/>
                  <a:gd name="T53" fmla="*/ 883883 h 885465"/>
                  <a:gd name="T54" fmla="*/ 272380 w 769578"/>
                  <a:gd name="T55" fmla="*/ 847725 h 885465"/>
                  <a:gd name="T56" fmla="*/ 307329 w 769578"/>
                  <a:gd name="T57" fmla="*/ 807595 h 885465"/>
                  <a:gd name="T58" fmla="*/ 356584 w 769578"/>
                  <a:gd name="T59" fmla="*/ 754706 h 885465"/>
                  <a:gd name="T60" fmla="*/ 81305 w 769578"/>
                  <a:gd name="T61" fmla="*/ 490375 h 885465"/>
                  <a:gd name="T62" fmla="*/ 17297 w 769578"/>
                  <a:gd name="T63" fmla="*/ 477950 h 885465"/>
                  <a:gd name="T64" fmla="*/ 17297 w 769578"/>
                  <a:gd name="T65" fmla="*/ 394814 h 885465"/>
                  <a:gd name="T66" fmla="*/ 81305 w 769578"/>
                  <a:gd name="T67" fmla="*/ 382253 h 885465"/>
                  <a:gd name="T68" fmla="*/ 419822 w 769578"/>
                  <a:gd name="T69" fmla="*/ 52387 h 885465"/>
                  <a:gd name="T70" fmla="*/ 458113 w 769578"/>
                  <a:gd name="T71" fmla="*/ 13334 h 885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9578" h="885465">
                    <a:moveTo>
                      <a:pt x="58738" y="414333"/>
                    </a:moveTo>
                    <a:cubicBezTo>
                      <a:pt x="52251" y="414333"/>
                      <a:pt x="47206" y="416863"/>
                      <a:pt x="43243" y="420839"/>
                    </a:cubicBezTo>
                    <a:cubicBezTo>
                      <a:pt x="38918" y="424815"/>
                      <a:pt x="36396" y="430237"/>
                      <a:pt x="36396" y="436382"/>
                    </a:cubicBezTo>
                    <a:cubicBezTo>
                      <a:pt x="36396" y="442527"/>
                      <a:pt x="38918" y="447949"/>
                      <a:pt x="43243" y="451563"/>
                    </a:cubicBezTo>
                    <a:cubicBezTo>
                      <a:pt x="47206" y="455901"/>
                      <a:pt x="52251" y="458431"/>
                      <a:pt x="58738" y="458431"/>
                    </a:cubicBezTo>
                    <a:cubicBezTo>
                      <a:pt x="64864" y="458431"/>
                      <a:pt x="70269" y="455901"/>
                      <a:pt x="73873" y="451563"/>
                    </a:cubicBezTo>
                    <a:cubicBezTo>
                      <a:pt x="77836" y="447949"/>
                      <a:pt x="80719" y="442527"/>
                      <a:pt x="80719" y="436382"/>
                    </a:cubicBezTo>
                    <a:cubicBezTo>
                      <a:pt x="80719" y="430237"/>
                      <a:pt x="77836" y="424815"/>
                      <a:pt x="73873" y="420839"/>
                    </a:cubicBezTo>
                    <a:cubicBezTo>
                      <a:pt x="70269" y="416863"/>
                      <a:pt x="64864" y="414333"/>
                      <a:pt x="58738" y="414333"/>
                    </a:cubicBezTo>
                    <a:close/>
                    <a:moveTo>
                      <a:pt x="676571" y="121805"/>
                    </a:moveTo>
                    <a:lnTo>
                      <a:pt x="475056" y="323611"/>
                    </a:lnTo>
                    <a:lnTo>
                      <a:pt x="487673" y="336584"/>
                    </a:lnTo>
                    <a:lnTo>
                      <a:pt x="689549" y="134778"/>
                    </a:lnTo>
                    <a:lnTo>
                      <a:pt x="676571" y="121805"/>
                    </a:lnTo>
                    <a:close/>
                    <a:moveTo>
                      <a:pt x="471090" y="0"/>
                    </a:moveTo>
                    <a:lnTo>
                      <a:pt x="484068" y="12973"/>
                    </a:lnTo>
                    <a:lnTo>
                      <a:pt x="574912" y="101624"/>
                    </a:lnTo>
                    <a:cubicBezTo>
                      <a:pt x="602670" y="94417"/>
                      <a:pt x="631509" y="94417"/>
                      <a:pt x="658907" y="100903"/>
                    </a:cubicBezTo>
                    <a:cubicBezTo>
                      <a:pt x="689188" y="107750"/>
                      <a:pt x="717667" y="123246"/>
                      <a:pt x="741820" y="146310"/>
                    </a:cubicBezTo>
                    <a:cubicBezTo>
                      <a:pt x="745064" y="149553"/>
                      <a:pt x="748308" y="152796"/>
                      <a:pt x="751192" y="156040"/>
                    </a:cubicBezTo>
                    <a:cubicBezTo>
                      <a:pt x="754076" y="159283"/>
                      <a:pt x="756600" y="162887"/>
                      <a:pt x="759844" y="166851"/>
                    </a:cubicBezTo>
                    <a:lnTo>
                      <a:pt x="759844" y="167211"/>
                    </a:lnTo>
                    <a:lnTo>
                      <a:pt x="760205" y="167211"/>
                    </a:lnTo>
                    <a:lnTo>
                      <a:pt x="769578" y="179824"/>
                    </a:lnTo>
                    <a:lnTo>
                      <a:pt x="758763" y="190995"/>
                    </a:lnTo>
                    <a:lnTo>
                      <a:pt x="540305" y="415505"/>
                    </a:lnTo>
                    <a:lnTo>
                      <a:pt x="529490" y="426677"/>
                    </a:lnTo>
                    <a:lnTo>
                      <a:pt x="516512" y="417667"/>
                    </a:lnTo>
                    <a:lnTo>
                      <a:pt x="515431" y="416947"/>
                    </a:lnTo>
                    <a:cubicBezTo>
                      <a:pt x="511826" y="414424"/>
                      <a:pt x="508221" y="411541"/>
                      <a:pt x="504977" y="408658"/>
                    </a:cubicBezTo>
                    <a:cubicBezTo>
                      <a:pt x="501372" y="405775"/>
                      <a:pt x="498488" y="402892"/>
                      <a:pt x="494883" y="399649"/>
                    </a:cubicBezTo>
                    <a:cubicBezTo>
                      <a:pt x="471090" y="376585"/>
                      <a:pt x="455229" y="348477"/>
                      <a:pt x="447298" y="318566"/>
                    </a:cubicBezTo>
                    <a:cubicBezTo>
                      <a:pt x="440088" y="290818"/>
                      <a:pt x="439367" y="262348"/>
                      <a:pt x="445856" y="234600"/>
                    </a:cubicBezTo>
                    <a:lnTo>
                      <a:pt x="366177" y="157467"/>
                    </a:lnTo>
                    <a:lnTo>
                      <a:pt x="111516" y="412082"/>
                    </a:lnTo>
                    <a:lnTo>
                      <a:pt x="112520" y="413565"/>
                    </a:lnTo>
                    <a:cubicBezTo>
                      <a:pt x="115493" y="420568"/>
                      <a:pt x="117115" y="428249"/>
                      <a:pt x="117115" y="436382"/>
                    </a:cubicBezTo>
                    <a:cubicBezTo>
                      <a:pt x="117115" y="444334"/>
                      <a:pt x="115493" y="452015"/>
                      <a:pt x="112520" y="459064"/>
                    </a:cubicBezTo>
                    <a:lnTo>
                      <a:pt x="112449" y="459170"/>
                    </a:lnTo>
                    <a:lnTo>
                      <a:pt x="394997" y="741668"/>
                    </a:lnTo>
                    <a:lnTo>
                      <a:pt x="412390" y="738187"/>
                    </a:lnTo>
                    <a:cubicBezTo>
                      <a:pt x="444120" y="738187"/>
                      <a:pt x="472605" y="750790"/>
                      <a:pt x="493157" y="771316"/>
                    </a:cubicBezTo>
                    <a:cubicBezTo>
                      <a:pt x="503433" y="781578"/>
                      <a:pt x="511816" y="793911"/>
                      <a:pt x="517630" y="807595"/>
                    </a:cubicBezTo>
                    <a:lnTo>
                      <a:pt x="525822" y="847725"/>
                    </a:lnTo>
                    <a:lnTo>
                      <a:pt x="552760" y="847725"/>
                    </a:lnTo>
                    <a:cubicBezTo>
                      <a:pt x="563211" y="847725"/>
                      <a:pt x="571140" y="855878"/>
                      <a:pt x="571140" y="865804"/>
                    </a:cubicBezTo>
                    <a:cubicBezTo>
                      <a:pt x="571140" y="876084"/>
                      <a:pt x="563211" y="883883"/>
                      <a:pt x="552760" y="883883"/>
                    </a:cubicBezTo>
                    <a:lnTo>
                      <a:pt x="522987" y="883883"/>
                    </a:lnTo>
                    <a:lnTo>
                      <a:pt x="522723" y="885465"/>
                    </a:lnTo>
                    <a:lnTo>
                      <a:pt x="507219" y="885465"/>
                    </a:lnTo>
                    <a:lnTo>
                      <a:pt x="317921" y="885465"/>
                    </a:lnTo>
                    <a:lnTo>
                      <a:pt x="302416" y="885465"/>
                    </a:lnTo>
                    <a:lnTo>
                      <a:pt x="302158" y="883883"/>
                    </a:lnTo>
                    <a:lnTo>
                      <a:pt x="272380" y="883883"/>
                    </a:lnTo>
                    <a:cubicBezTo>
                      <a:pt x="262289" y="883883"/>
                      <a:pt x="254000" y="876084"/>
                      <a:pt x="254000" y="865804"/>
                    </a:cubicBezTo>
                    <a:cubicBezTo>
                      <a:pt x="254000" y="855878"/>
                      <a:pt x="262289" y="847725"/>
                      <a:pt x="272380" y="847725"/>
                    </a:cubicBezTo>
                    <a:lnTo>
                      <a:pt x="299301" y="847725"/>
                    </a:lnTo>
                    <a:lnTo>
                      <a:pt x="307329" y="807595"/>
                    </a:lnTo>
                    <a:cubicBezTo>
                      <a:pt x="313053" y="793911"/>
                      <a:pt x="321346" y="781578"/>
                      <a:pt x="331622" y="771316"/>
                    </a:cubicBezTo>
                    <a:lnTo>
                      <a:pt x="356584" y="754706"/>
                    </a:lnTo>
                    <a:lnTo>
                      <a:pt x="87827" y="485997"/>
                    </a:lnTo>
                    <a:lnTo>
                      <a:pt x="81305" y="490375"/>
                    </a:lnTo>
                    <a:cubicBezTo>
                      <a:pt x="74323" y="493312"/>
                      <a:pt x="66666" y="494939"/>
                      <a:pt x="58738" y="494939"/>
                    </a:cubicBezTo>
                    <a:cubicBezTo>
                      <a:pt x="42522" y="494939"/>
                      <a:pt x="27747" y="488432"/>
                      <a:pt x="17297" y="477950"/>
                    </a:cubicBezTo>
                    <a:cubicBezTo>
                      <a:pt x="6487" y="467106"/>
                      <a:pt x="0" y="452286"/>
                      <a:pt x="0" y="436382"/>
                    </a:cubicBezTo>
                    <a:cubicBezTo>
                      <a:pt x="0" y="420116"/>
                      <a:pt x="6487" y="405658"/>
                      <a:pt x="17297" y="394814"/>
                    </a:cubicBezTo>
                    <a:cubicBezTo>
                      <a:pt x="27747" y="383970"/>
                      <a:pt x="42522" y="377825"/>
                      <a:pt x="58738" y="377825"/>
                    </a:cubicBezTo>
                    <a:cubicBezTo>
                      <a:pt x="66666" y="377825"/>
                      <a:pt x="74323" y="379361"/>
                      <a:pt x="81305" y="382253"/>
                    </a:cubicBezTo>
                    <a:lnTo>
                      <a:pt x="86423" y="385726"/>
                    </a:lnTo>
                    <a:lnTo>
                      <a:pt x="419822" y="52387"/>
                    </a:lnTo>
                    <a:lnTo>
                      <a:pt x="420030" y="52593"/>
                    </a:lnTo>
                    <a:lnTo>
                      <a:pt x="458113" y="13334"/>
                    </a:lnTo>
                    <a:lnTo>
                      <a:pt x="471090" y="0"/>
                    </a:lnTo>
                    <a:close/>
                  </a:path>
                </a:pathLst>
              </a:custGeom>
              <a:solidFill>
                <a:schemeClr val="tx2"/>
              </a:solidFill>
              <a:ln>
                <a:noFill/>
              </a:ln>
              <a:effectLst/>
            </p:spPr>
            <p:txBody>
              <a:bodyPr anchor="ctr"/>
              <a:lstStyle/>
              <a:p>
                <a:endParaRPr lang="en-US" sz="900">
                  <a:latin typeface="Lato Light" panose="020F0502020204030203" pitchFamily="34" charset="0"/>
                </a:endParaRPr>
              </a:p>
            </p:txBody>
          </p:sp>
        </p:grpSp>
      </p:grpSp>
      <p:sp>
        <p:nvSpPr>
          <p:cNvPr id="28" name="Title 1">
            <a:extLst>
              <a:ext uri="{FF2B5EF4-FFF2-40B4-BE49-F238E27FC236}">
                <a16:creationId xmlns:a16="http://schemas.microsoft.com/office/drawing/2014/main" id="{A204A4C4-21AF-A547-3525-815D192BF285}"/>
              </a:ext>
            </a:extLst>
          </p:cNvPr>
          <p:cNvSpPr>
            <a:spLocks noGrp="1"/>
          </p:cNvSpPr>
          <p:nvPr>
            <p:ph type="title"/>
          </p:nvPr>
        </p:nvSpPr>
        <p:spPr>
          <a:xfrm>
            <a:off x="838200" y="365126"/>
            <a:ext cx="10515600" cy="735762"/>
          </a:xfrm>
        </p:spPr>
        <p:txBody>
          <a:bodyPr>
            <a:normAutofit/>
          </a:bodyPr>
          <a:lstStyle>
            <a:lvl1pPr algn="ctr">
              <a:defRPr sz="3600"/>
            </a:lvl1pPr>
          </a:lstStyle>
          <a:p>
            <a:r>
              <a:rPr lang="en-US"/>
              <a:t>Click to edit Master title style</a:t>
            </a:r>
          </a:p>
        </p:txBody>
      </p:sp>
      <p:sp>
        <p:nvSpPr>
          <p:cNvPr id="29" name="Text Placeholder 2">
            <a:extLst>
              <a:ext uri="{FF2B5EF4-FFF2-40B4-BE49-F238E27FC236}">
                <a16:creationId xmlns:a16="http://schemas.microsoft.com/office/drawing/2014/main" id="{DF4E6B2F-2E05-09E0-B3A1-508C69005138}"/>
              </a:ext>
            </a:extLst>
          </p:cNvPr>
          <p:cNvSpPr>
            <a:spLocks noGrp="1"/>
          </p:cNvSpPr>
          <p:nvPr>
            <p:ph type="body" idx="13"/>
          </p:nvPr>
        </p:nvSpPr>
        <p:spPr>
          <a:xfrm>
            <a:off x="1475740" y="1042383"/>
            <a:ext cx="9240520" cy="338943"/>
          </a:xfrm>
        </p:spPr>
        <p:txBody>
          <a:bodyPr>
            <a:normAutofit/>
          </a:bodyPr>
          <a:lstStyle>
            <a:lvl1pPr marL="0" indent="0" algn="ctr">
              <a:buNone/>
              <a:defRPr sz="20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0" name="Text Placeholder 35">
            <a:extLst>
              <a:ext uri="{FF2B5EF4-FFF2-40B4-BE49-F238E27FC236}">
                <a16:creationId xmlns:a16="http://schemas.microsoft.com/office/drawing/2014/main" id="{828DC182-23C1-AABE-3C56-D7C68AE9DB79}"/>
              </a:ext>
            </a:extLst>
          </p:cNvPr>
          <p:cNvSpPr>
            <a:spLocks noGrp="1"/>
          </p:cNvSpPr>
          <p:nvPr>
            <p:ph type="body" sz="quarter" idx="10" hasCustomPrompt="1"/>
          </p:nvPr>
        </p:nvSpPr>
        <p:spPr>
          <a:xfrm>
            <a:off x="1475740" y="1651405"/>
            <a:ext cx="2109788" cy="495301"/>
          </a:xfrm>
        </p:spPr>
        <p:txBody>
          <a:bodyPr anchor="b">
            <a:noAutofit/>
          </a:bodyPr>
          <a:lstStyle>
            <a:lvl1pPr marL="0" indent="0" algn="r">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1" name="Text Placeholder 2">
            <a:extLst>
              <a:ext uri="{FF2B5EF4-FFF2-40B4-BE49-F238E27FC236}">
                <a16:creationId xmlns:a16="http://schemas.microsoft.com/office/drawing/2014/main" id="{C418F0F4-4688-EC75-F354-956DF80813CE}"/>
              </a:ext>
            </a:extLst>
          </p:cNvPr>
          <p:cNvSpPr>
            <a:spLocks noGrp="1"/>
          </p:cNvSpPr>
          <p:nvPr>
            <p:ph type="body" idx="17" hasCustomPrompt="1"/>
          </p:nvPr>
        </p:nvSpPr>
        <p:spPr>
          <a:xfrm>
            <a:off x="858520" y="2156189"/>
            <a:ext cx="2727008" cy="735762"/>
          </a:xfrm>
        </p:spPr>
        <p:txBody>
          <a:bodyPr>
            <a:normAutofit/>
          </a:bodyPr>
          <a:lstStyle>
            <a:lvl1pPr marL="0" indent="0" algn="r">
              <a:lnSpc>
                <a:spcPct val="100000"/>
              </a:lnSpc>
              <a:buNone/>
              <a:defRPr sz="11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2" name="Text Placeholder 35">
            <a:extLst>
              <a:ext uri="{FF2B5EF4-FFF2-40B4-BE49-F238E27FC236}">
                <a16:creationId xmlns:a16="http://schemas.microsoft.com/office/drawing/2014/main" id="{0FD79282-5E85-5FAA-49AD-CC980D159DBA}"/>
              </a:ext>
            </a:extLst>
          </p:cNvPr>
          <p:cNvSpPr>
            <a:spLocks noGrp="1"/>
          </p:cNvSpPr>
          <p:nvPr>
            <p:ph type="body" sz="quarter" idx="18" hasCustomPrompt="1"/>
          </p:nvPr>
        </p:nvSpPr>
        <p:spPr>
          <a:xfrm>
            <a:off x="1475740" y="5190472"/>
            <a:ext cx="2109788" cy="495301"/>
          </a:xfrm>
        </p:spPr>
        <p:txBody>
          <a:bodyPr anchor="b">
            <a:noAutofit/>
          </a:bodyPr>
          <a:lstStyle>
            <a:lvl1pPr marL="0" indent="0" algn="r">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3" name="Text Placeholder 2">
            <a:extLst>
              <a:ext uri="{FF2B5EF4-FFF2-40B4-BE49-F238E27FC236}">
                <a16:creationId xmlns:a16="http://schemas.microsoft.com/office/drawing/2014/main" id="{20EE17A2-4F19-76E2-DDD8-2E6D6CD7E253}"/>
              </a:ext>
            </a:extLst>
          </p:cNvPr>
          <p:cNvSpPr>
            <a:spLocks noGrp="1"/>
          </p:cNvSpPr>
          <p:nvPr>
            <p:ph type="body" idx="19" hasCustomPrompt="1"/>
          </p:nvPr>
        </p:nvSpPr>
        <p:spPr>
          <a:xfrm>
            <a:off x="858520" y="5695256"/>
            <a:ext cx="2727008" cy="735762"/>
          </a:xfrm>
        </p:spPr>
        <p:txBody>
          <a:bodyPr>
            <a:normAutofit/>
          </a:bodyPr>
          <a:lstStyle>
            <a:lvl1pPr marL="0" indent="0" algn="r">
              <a:lnSpc>
                <a:spcPct val="100000"/>
              </a:lnSpc>
              <a:buNone/>
              <a:defRPr sz="11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4" name="Text Placeholder 35">
            <a:extLst>
              <a:ext uri="{FF2B5EF4-FFF2-40B4-BE49-F238E27FC236}">
                <a16:creationId xmlns:a16="http://schemas.microsoft.com/office/drawing/2014/main" id="{1189C57C-E146-4C15-BD92-F452E2BCA21A}"/>
              </a:ext>
            </a:extLst>
          </p:cNvPr>
          <p:cNvSpPr>
            <a:spLocks noGrp="1"/>
          </p:cNvSpPr>
          <p:nvPr>
            <p:ph type="body" sz="quarter" idx="20" hasCustomPrompt="1"/>
          </p:nvPr>
        </p:nvSpPr>
        <p:spPr>
          <a:xfrm>
            <a:off x="8622675" y="1651405"/>
            <a:ext cx="2109788" cy="495301"/>
          </a:xfrm>
        </p:spPr>
        <p:txBody>
          <a:bodyPr anchor="b">
            <a:noAutofit/>
          </a:bodyPr>
          <a:lstStyle>
            <a:lvl1pPr marL="0" indent="0" algn="l">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5" name="Text Placeholder 2">
            <a:extLst>
              <a:ext uri="{FF2B5EF4-FFF2-40B4-BE49-F238E27FC236}">
                <a16:creationId xmlns:a16="http://schemas.microsoft.com/office/drawing/2014/main" id="{5ECBA8AB-D764-2BEA-8267-0A5373F518E0}"/>
              </a:ext>
            </a:extLst>
          </p:cNvPr>
          <p:cNvSpPr>
            <a:spLocks noGrp="1"/>
          </p:cNvSpPr>
          <p:nvPr>
            <p:ph type="body" idx="21" hasCustomPrompt="1"/>
          </p:nvPr>
        </p:nvSpPr>
        <p:spPr>
          <a:xfrm>
            <a:off x="8622675" y="2156189"/>
            <a:ext cx="2727008" cy="735762"/>
          </a:xfrm>
        </p:spPr>
        <p:txBody>
          <a:bodyPr>
            <a:normAutofit/>
          </a:bodyPr>
          <a:lstStyle>
            <a:lvl1pPr marL="0" indent="0" algn="l">
              <a:lnSpc>
                <a:spcPct val="100000"/>
              </a:lnSpc>
              <a:buNone/>
              <a:defRPr sz="11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6" name="Text Placeholder 35">
            <a:extLst>
              <a:ext uri="{FF2B5EF4-FFF2-40B4-BE49-F238E27FC236}">
                <a16:creationId xmlns:a16="http://schemas.microsoft.com/office/drawing/2014/main" id="{C13AF846-7369-B59B-8C1B-A6AE1A78F64B}"/>
              </a:ext>
            </a:extLst>
          </p:cNvPr>
          <p:cNvSpPr>
            <a:spLocks noGrp="1"/>
          </p:cNvSpPr>
          <p:nvPr>
            <p:ph type="body" sz="quarter" idx="22" hasCustomPrompt="1"/>
          </p:nvPr>
        </p:nvSpPr>
        <p:spPr>
          <a:xfrm>
            <a:off x="8622675" y="5190472"/>
            <a:ext cx="2109788" cy="495301"/>
          </a:xfrm>
        </p:spPr>
        <p:txBody>
          <a:bodyPr anchor="b">
            <a:noAutofit/>
          </a:bodyPr>
          <a:lstStyle>
            <a:lvl1pPr marL="0" indent="0" algn="l">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7" name="Text Placeholder 2">
            <a:extLst>
              <a:ext uri="{FF2B5EF4-FFF2-40B4-BE49-F238E27FC236}">
                <a16:creationId xmlns:a16="http://schemas.microsoft.com/office/drawing/2014/main" id="{22778123-0FF7-63D2-0E8F-F942E23AB69A}"/>
              </a:ext>
            </a:extLst>
          </p:cNvPr>
          <p:cNvSpPr>
            <a:spLocks noGrp="1"/>
          </p:cNvSpPr>
          <p:nvPr>
            <p:ph type="body" idx="23" hasCustomPrompt="1"/>
          </p:nvPr>
        </p:nvSpPr>
        <p:spPr>
          <a:xfrm>
            <a:off x="8622675" y="5695256"/>
            <a:ext cx="2727008" cy="735762"/>
          </a:xfrm>
        </p:spPr>
        <p:txBody>
          <a:bodyPr>
            <a:normAutofit/>
          </a:bodyPr>
          <a:lstStyle>
            <a:lvl1pPr marL="0" indent="0" algn="l">
              <a:lnSpc>
                <a:spcPct val="100000"/>
              </a:lnSpc>
              <a:buNone/>
              <a:defRPr sz="11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8" name="Rectangle 37">
            <a:extLst>
              <a:ext uri="{FF2B5EF4-FFF2-40B4-BE49-F238E27FC236}">
                <a16:creationId xmlns:a16="http://schemas.microsoft.com/office/drawing/2014/main" id="{BDFE19E6-72B4-E0AF-DF0A-D031F3C1F219}"/>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05504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13FD16-66CB-123A-72C8-BA4C230A6854}"/>
              </a:ext>
            </a:extLst>
          </p:cNvPr>
          <p:cNvSpPr/>
          <p:nvPr userDrawn="1"/>
        </p:nvSpPr>
        <p:spPr>
          <a:xfrm>
            <a:off x="1588" y="0"/>
            <a:ext cx="6094413" cy="30697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4" name="Rectangle 3">
            <a:extLst>
              <a:ext uri="{FF2B5EF4-FFF2-40B4-BE49-F238E27FC236}">
                <a16:creationId xmlns:a16="http://schemas.microsoft.com/office/drawing/2014/main" id="{D344E09A-9B1A-60D9-DEED-573731ABA75A}"/>
              </a:ext>
            </a:extLst>
          </p:cNvPr>
          <p:cNvSpPr/>
          <p:nvPr userDrawn="1"/>
        </p:nvSpPr>
        <p:spPr>
          <a:xfrm>
            <a:off x="6096000" y="0"/>
            <a:ext cx="6094413" cy="30697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5" name="Rectangle 4">
            <a:extLst>
              <a:ext uri="{FF2B5EF4-FFF2-40B4-BE49-F238E27FC236}">
                <a16:creationId xmlns:a16="http://schemas.microsoft.com/office/drawing/2014/main" id="{34192086-EE7A-B2F9-4234-786199A02E17}"/>
              </a:ext>
            </a:extLst>
          </p:cNvPr>
          <p:cNvSpPr/>
          <p:nvPr userDrawn="1"/>
        </p:nvSpPr>
        <p:spPr>
          <a:xfrm>
            <a:off x="1588" y="3069772"/>
            <a:ext cx="4064508" cy="37882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6" name="Rectangle 5">
            <a:extLst>
              <a:ext uri="{FF2B5EF4-FFF2-40B4-BE49-F238E27FC236}">
                <a16:creationId xmlns:a16="http://schemas.microsoft.com/office/drawing/2014/main" id="{6C0B8FC3-AEAE-7FCA-B198-74A84A6399A8}"/>
              </a:ext>
            </a:extLst>
          </p:cNvPr>
          <p:cNvSpPr/>
          <p:nvPr userDrawn="1"/>
        </p:nvSpPr>
        <p:spPr>
          <a:xfrm>
            <a:off x="4061397" y="3069772"/>
            <a:ext cx="4064508" cy="37882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7" name="Rectangle 6">
            <a:extLst>
              <a:ext uri="{FF2B5EF4-FFF2-40B4-BE49-F238E27FC236}">
                <a16:creationId xmlns:a16="http://schemas.microsoft.com/office/drawing/2014/main" id="{0CD90F0A-D248-07E4-52D3-374304A13F44}"/>
              </a:ext>
            </a:extLst>
          </p:cNvPr>
          <p:cNvSpPr/>
          <p:nvPr userDrawn="1"/>
        </p:nvSpPr>
        <p:spPr>
          <a:xfrm>
            <a:off x="8121206" y="3069772"/>
            <a:ext cx="4064508" cy="3788229"/>
          </a:xfrm>
          <a:prstGeom prst="rect">
            <a:avLst/>
          </a:prstGeom>
          <a:solidFill>
            <a:srgbClr val="004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8" name="Right Arrow 7">
            <a:extLst>
              <a:ext uri="{FF2B5EF4-FFF2-40B4-BE49-F238E27FC236}">
                <a16:creationId xmlns:a16="http://schemas.microsoft.com/office/drawing/2014/main" id="{80F3B5D9-A10A-5A52-B063-3809BB5AF86C}"/>
              </a:ext>
            </a:extLst>
          </p:cNvPr>
          <p:cNvSpPr/>
          <p:nvPr userDrawn="1"/>
        </p:nvSpPr>
        <p:spPr>
          <a:xfrm>
            <a:off x="6002410" y="1299754"/>
            <a:ext cx="737462" cy="47026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9" name="Left Arrow 8">
            <a:extLst>
              <a:ext uri="{FF2B5EF4-FFF2-40B4-BE49-F238E27FC236}">
                <a16:creationId xmlns:a16="http://schemas.microsoft.com/office/drawing/2014/main" id="{F7797ABE-65AA-F0CA-3E1B-EBF0B0AFC336}"/>
              </a:ext>
            </a:extLst>
          </p:cNvPr>
          <p:cNvSpPr/>
          <p:nvPr userDrawn="1"/>
        </p:nvSpPr>
        <p:spPr>
          <a:xfrm>
            <a:off x="3339370" y="4728754"/>
            <a:ext cx="737462" cy="470263"/>
          </a:xfrm>
          <a:prstGeom prst="leftArrow">
            <a:avLst/>
          </a:prstGeom>
          <a:solidFill>
            <a:srgbClr val="FFC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0" name="Left Arrow 9">
            <a:extLst>
              <a:ext uri="{FF2B5EF4-FFF2-40B4-BE49-F238E27FC236}">
                <a16:creationId xmlns:a16="http://schemas.microsoft.com/office/drawing/2014/main" id="{59FF7B48-9C11-DEF1-F7CA-3058349A7AD9}"/>
              </a:ext>
            </a:extLst>
          </p:cNvPr>
          <p:cNvSpPr/>
          <p:nvPr userDrawn="1"/>
        </p:nvSpPr>
        <p:spPr>
          <a:xfrm>
            <a:off x="7393142" y="4728754"/>
            <a:ext cx="737462" cy="470263"/>
          </a:xfrm>
          <a:prstGeom prst="leftArrow">
            <a:avLst/>
          </a:prstGeom>
          <a:solidFill>
            <a:srgbClr val="004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1" name="Down Arrow 10">
            <a:extLst>
              <a:ext uri="{FF2B5EF4-FFF2-40B4-BE49-F238E27FC236}">
                <a16:creationId xmlns:a16="http://schemas.microsoft.com/office/drawing/2014/main" id="{1E633962-DF51-F21C-0D48-E1C9FA450AFB}"/>
              </a:ext>
            </a:extLst>
          </p:cNvPr>
          <p:cNvSpPr/>
          <p:nvPr userDrawn="1"/>
        </p:nvSpPr>
        <p:spPr>
          <a:xfrm>
            <a:off x="9925050" y="3061305"/>
            <a:ext cx="470916" cy="736092"/>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2" name="Up Arrow 11">
            <a:extLst>
              <a:ext uri="{FF2B5EF4-FFF2-40B4-BE49-F238E27FC236}">
                <a16:creationId xmlns:a16="http://schemas.microsoft.com/office/drawing/2014/main" id="{27093D64-D0B8-0791-0B81-E2706B009F4A}"/>
              </a:ext>
            </a:extLst>
          </p:cNvPr>
          <p:cNvSpPr/>
          <p:nvPr userDrawn="1"/>
        </p:nvSpPr>
        <p:spPr>
          <a:xfrm>
            <a:off x="1800733" y="2333680"/>
            <a:ext cx="470916" cy="736092"/>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3" name="Oval 12">
            <a:extLst>
              <a:ext uri="{FF2B5EF4-FFF2-40B4-BE49-F238E27FC236}">
                <a16:creationId xmlns:a16="http://schemas.microsoft.com/office/drawing/2014/main" id="{FBAB20AD-55F6-D11E-CD37-98F540905D6F}"/>
              </a:ext>
            </a:extLst>
          </p:cNvPr>
          <p:cNvSpPr/>
          <p:nvPr userDrawn="1"/>
        </p:nvSpPr>
        <p:spPr>
          <a:xfrm>
            <a:off x="762000" y="864327"/>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4" name="TextBox 13">
            <a:extLst>
              <a:ext uri="{FF2B5EF4-FFF2-40B4-BE49-F238E27FC236}">
                <a16:creationId xmlns:a16="http://schemas.microsoft.com/office/drawing/2014/main" id="{27C73FF6-5E9B-4137-3485-B774D35EFE94}"/>
              </a:ext>
            </a:extLst>
          </p:cNvPr>
          <p:cNvSpPr txBox="1"/>
          <p:nvPr userDrawn="1"/>
        </p:nvSpPr>
        <p:spPr>
          <a:xfrm>
            <a:off x="905516" y="969370"/>
            <a:ext cx="261610" cy="338554"/>
          </a:xfrm>
          <a:prstGeom prst="rect">
            <a:avLst/>
          </a:prstGeom>
          <a:noFill/>
        </p:spPr>
        <p:txBody>
          <a:bodyPr wrap="none" rtlCol="0" anchor="ctr">
            <a:spAutoFit/>
          </a:bodyPr>
          <a:lstStyle/>
          <a:p>
            <a:pPr algn="ctr"/>
            <a:r>
              <a:rPr lang="en-US" sz="1600" b="1">
                <a:solidFill>
                  <a:schemeClr val="accent1"/>
                </a:solidFill>
                <a:latin typeface="Poppins" pitchFamily="2" charset="77"/>
                <a:cs typeface="Poppins" pitchFamily="2" charset="77"/>
              </a:rPr>
              <a:t>1</a:t>
            </a:r>
          </a:p>
        </p:txBody>
      </p:sp>
      <p:sp>
        <p:nvSpPr>
          <p:cNvPr id="15" name="Oval 14">
            <a:extLst>
              <a:ext uri="{FF2B5EF4-FFF2-40B4-BE49-F238E27FC236}">
                <a16:creationId xmlns:a16="http://schemas.microsoft.com/office/drawing/2014/main" id="{13AE23A5-5FF2-79C5-DA8C-5095F3B12CEE}"/>
              </a:ext>
            </a:extLst>
          </p:cNvPr>
          <p:cNvSpPr/>
          <p:nvPr userDrawn="1"/>
        </p:nvSpPr>
        <p:spPr>
          <a:xfrm>
            <a:off x="6915150" y="864327"/>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16" name="TextBox 15">
            <a:extLst>
              <a:ext uri="{FF2B5EF4-FFF2-40B4-BE49-F238E27FC236}">
                <a16:creationId xmlns:a16="http://schemas.microsoft.com/office/drawing/2014/main" id="{688F3985-203F-4F79-AD49-67694DA1A604}"/>
              </a:ext>
            </a:extLst>
          </p:cNvPr>
          <p:cNvSpPr txBox="1"/>
          <p:nvPr userDrawn="1"/>
        </p:nvSpPr>
        <p:spPr>
          <a:xfrm>
            <a:off x="7038628" y="969370"/>
            <a:ext cx="301686" cy="338554"/>
          </a:xfrm>
          <a:prstGeom prst="rect">
            <a:avLst/>
          </a:prstGeom>
          <a:noFill/>
        </p:spPr>
        <p:txBody>
          <a:bodyPr wrap="none" rtlCol="0" anchor="ctr">
            <a:spAutoFit/>
          </a:bodyPr>
          <a:lstStyle/>
          <a:p>
            <a:pPr algn="ctr"/>
            <a:r>
              <a:rPr lang="en-US" sz="1600" b="1">
                <a:solidFill>
                  <a:schemeClr val="accent2"/>
                </a:solidFill>
                <a:latin typeface="Poppins" pitchFamily="2" charset="77"/>
                <a:cs typeface="Poppins" pitchFamily="2" charset="77"/>
              </a:rPr>
              <a:t>2</a:t>
            </a:r>
          </a:p>
        </p:txBody>
      </p:sp>
      <p:sp>
        <p:nvSpPr>
          <p:cNvPr id="21" name="Oval 20">
            <a:extLst>
              <a:ext uri="{FF2B5EF4-FFF2-40B4-BE49-F238E27FC236}">
                <a16:creationId xmlns:a16="http://schemas.microsoft.com/office/drawing/2014/main" id="{B2576E2B-7E91-02EE-5542-6B3DA1236C9D}"/>
              </a:ext>
            </a:extLst>
          </p:cNvPr>
          <p:cNvSpPr/>
          <p:nvPr userDrawn="1"/>
        </p:nvSpPr>
        <p:spPr>
          <a:xfrm>
            <a:off x="491490" y="4129247"/>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2" name="TextBox 21">
            <a:extLst>
              <a:ext uri="{FF2B5EF4-FFF2-40B4-BE49-F238E27FC236}">
                <a16:creationId xmlns:a16="http://schemas.microsoft.com/office/drawing/2014/main" id="{71019795-3DC2-3AEC-FD1E-3B3B768CA18B}"/>
              </a:ext>
            </a:extLst>
          </p:cNvPr>
          <p:cNvSpPr txBox="1"/>
          <p:nvPr userDrawn="1"/>
        </p:nvSpPr>
        <p:spPr>
          <a:xfrm>
            <a:off x="606952" y="4234290"/>
            <a:ext cx="317716" cy="338554"/>
          </a:xfrm>
          <a:prstGeom prst="rect">
            <a:avLst/>
          </a:prstGeom>
          <a:noFill/>
        </p:spPr>
        <p:txBody>
          <a:bodyPr wrap="none" rtlCol="0" anchor="ctr">
            <a:spAutoFit/>
          </a:bodyPr>
          <a:lstStyle/>
          <a:p>
            <a:pPr algn="ctr"/>
            <a:r>
              <a:rPr lang="en-US" sz="1600" b="1">
                <a:solidFill>
                  <a:schemeClr val="accent3"/>
                </a:solidFill>
                <a:latin typeface="Poppins" pitchFamily="2" charset="77"/>
                <a:cs typeface="Poppins" pitchFamily="2" charset="77"/>
              </a:rPr>
              <a:t>5</a:t>
            </a:r>
          </a:p>
        </p:txBody>
      </p:sp>
      <p:sp>
        <p:nvSpPr>
          <p:cNvPr id="23" name="Oval 22">
            <a:extLst>
              <a:ext uri="{FF2B5EF4-FFF2-40B4-BE49-F238E27FC236}">
                <a16:creationId xmlns:a16="http://schemas.microsoft.com/office/drawing/2014/main" id="{40ED247F-FFA6-733B-479C-628D748C3EA4}"/>
              </a:ext>
            </a:extLst>
          </p:cNvPr>
          <p:cNvSpPr/>
          <p:nvPr userDrawn="1"/>
        </p:nvSpPr>
        <p:spPr>
          <a:xfrm>
            <a:off x="4552188" y="4129247"/>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4" name="TextBox 23">
            <a:extLst>
              <a:ext uri="{FF2B5EF4-FFF2-40B4-BE49-F238E27FC236}">
                <a16:creationId xmlns:a16="http://schemas.microsoft.com/office/drawing/2014/main" id="{8BE18170-20AC-F01B-95E2-E3FC45808537}"/>
              </a:ext>
            </a:extLst>
          </p:cNvPr>
          <p:cNvSpPr txBox="1"/>
          <p:nvPr userDrawn="1"/>
        </p:nvSpPr>
        <p:spPr>
          <a:xfrm>
            <a:off x="4664444" y="4234290"/>
            <a:ext cx="324128" cy="338554"/>
          </a:xfrm>
          <a:prstGeom prst="rect">
            <a:avLst/>
          </a:prstGeom>
          <a:noFill/>
        </p:spPr>
        <p:txBody>
          <a:bodyPr wrap="none" rtlCol="0" anchor="ctr">
            <a:spAutoFit/>
          </a:bodyPr>
          <a:lstStyle/>
          <a:p>
            <a:pPr algn="ctr"/>
            <a:r>
              <a:rPr lang="en-US" sz="1600" b="1">
                <a:solidFill>
                  <a:schemeClr val="accent4"/>
                </a:solidFill>
                <a:latin typeface="Poppins" pitchFamily="2" charset="77"/>
                <a:cs typeface="Poppins" pitchFamily="2" charset="77"/>
              </a:rPr>
              <a:t>4</a:t>
            </a:r>
          </a:p>
        </p:txBody>
      </p:sp>
      <p:sp>
        <p:nvSpPr>
          <p:cNvPr id="25" name="Oval 24">
            <a:extLst>
              <a:ext uri="{FF2B5EF4-FFF2-40B4-BE49-F238E27FC236}">
                <a16:creationId xmlns:a16="http://schemas.microsoft.com/office/drawing/2014/main" id="{C290F2E4-2B5B-64E4-B875-8E0AA8D93495}"/>
              </a:ext>
            </a:extLst>
          </p:cNvPr>
          <p:cNvSpPr/>
          <p:nvPr userDrawn="1"/>
        </p:nvSpPr>
        <p:spPr>
          <a:xfrm>
            <a:off x="8782771" y="4129247"/>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26" name="TextBox 25">
            <a:extLst>
              <a:ext uri="{FF2B5EF4-FFF2-40B4-BE49-F238E27FC236}">
                <a16:creationId xmlns:a16="http://schemas.microsoft.com/office/drawing/2014/main" id="{425F5962-EF13-DDF4-C189-E6323CE232EB}"/>
              </a:ext>
            </a:extLst>
          </p:cNvPr>
          <p:cNvSpPr txBox="1"/>
          <p:nvPr userDrawn="1"/>
        </p:nvSpPr>
        <p:spPr>
          <a:xfrm>
            <a:off x="8903043" y="4234290"/>
            <a:ext cx="308098" cy="338554"/>
          </a:xfrm>
          <a:prstGeom prst="rect">
            <a:avLst/>
          </a:prstGeom>
          <a:noFill/>
        </p:spPr>
        <p:txBody>
          <a:bodyPr wrap="none" rtlCol="0" anchor="ctr">
            <a:spAutoFit/>
          </a:bodyPr>
          <a:lstStyle/>
          <a:p>
            <a:pPr algn="ctr"/>
            <a:r>
              <a:rPr lang="en-US" sz="1600" b="1">
                <a:solidFill>
                  <a:srgbClr val="004161"/>
                </a:solidFill>
                <a:latin typeface="Poppins" pitchFamily="2" charset="77"/>
                <a:cs typeface="Poppins" pitchFamily="2" charset="77"/>
              </a:rPr>
              <a:t>3</a:t>
            </a:r>
          </a:p>
        </p:txBody>
      </p:sp>
      <p:sp>
        <p:nvSpPr>
          <p:cNvPr id="33" name="Text Placeholder 35">
            <a:extLst>
              <a:ext uri="{FF2B5EF4-FFF2-40B4-BE49-F238E27FC236}">
                <a16:creationId xmlns:a16="http://schemas.microsoft.com/office/drawing/2014/main" id="{5704399A-07F5-E0DB-120A-503923300F0A}"/>
              </a:ext>
            </a:extLst>
          </p:cNvPr>
          <p:cNvSpPr>
            <a:spLocks noGrp="1"/>
          </p:cNvSpPr>
          <p:nvPr>
            <p:ph type="body" sz="quarter" idx="10" hasCustomPrompt="1"/>
          </p:nvPr>
        </p:nvSpPr>
        <p:spPr>
          <a:xfrm>
            <a:off x="1475740" y="923620"/>
            <a:ext cx="2109788" cy="495301"/>
          </a:xfrm>
        </p:spPr>
        <p:txBody>
          <a:bodyPr anchor="ctr">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4" name="Text Placeholder 2">
            <a:extLst>
              <a:ext uri="{FF2B5EF4-FFF2-40B4-BE49-F238E27FC236}">
                <a16:creationId xmlns:a16="http://schemas.microsoft.com/office/drawing/2014/main" id="{61CC34A5-817E-7783-34C4-4F884DB0FA77}"/>
              </a:ext>
            </a:extLst>
          </p:cNvPr>
          <p:cNvSpPr>
            <a:spLocks noGrp="1"/>
          </p:cNvSpPr>
          <p:nvPr>
            <p:ph type="body" idx="17" hasCustomPrompt="1"/>
          </p:nvPr>
        </p:nvSpPr>
        <p:spPr>
          <a:xfrm>
            <a:off x="761998" y="1577811"/>
            <a:ext cx="4421261" cy="548640"/>
          </a:xfrm>
        </p:spPr>
        <p:txBody>
          <a:bodyPr>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5" name="Text Placeholder 35">
            <a:extLst>
              <a:ext uri="{FF2B5EF4-FFF2-40B4-BE49-F238E27FC236}">
                <a16:creationId xmlns:a16="http://schemas.microsoft.com/office/drawing/2014/main" id="{CCA394E5-4C46-88BE-09DD-E7E47526FCFB}"/>
              </a:ext>
            </a:extLst>
          </p:cNvPr>
          <p:cNvSpPr>
            <a:spLocks noGrp="1"/>
          </p:cNvSpPr>
          <p:nvPr>
            <p:ph type="body" sz="quarter" idx="18" hasCustomPrompt="1"/>
          </p:nvPr>
        </p:nvSpPr>
        <p:spPr>
          <a:xfrm>
            <a:off x="7639473" y="923620"/>
            <a:ext cx="2109788" cy="495301"/>
          </a:xfrm>
        </p:spPr>
        <p:txBody>
          <a:bodyPr anchor="ctr">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6" name="Text Placeholder 2">
            <a:extLst>
              <a:ext uri="{FF2B5EF4-FFF2-40B4-BE49-F238E27FC236}">
                <a16:creationId xmlns:a16="http://schemas.microsoft.com/office/drawing/2014/main" id="{1A8DD8FC-39F5-7A57-6BA7-BADB53373519}"/>
              </a:ext>
            </a:extLst>
          </p:cNvPr>
          <p:cNvSpPr>
            <a:spLocks noGrp="1"/>
          </p:cNvSpPr>
          <p:nvPr>
            <p:ph type="body" idx="19" hasCustomPrompt="1"/>
          </p:nvPr>
        </p:nvSpPr>
        <p:spPr>
          <a:xfrm>
            <a:off x="6925731" y="1577811"/>
            <a:ext cx="4421261" cy="548640"/>
          </a:xfrm>
        </p:spPr>
        <p:txBody>
          <a:bodyPr>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7" name="Text Placeholder 35">
            <a:extLst>
              <a:ext uri="{FF2B5EF4-FFF2-40B4-BE49-F238E27FC236}">
                <a16:creationId xmlns:a16="http://schemas.microsoft.com/office/drawing/2014/main" id="{877A31E5-29E7-6676-F856-B7F768CD9C2B}"/>
              </a:ext>
            </a:extLst>
          </p:cNvPr>
          <p:cNvSpPr>
            <a:spLocks noGrp="1"/>
          </p:cNvSpPr>
          <p:nvPr>
            <p:ph type="body" sz="quarter" idx="20" hasCustomPrompt="1"/>
          </p:nvPr>
        </p:nvSpPr>
        <p:spPr>
          <a:xfrm>
            <a:off x="9485206" y="4157887"/>
            <a:ext cx="2109788" cy="495301"/>
          </a:xfrm>
        </p:spPr>
        <p:txBody>
          <a:bodyPr anchor="ctr">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8" name="Text Placeholder 2">
            <a:extLst>
              <a:ext uri="{FF2B5EF4-FFF2-40B4-BE49-F238E27FC236}">
                <a16:creationId xmlns:a16="http://schemas.microsoft.com/office/drawing/2014/main" id="{65878B85-0A7F-4E97-E606-F2551E914E23}"/>
              </a:ext>
            </a:extLst>
          </p:cNvPr>
          <p:cNvSpPr>
            <a:spLocks noGrp="1"/>
          </p:cNvSpPr>
          <p:nvPr>
            <p:ph type="body" idx="21" hasCustomPrompt="1"/>
          </p:nvPr>
        </p:nvSpPr>
        <p:spPr>
          <a:xfrm>
            <a:off x="8771465" y="4812078"/>
            <a:ext cx="2823530" cy="1079916"/>
          </a:xfrm>
        </p:spPr>
        <p:txBody>
          <a:bodyPr>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0" name="Text Placeholder 35">
            <a:extLst>
              <a:ext uri="{FF2B5EF4-FFF2-40B4-BE49-F238E27FC236}">
                <a16:creationId xmlns:a16="http://schemas.microsoft.com/office/drawing/2014/main" id="{CF88F604-C4C5-2947-6BBF-3F980A756776}"/>
              </a:ext>
            </a:extLst>
          </p:cNvPr>
          <p:cNvSpPr>
            <a:spLocks noGrp="1"/>
          </p:cNvSpPr>
          <p:nvPr>
            <p:ph type="body" sz="quarter" idx="22" hasCustomPrompt="1"/>
          </p:nvPr>
        </p:nvSpPr>
        <p:spPr>
          <a:xfrm>
            <a:off x="5251873" y="4157887"/>
            <a:ext cx="2109788" cy="495301"/>
          </a:xfrm>
        </p:spPr>
        <p:txBody>
          <a:bodyPr anchor="ctr">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1" name="Text Placeholder 2">
            <a:extLst>
              <a:ext uri="{FF2B5EF4-FFF2-40B4-BE49-F238E27FC236}">
                <a16:creationId xmlns:a16="http://schemas.microsoft.com/office/drawing/2014/main" id="{4CDCF885-5660-15D3-B724-283879B445E2}"/>
              </a:ext>
            </a:extLst>
          </p:cNvPr>
          <p:cNvSpPr>
            <a:spLocks noGrp="1"/>
          </p:cNvSpPr>
          <p:nvPr>
            <p:ph type="body" idx="23" hasCustomPrompt="1"/>
          </p:nvPr>
        </p:nvSpPr>
        <p:spPr>
          <a:xfrm>
            <a:off x="4538132" y="4812078"/>
            <a:ext cx="2823530" cy="1079916"/>
          </a:xfrm>
        </p:spPr>
        <p:txBody>
          <a:bodyPr>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2" name="Text Placeholder 35">
            <a:extLst>
              <a:ext uri="{FF2B5EF4-FFF2-40B4-BE49-F238E27FC236}">
                <a16:creationId xmlns:a16="http://schemas.microsoft.com/office/drawing/2014/main" id="{1B0B9B60-F300-2DEF-AE92-CB742EEA34F9}"/>
              </a:ext>
            </a:extLst>
          </p:cNvPr>
          <p:cNvSpPr>
            <a:spLocks noGrp="1"/>
          </p:cNvSpPr>
          <p:nvPr>
            <p:ph type="body" sz="quarter" idx="24" hasCustomPrompt="1"/>
          </p:nvPr>
        </p:nvSpPr>
        <p:spPr>
          <a:xfrm>
            <a:off x="1196763" y="4157887"/>
            <a:ext cx="2109788" cy="495301"/>
          </a:xfrm>
        </p:spPr>
        <p:txBody>
          <a:bodyPr anchor="ctr">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3" name="Text Placeholder 2">
            <a:extLst>
              <a:ext uri="{FF2B5EF4-FFF2-40B4-BE49-F238E27FC236}">
                <a16:creationId xmlns:a16="http://schemas.microsoft.com/office/drawing/2014/main" id="{94FBBBC6-6CB2-4AF2-8416-FAEAA6A09CEC}"/>
              </a:ext>
            </a:extLst>
          </p:cNvPr>
          <p:cNvSpPr>
            <a:spLocks noGrp="1"/>
          </p:cNvSpPr>
          <p:nvPr>
            <p:ph type="body" idx="25" hasCustomPrompt="1"/>
          </p:nvPr>
        </p:nvSpPr>
        <p:spPr>
          <a:xfrm>
            <a:off x="483022" y="4812078"/>
            <a:ext cx="2823530" cy="1079916"/>
          </a:xfrm>
        </p:spPr>
        <p:txBody>
          <a:bodyPr>
            <a:normAutofit/>
          </a:bodyPr>
          <a:lstStyle>
            <a:lvl1pPr marL="0" indent="0" algn="l">
              <a:lnSpc>
                <a:spcPct val="100000"/>
              </a:lnSpc>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Tree>
    <p:extLst>
      <p:ext uri="{BB962C8B-B14F-4D97-AF65-F5344CB8AC3E}">
        <p14:creationId xmlns:p14="http://schemas.microsoft.com/office/powerpoint/2010/main" val="25103098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_Wifi_Light">
    <p:spTree>
      <p:nvGrpSpPr>
        <p:cNvPr id="1" name=""/>
        <p:cNvGrpSpPr/>
        <p:nvPr/>
      </p:nvGrpSpPr>
      <p:grpSpPr>
        <a:xfrm>
          <a:off x="0" y="0"/>
          <a:ext cx="0" cy="0"/>
          <a:chOff x="0" y="0"/>
          <a:chExt cx="0" cy="0"/>
        </a:xfrm>
      </p:grpSpPr>
      <p:pic>
        <p:nvPicPr>
          <p:cNvPr id="7" name="Picture 6" descr="A picture containing text, vector graphics, projector&#10;&#10;Description automatically generated">
            <a:extLst>
              <a:ext uri="{FF2B5EF4-FFF2-40B4-BE49-F238E27FC236}">
                <a16:creationId xmlns:a16="http://schemas.microsoft.com/office/drawing/2014/main" id="{2435A804-D9C2-2784-7FCB-B1F9DD0F1A69}"/>
              </a:ext>
            </a:extLst>
          </p:cNvPr>
          <p:cNvPicPr>
            <a:picLocks noChangeAspect="1"/>
          </p:cNvPicPr>
          <p:nvPr userDrawn="1"/>
        </p:nvPicPr>
        <p:blipFill>
          <a:blip r:embed="rId2">
            <a:alphaModFix/>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F529F8F1-1C0F-3C22-559A-1803706A726C}"/>
              </a:ext>
            </a:extLst>
          </p:cNvPr>
          <p:cNvSpPr>
            <a:spLocks noGrp="1"/>
          </p:cNvSpPr>
          <p:nvPr>
            <p:ph type="title" hasCustomPrompt="1"/>
          </p:nvPr>
        </p:nvSpPr>
        <p:spPr>
          <a:xfrm>
            <a:off x="5004284" y="4455157"/>
            <a:ext cx="6475414" cy="801577"/>
          </a:xfrm>
        </p:spPr>
        <p:txBody>
          <a:bodyPr anchor="b" anchorCtr="0">
            <a:noAutofit/>
          </a:bodyPr>
          <a:lstStyle>
            <a:lvl1pPr>
              <a:defRPr sz="4400">
                <a:solidFill>
                  <a:srgbClr val="04617B"/>
                </a:solidFill>
              </a:defRPr>
            </a:lvl1pPr>
          </a:lstStyle>
          <a:p>
            <a:r>
              <a:rPr lang="en-US"/>
              <a:t>Title Goes Here</a:t>
            </a:r>
          </a:p>
        </p:txBody>
      </p:sp>
      <p:sp>
        <p:nvSpPr>
          <p:cNvPr id="6" name="Text Placeholder 3">
            <a:extLst>
              <a:ext uri="{FF2B5EF4-FFF2-40B4-BE49-F238E27FC236}">
                <a16:creationId xmlns:a16="http://schemas.microsoft.com/office/drawing/2014/main" id="{448E9B5A-1E10-98D6-8BEB-C0DBA57B1F3B}"/>
              </a:ext>
            </a:extLst>
          </p:cNvPr>
          <p:cNvSpPr>
            <a:spLocks noGrp="1"/>
          </p:cNvSpPr>
          <p:nvPr>
            <p:ph type="body" sz="quarter" idx="15" hasCustomPrompt="1"/>
          </p:nvPr>
        </p:nvSpPr>
        <p:spPr>
          <a:xfrm>
            <a:off x="5004282" y="5347254"/>
            <a:ext cx="6475413" cy="696639"/>
          </a:xfrm>
        </p:spPr>
        <p:txBody>
          <a:bodyPr>
            <a:normAutofit/>
          </a:bodyPr>
          <a:lstStyle>
            <a:lvl1pPr marL="0" indent="0">
              <a:buNone/>
              <a:defRPr sz="2400">
                <a:solidFill>
                  <a:srgbClr val="3EB1C8"/>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Tree>
    <p:extLst>
      <p:ext uri="{BB962C8B-B14F-4D97-AF65-F5344CB8AC3E}">
        <p14:creationId xmlns:p14="http://schemas.microsoft.com/office/powerpoint/2010/main" val="25592092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Chevron 2">
            <a:extLst>
              <a:ext uri="{FF2B5EF4-FFF2-40B4-BE49-F238E27FC236}">
                <a16:creationId xmlns:a16="http://schemas.microsoft.com/office/drawing/2014/main" id="{38EFA89B-49ED-F891-EA1E-CEA1A6CC9291}"/>
              </a:ext>
            </a:extLst>
          </p:cNvPr>
          <p:cNvSpPr/>
          <p:nvPr userDrawn="1"/>
        </p:nvSpPr>
        <p:spPr>
          <a:xfrm>
            <a:off x="852515" y="2209800"/>
            <a:ext cx="2841633" cy="1727198"/>
          </a:xfrm>
          <a:prstGeom prst="chevron">
            <a:avLst>
              <a:gd name="adj" fmla="val 2647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Lato Light" panose="020F0502020204030203" pitchFamily="34" charset="0"/>
            </a:endParaRPr>
          </a:p>
        </p:txBody>
      </p:sp>
      <p:sp>
        <p:nvSpPr>
          <p:cNvPr id="4" name="Chevron 3">
            <a:extLst>
              <a:ext uri="{FF2B5EF4-FFF2-40B4-BE49-F238E27FC236}">
                <a16:creationId xmlns:a16="http://schemas.microsoft.com/office/drawing/2014/main" id="{108D7B4E-F129-0322-8CCD-F2DD2236ABC5}"/>
              </a:ext>
            </a:extLst>
          </p:cNvPr>
          <p:cNvSpPr/>
          <p:nvPr userDrawn="1"/>
        </p:nvSpPr>
        <p:spPr>
          <a:xfrm>
            <a:off x="3409966" y="2209800"/>
            <a:ext cx="2841633" cy="1727198"/>
          </a:xfrm>
          <a:prstGeom prst="chevron">
            <a:avLst>
              <a:gd name="adj" fmla="val 2647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Lato Light" panose="020F0502020204030203" pitchFamily="34" charset="0"/>
            </a:endParaRPr>
          </a:p>
        </p:txBody>
      </p:sp>
      <p:sp>
        <p:nvSpPr>
          <p:cNvPr id="5" name="Chevron 4">
            <a:extLst>
              <a:ext uri="{FF2B5EF4-FFF2-40B4-BE49-F238E27FC236}">
                <a16:creationId xmlns:a16="http://schemas.microsoft.com/office/drawing/2014/main" id="{57783D88-D10A-423F-94F8-D40B08D185B1}"/>
              </a:ext>
            </a:extLst>
          </p:cNvPr>
          <p:cNvSpPr/>
          <p:nvPr userDrawn="1"/>
        </p:nvSpPr>
        <p:spPr>
          <a:xfrm>
            <a:off x="5967417" y="2209800"/>
            <a:ext cx="2841633" cy="1727198"/>
          </a:xfrm>
          <a:prstGeom prst="chevron">
            <a:avLst>
              <a:gd name="adj" fmla="val 2647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Lato Light" panose="020F0502020204030203" pitchFamily="34" charset="0"/>
            </a:endParaRPr>
          </a:p>
        </p:txBody>
      </p:sp>
      <p:sp>
        <p:nvSpPr>
          <p:cNvPr id="6" name="Chevron 5">
            <a:extLst>
              <a:ext uri="{FF2B5EF4-FFF2-40B4-BE49-F238E27FC236}">
                <a16:creationId xmlns:a16="http://schemas.microsoft.com/office/drawing/2014/main" id="{248B12A5-C262-93BC-4308-05326A401D04}"/>
              </a:ext>
            </a:extLst>
          </p:cNvPr>
          <p:cNvSpPr/>
          <p:nvPr userDrawn="1"/>
        </p:nvSpPr>
        <p:spPr>
          <a:xfrm>
            <a:off x="8524868" y="2209800"/>
            <a:ext cx="2841633" cy="1727198"/>
          </a:xfrm>
          <a:prstGeom prst="chevron">
            <a:avLst>
              <a:gd name="adj" fmla="val 2647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Lato Light" panose="020F0502020204030203" pitchFamily="34" charset="0"/>
            </a:endParaRPr>
          </a:p>
        </p:txBody>
      </p:sp>
      <p:sp>
        <p:nvSpPr>
          <p:cNvPr id="19" name="Title 1">
            <a:extLst>
              <a:ext uri="{FF2B5EF4-FFF2-40B4-BE49-F238E27FC236}">
                <a16:creationId xmlns:a16="http://schemas.microsoft.com/office/drawing/2014/main" id="{33F45ECD-F38E-534D-BCF2-429EBBA947E8}"/>
              </a:ext>
            </a:extLst>
          </p:cNvPr>
          <p:cNvSpPr>
            <a:spLocks noGrp="1"/>
          </p:cNvSpPr>
          <p:nvPr>
            <p:ph type="title"/>
          </p:nvPr>
        </p:nvSpPr>
        <p:spPr>
          <a:xfrm>
            <a:off x="838200" y="365126"/>
            <a:ext cx="10515600" cy="735762"/>
          </a:xfrm>
        </p:spPr>
        <p:txBody>
          <a:bodyPr>
            <a:normAutofit/>
          </a:bodyPr>
          <a:lstStyle>
            <a:lvl1pPr algn="ctr">
              <a:defRPr sz="3600"/>
            </a:lvl1pPr>
          </a:lstStyle>
          <a:p>
            <a:r>
              <a:rPr lang="en-US"/>
              <a:t>Click to edit Master title style</a:t>
            </a:r>
          </a:p>
        </p:txBody>
      </p:sp>
      <p:sp>
        <p:nvSpPr>
          <p:cNvPr id="20" name="Text Placeholder 2">
            <a:extLst>
              <a:ext uri="{FF2B5EF4-FFF2-40B4-BE49-F238E27FC236}">
                <a16:creationId xmlns:a16="http://schemas.microsoft.com/office/drawing/2014/main" id="{24793090-75BD-B6E1-FDC3-DDF4F21286F5}"/>
              </a:ext>
            </a:extLst>
          </p:cNvPr>
          <p:cNvSpPr>
            <a:spLocks noGrp="1"/>
          </p:cNvSpPr>
          <p:nvPr>
            <p:ph type="body" idx="13"/>
          </p:nvPr>
        </p:nvSpPr>
        <p:spPr>
          <a:xfrm>
            <a:off x="1475740" y="1042383"/>
            <a:ext cx="9240520" cy="338943"/>
          </a:xfrm>
        </p:spPr>
        <p:txBody>
          <a:bodyPr>
            <a:normAutofit/>
          </a:bodyPr>
          <a:lstStyle>
            <a:lvl1pPr marL="0" indent="0" algn="ctr">
              <a:buNone/>
              <a:defRPr sz="20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1" name="Text Placeholder 35">
            <a:extLst>
              <a:ext uri="{FF2B5EF4-FFF2-40B4-BE49-F238E27FC236}">
                <a16:creationId xmlns:a16="http://schemas.microsoft.com/office/drawing/2014/main" id="{A9EE5B75-2F75-DF0E-6972-81E156EFC67F}"/>
              </a:ext>
            </a:extLst>
          </p:cNvPr>
          <p:cNvSpPr>
            <a:spLocks noGrp="1"/>
          </p:cNvSpPr>
          <p:nvPr>
            <p:ph type="body" sz="quarter" idx="10" hasCustomPrompt="1"/>
          </p:nvPr>
        </p:nvSpPr>
        <p:spPr>
          <a:xfrm>
            <a:off x="1264639" y="2500370"/>
            <a:ext cx="2109788" cy="495301"/>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22" name="Text Placeholder 35">
            <a:extLst>
              <a:ext uri="{FF2B5EF4-FFF2-40B4-BE49-F238E27FC236}">
                <a16:creationId xmlns:a16="http://schemas.microsoft.com/office/drawing/2014/main" id="{2E9CA447-523B-8CCE-4F72-4B0EE01BF998}"/>
              </a:ext>
            </a:extLst>
          </p:cNvPr>
          <p:cNvSpPr>
            <a:spLocks noGrp="1"/>
          </p:cNvSpPr>
          <p:nvPr>
            <p:ph type="body" sz="quarter" idx="14" hasCustomPrompt="1"/>
          </p:nvPr>
        </p:nvSpPr>
        <p:spPr>
          <a:xfrm>
            <a:off x="3849042" y="2500370"/>
            <a:ext cx="2109788" cy="495301"/>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23" name="Text Placeholder 35">
            <a:extLst>
              <a:ext uri="{FF2B5EF4-FFF2-40B4-BE49-F238E27FC236}">
                <a16:creationId xmlns:a16="http://schemas.microsoft.com/office/drawing/2014/main" id="{2605861F-E3BF-FB78-8E04-6CD8D69DB6A9}"/>
              </a:ext>
            </a:extLst>
          </p:cNvPr>
          <p:cNvSpPr>
            <a:spLocks noGrp="1"/>
          </p:cNvSpPr>
          <p:nvPr>
            <p:ph type="body" sz="quarter" idx="15" hasCustomPrompt="1"/>
          </p:nvPr>
        </p:nvSpPr>
        <p:spPr>
          <a:xfrm>
            <a:off x="6406493" y="2500370"/>
            <a:ext cx="2109788" cy="495301"/>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24" name="Text Placeholder 35">
            <a:extLst>
              <a:ext uri="{FF2B5EF4-FFF2-40B4-BE49-F238E27FC236}">
                <a16:creationId xmlns:a16="http://schemas.microsoft.com/office/drawing/2014/main" id="{86BCB687-ECDD-A7AB-B16D-3C836F2DA8D7}"/>
              </a:ext>
            </a:extLst>
          </p:cNvPr>
          <p:cNvSpPr>
            <a:spLocks noGrp="1"/>
          </p:cNvSpPr>
          <p:nvPr>
            <p:ph type="body" sz="quarter" idx="16" hasCustomPrompt="1"/>
          </p:nvPr>
        </p:nvSpPr>
        <p:spPr>
          <a:xfrm>
            <a:off x="8972531" y="2500370"/>
            <a:ext cx="2109788" cy="495301"/>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25" name="Text Placeholder 35">
            <a:extLst>
              <a:ext uri="{FF2B5EF4-FFF2-40B4-BE49-F238E27FC236}">
                <a16:creationId xmlns:a16="http://schemas.microsoft.com/office/drawing/2014/main" id="{BE30BEE9-89F8-785B-7651-3424A9842740}"/>
              </a:ext>
            </a:extLst>
          </p:cNvPr>
          <p:cNvSpPr>
            <a:spLocks noGrp="1"/>
          </p:cNvSpPr>
          <p:nvPr>
            <p:ph type="body" sz="quarter" idx="17" hasCustomPrompt="1"/>
          </p:nvPr>
        </p:nvSpPr>
        <p:spPr>
          <a:xfrm>
            <a:off x="1264639" y="2991437"/>
            <a:ext cx="2109788" cy="495301"/>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SUBTITLE</a:t>
            </a:r>
          </a:p>
        </p:txBody>
      </p:sp>
      <p:sp>
        <p:nvSpPr>
          <p:cNvPr id="26" name="Text Placeholder 35">
            <a:extLst>
              <a:ext uri="{FF2B5EF4-FFF2-40B4-BE49-F238E27FC236}">
                <a16:creationId xmlns:a16="http://schemas.microsoft.com/office/drawing/2014/main" id="{22572E41-9F21-5817-D20D-ED4DD8D08EE5}"/>
              </a:ext>
            </a:extLst>
          </p:cNvPr>
          <p:cNvSpPr>
            <a:spLocks noGrp="1"/>
          </p:cNvSpPr>
          <p:nvPr>
            <p:ph type="body" sz="quarter" idx="18" hasCustomPrompt="1"/>
          </p:nvPr>
        </p:nvSpPr>
        <p:spPr>
          <a:xfrm>
            <a:off x="3849042" y="2991437"/>
            <a:ext cx="2109788" cy="495301"/>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SUBTITLE</a:t>
            </a:r>
          </a:p>
        </p:txBody>
      </p:sp>
      <p:sp>
        <p:nvSpPr>
          <p:cNvPr id="27" name="Text Placeholder 35">
            <a:extLst>
              <a:ext uri="{FF2B5EF4-FFF2-40B4-BE49-F238E27FC236}">
                <a16:creationId xmlns:a16="http://schemas.microsoft.com/office/drawing/2014/main" id="{4AD4DB22-8871-87E8-7EC3-77AF172D8DAA}"/>
              </a:ext>
            </a:extLst>
          </p:cNvPr>
          <p:cNvSpPr>
            <a:spLocks noGrp="1"/>
          </p:cNvSpPr>
          <p:nvPr>
            <p:ph type="body" sz="quarter" idx="19" hasCustomPrompt="1"/>
          </p:nvPr>
        </p:nvSpPr>
        <p:spPr>
          <a:xfrm>
            <a:off x="6406493" y="2991437"/>
            <a:ext cx="2109788" cy="495301"/>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SUBTITLE</a:t>
            </a:r>
          </a:p>
        </p:txBody>
      </p:sp>
      <p:sp>
        <p:nvSpPr>
          <p:cNvPr id="28" name="Text Placeholder 35">
            <a:extLst>
              <a:ext uri="{FF2B5EF4-FFF2-40B4-BE49-F238E27FC236}">
                <a16:creationId xmlns:a16="http://schemas.microsoft.com/office/drawing/2014/main" id="{6EC3D5E4-79C1-FB9B-8A57-666517CEAB1C}"/>
              </a:ext>
            </a:extLst>
          </p:cNvPr>
          <p:cNvSpPr>
            <a:spLocks noGrp="1"/>
          </p:cNvSpPr>
          <p:nvPr>
            <p:ph type="body" sz="quarter" idx="20" hasCustomPrompt="1"/>
          </p:nvPr>
        </p:nvSpPr>
        <p:spPr>
          <a:xfrm>
            <a:off x="8972531" y="2991437"/>
            <a:ext cx="2109788" cy="495301"/>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SUBTITLE</a:t>
            </a:r>
          </a:p>
        </p:txBody>
      </p:sp>
      <p:sp>
        <p:nvSpPr>
          <p:cNvPr id="29" name="Text Placeholder 2">
            <a:extLst>
              <a:ext uri="{FF2B5EF4-FFF2-40B4-BE49-F238E27FC236}">
                <a16:creationId xmlns:a16="http://schemas.microsoft.com/office/drawing/2014/main" id="{BACF52CD-8D5A-2A39-CC15-4E2EF3A1FC5E}"/>
              </a:ext>
            </a:extLst>
          </p:cNvPr>
          <p:cNvSpPr>
            <a:spLocks noGrp="1"/>
          </p:cNvSpPr>
          <p:nvPr>
            <p:ph type="body" idx="21"/>
          </p:nvPr>
        </p:nvSpPr>
        <p:spPr>
          <a:xfrm>
            <a:off x="1066799" y="4144923"/>
            <a:ext cx="2097377" cy="566283"/>
          </a:xfrm>
        </p:spPr>
        <p:txBody>
          <a:bodyPr>
            <a:normAutofit/>
          </a:bodyPr>
          <a:lstStyle>
            <a:lvl1pPr marL="285750" indent="-285750" algn="l">
              <a:buFont typeface="Wingdings" pitchFamily="2" charset="2"/>
              <a:buChar char="§"/>
              <a:defRPr sz="10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0" name="Text Placeholder 2">
            <a:extLst>
              <a:ext uri="{FF2B5EF4-FFF2-40B4-BE49-F238E27FC236}">
                <a16:creationId xmlns:a16="http://schemas.microsoft.com/office/drawing/2014/main" id="{979F11EB-9858-1357-DC3E-628BA84C1124}"/>
              </a:ext>
            </a:extLst>
          </p:cNvPr>
          <p:cNvSpPr>
            <a:spLocks noGrp="1"/>
          </p:cNvSpPr>
          <p:nvPr>
            <p:ph type="body" idx="22"/>
          </p:nvPr>
        </p:nvSpPr>
        <p:spPr>
          <a:xfrm>
            <a:off x="3682999" y="4144923"/>
            <a:ext cx="2097377" cy="566283"/>
          </a:xfrm>
        </p:spPr>
        <p:txBody>
          <a:bodyPr>
            <a:normAutofit/>
          </a:bodyPr>
          <a:lstStyle>
            <a:lvl1pPr marL="285750" indent="-285750" algn="l">
              <a:buFont typeface="Wingdings" pitchFamily="2" charset="2"/>
              <a:buChar char="§"/>
              <a:defRPr sz="10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1" name="Text Placeholder 2">
            <a:extLst>
              <a:ext uri="{FF2B5EF4-FFF2-40B4-BE49-F238E27FC236}">
                <a16:creationId xmlns:a16="http://schemas.microsoft.com/office/drawing/2014/main" id="{3DA4B392-A091-896C-D0E6-3E2948FC8715}"/>
              </a:ext>
            </a:extLst>
          </p:cNvPr>
          <p:cNvSpPr>
            <a:spLocks noGrp="1"/>
          </p:cNvSpPr>
          <p:nvPr>
            <p:ph type="body" idx="23"/>
          </p:nvPr>
        </p:nvSpPr>
        <p:spPr>
          <a:xfrm>
            <a:off x="6239933" y="4144923"/>
            <a:ext cx="2097377" cy="566283"/>
          </a:xfrm>
        </p:spPr>
        <p:txBody>
          <a:bodyPr>
            <a:normAutofit/>
          </a:bodyPr>
          <a:lstStyle>
            <a:lvl1pPr marL="285750" indent="-285750" algn="l">
              <a:buFont typeface="Wingdings" pitchFamily="2" charset="2"/>
              <a:buChar char="§"/>
              <a:defRPr sz="10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2" name="Text Placeholder 2">
            <a:extLst>
              <a:ext uri="{FF2B5EF4-FFF2-40B4-BE49-F238E27FC236}">
                <a16:creationId xmlns:a16="http://schemas.microsoft.com/office/drawing/2014/main" id="{748FB966-491F-6BC7-F710-C91B445101DC}"/>
              </a:ext>
            </a:extLst>
          </p:cNvPr>
          <p:cNvSpPr>
            <a:spLocks noGrp="1"/>
          </p:cNvSpPr>
          <p:nvPr>
            <p:ph type="body" idx="24"/>
          </p:nvPr>
        </p:nvSpPr>
        <p:spPr>
          <a:xfrm>
            <a:off x="8822266" y="4144923"/>
            <a:ext cx="2097377" cy="566283"/>
          </a:xfrm>
        </p:spPr>
        <p:txBody>
          <a:bodyPr>
            <a:normAutofit/>
          </a:bodyPr>
          <a:lstStyle>
            <a:lvl1pPr marL="285750" indent="-285750" algn="l">
              <a:buFont typeface="Wingdings" pitchFamily="2" charset="2"/>
              <a:buChar char="§"/>
              <a:defRPr sz="10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3" name="Rectangle 32">
            <a:extLst>
              <a:ext uri="{FF2B5EF4-FFF2-40B4-BE49-F238E27FC236}">
                <a16:creationId xmlns:a16="http://schemas.microsoft.com/office/drawing/2014/main" id="{955D1AE5-BB6E-C834-B33B-B36EE4466E45}"/>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588516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33F45ECD-F38E-534D-BCF2-429EBBA947E8}"/>
              </a:ext>
            </a:extLst>
          </p:cNvPr>
          <p:cNvSpPr>
            <a:spLocks noGrp="1"/>
          </p:cNvSpPr>
          <p:nvPr>
            <p:ph type="title"/>
          </p:nvPr>
        </p:nvSpPr>
        <p:spPr>
          <a:xfrm>
            <a:off x="838200" y="365126"/>
            <a:ext cx="10515600" cy="735762"/>
          </a:xfrm>
        </p:spPr>
        <p:txBody>
          <a:bodyPr>
            <a:normAutofit/>
          </a:bodyPr>
          <a:lstStyle>
            <a:lvl1pPr algn="l">
              <a:defRPr sz="3600"/>
            </a:lvl1pPr>
          </a:lstStyle>
          <a:p>
            <a:r>
              <a:rPr lang="en-US"/>
              <a:t>Click to edit Master title style</a:t>
            </a:r>
          </a:p>
        </p:txBody>
      </p:sp>
      <p:sp>
        <p:nvSpPr>
          <p:cNvPr id="20" name="Text Placeholder 2">
            <a:extLst>
              <a:ext uri="{FF2B5EF4-FFF2-40B4-BE49-F238E27FC236}">
                <a16:creationId xmlns:a16="http://schemas.microsoft.com/office/drawing/2014/main" id="{24793090-75BD-B6E1-FDC3-DDF4F21286F5}"/>
              </a:ext>
            </a:extLst>
          </p:cNvPr>
          <p:cNvSpPr>
            <a:spLocks noGrp="1"/>
          </p:cNvSpPr>
          <p:nvPr>
            <p:ph type="body" idx="13"/>
          </p:nvPr>
        </p:nvSpPr>
        <p:spPr>
          <a:xfrm>
            <a:off x="838199" y="1042383"/>
            <a:ext cx="10515599" cy="338943"/>
          </a:xfrm>
        </p:spPr>
        <p:txBody>
          <a:bodyPr>
            <a:normAutofit/>
          </a:bodyPr>
          <a:lstStyle>
            <a:lvl1pPr marL="0" indent="0" algn="l">
              <a:buNone/>
              <a:defRPr sz="20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3" name="Rectangle 32">
            <a:extLst>
              <a:ext uri="{FF2B5EF4-FFF2-40B4-BE49-F238E27FC236}">
                <a16:creationId xmlns:a16="http://schemas.microsoft.com/office/drawing/2014/main" id="{955D1AE5-BB6E-C834-B33B-B36EE4466E45}"/>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7">
            <a:extLst>
              <a:ext uri="{FF2B5EF4-FFF2-40B4-BE49-F238E27FC236}">
                <a16:creationId xmlns:a16="http://schemas.microsoft.com/office/drawing/2014/main" id="{3BA22E19-C2F9-0147-265A-48B325F569D8}"/>
              </a:ext>
            </a:extLst>
          </p:cNvPr>
          <p:cNvSpPr txBox="1">
            <a:spLocks/>
          </p:cNvSpPr>
          <p:nvPr userDrawn="1"/>
        </p:nvSpPr>
        <p:spPr>
          <a:xfrm>
            <a:off x="676505" y="1600992"/>
            <a:ext cx="1800000" cy="1005840"/>
          </a:xfrm>
          <a:prstGeom prst="rect">
            <a:avLst/>
          </a:prstGeom>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defPPr>
              <a:defRPr lang="en-US"/>
            </a:defPPr>
            <a:lvl1pPr indent="0" algn="ctr" defTabSz="944842">
              <a:lnSpc>
                <a:spcPct val="90000"/>
              </a:lnSpc>
              <a:spcBef>
                <a:spcPts val="0"/>
              </a:spcBef>
              <a:spcAft>
                <a:spcPts val="642"/>
              </a:spcAft>
              <a:buClr>
                <a:srgbClr val="1E3346"/>
              </a:buClr>
              <a:buSzPct val="115000"/>
              <a:buFont typeface="Arial" panose="020B0604020202020204" pitchFamily="34" charset="0"/>
              <a:buNone/>
              <a:tabLst>
                <a:tab pos="11741993" algn="r"/>
              </a:tabLst>
              <a:defRPr sz="1600" b="1">
                <a:solidFill>
                  <a:prstClr val="white"/>
                </a:solidFill>
                <a:latin typeface="Century Gothic" panose="020B0502020202020204" pitchFamily="34" charset="0"/>
              </a:defRPr>
            </a:lvl1pPr>
            <a:lvl2pPr marL="234950" indent="-114300" defTabSz="1019134">
              <a:spcBef>
                <a:spcPts val="0"/>
              </a:spcBef>
              <a:spcAft>
                <a:spcPts val="400"/>
              </a:spcAft>
              <a:buClr>
                <a:schemeClr val="tx2"/>
              </a:buClr>
              <a:buSzPct val="100000"/>
              <a:buFont typeface="Arial" panose="020B0604020202020204" pitchFamily="34" charset="0"/>
              <a:buChar char="–"/>
              <a:defRPr sz="800">
                <a:solidFill>
                  <a:schemeClr val="lt1"/>
                </a:solidFill>
              </a:defRPr>
            </a:lvl2pPr>
            <a:lvl3pPr marL="349250" indent="-114300" defTabSz="914187">
              <a:spcBef>
                <a:spcPts val="0"/>
              </a:spcBef>
              <a:spcAft>
                <a:spcPts val="400"/>
              </a:spcAft>
              <a:buClr>
                <a:schemeClr val="tx2"/>
              </a:buClr>
              <a:buFont typeface="Courier New" panose="02070309020205020404" pitchFamily="49" charset="0"/>
              <a:buChar char="o"/>
              <a:defRPr sz="800" baseline="0">
                <a:solidFill>
                  <a:schemeClr val="lt1"/>
                </a:solidFill>
              </a:defRPr>
            </a:lvl3pPr>
            <a:lvl4pPr marL="455613" indent="-111125" defTabSz="1019134">
              <a:spcBef>
                <a:spcPts val="0"/>
              </a:spcBef>
              <a:spcAft>
                <a:spcPts val="400"/>
              </a:spcAft>
              <a:buClr>
                <a:schemeClr val="tx2"/>
              </a:buClr>
              <a:buSzPct val="100000"/>
              <a:buFont typeface="Arial" panose="020B0604020202020204" pitchFamily="34" charset="0"/>
              <a:buChar char="»"/>
              <a:defRPr sz="800">
                <a:solidFill>
                  <a:schemeClr val="lt1"/>
                </a:solidFill>
              </a:defRPr>
            </a:lvl4pPr>
            <a:lvl5pPr marL="568325" indent="0" defTabSz="1019134">
              <a:spcBef>
                <a:spcPts val="0"/>
              </a:spcBef>
              <a:spcAft>
                <a:spcPts val="400"/>
              </a:spcAft>
              <a:buClr>
                <a:schemeClr val="tx2"/>
              </a:buClr>
              <a:buSzPct val="115000"/>
              <a:buFont typeface="Arial" panose="020B0604020202020204" pitchFamily="34" charset="0"/>
              <a:buNone/>
              <a:defRPr sz="800">
                <a:solidFill>
                  <a:schemeClr val="lt1"/>
                </a:solidFill>
              </a:defRPr>
            </a:lvl5pPr>
            <a:lvl6pPr marL="558800" indent="-101600" defTabSz="914187">
              <a:spcBef>
                <a:spcPct val="20000"/>
              </a:spcBef>
              <a:buFont typeface="Arial" panose="020B0604020202020204" pitchFamily="34" charset="0"/>
              <a:buChar char="–"/>
              <a:defRPr sz="800">
                <a:solidFill>
                  <a:schemeClr val="lt1"/>
                </a:solidFill>
              </a:defRPr>
            </a:lvl6pPr>
            <a:lvl7pPr marL="2971105" indent="-228547" defTabSz="914187">
              <a:spcBef>
                <a:spcPct val="20000"/>
              </a:spcBef>
              <a:buFont typeface="Arial" panose="020B0604020202020204" pitchFamily="34" charset="0"/>
              <a:buChar char="•"/>
              <a:defRPr sz="2000">
                <a:solidFill>
                  <a:schemeClr val="lt1"/>
                </a:solidFill>
              </a:defRPr>
            </a:lvl7pPr>
            <a:lvl8pPr marL="3428200" indent="-228547" defTabSz="914187">
              <a:spcBef>
                <a:spcPct val="20000"/>
              </a:spcBef>
              <a:buFont typeface="Arial" panose="020B0604020202020204" pitchFamily="34" charset="0"/>
              <a:buChar char="•"/>
              <a:defRPr sz="2000">
                <a:solidFill>
                  <a:schemeClr val="lt1"/>
                </a:solidFill>
              </a:defRPr>
            </a:lvl8pPr>
            <a:lvl9pPr marL="3885291" indent="-228547" defTabSz="914187">
              <a:spcBef>
                <a:spcPct val="20000"/>
              </a:spcBef>
              <a:buFont typeface="Arial" panose="020B0604020202020204" pitchFamily="34" charset="0"/>
              <a:buChar char="•"/>
              <a:defRPr sz="2000">
                <a:solidFill>
                  <a:schemeClr val="lt1"/>
                </a:solidFill>
              </a:defRPr>
            </a:lvl9pPr>
          </a:lstStyle>
          <a:p>
            <a:endParaRPr lang="en-US">
              <a:latin typeface="Montserrat" pitchFamily="2" charset="77"/>
            </a:endParaRPr>
          </a:p>
        </p:txBody>
      </p:sp>
      <p:sp>
        <p:nvSpPr>
          <p:cNvPr id="9" name="Text Placeholder 8">
            <a:extLst>
              <a:ext uri="{FF2B5EF4-FFF2-40B4-BE49-F238E27FC236}">
                <a16:creationId xmlns:a16="http://schemas.microsoft.com/office/drawing/2014/main" id="{26380956-717F-F679-E6DC-D3704C61D78C}"/>
              </a:ext>
            </a:extLst>
          </p:cNvPr>
          <p:cNvSpPr txBox="1">
            <a:spLocks/>
          </p:cNvSpPr>
          <p:nvPr userDrawn="1"/>
        </p:nvSpPr>
        <p:spPr>
          <a:xfrm>
            <a:off x="676505" y="2781017"/>
            <a:ext cx="1800000" cy="1005840"/>
          </a:xfrm>
          <a:prstGeom prst="rect">
            <a:avLst/>
          </a:prstGeom>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defPPr>
              <a:defRPr lang="en-US"/>
            </a:defPPr>
            <a:lvl1pPr indent="0" algn="ctr" defTabSz="944842">
              <a:lnSpc>
                <a:spcPct val="90000"/>
              </a:lnSpc>
              <a:spcBef>
                <a:spcPts val="0"/>
              </a:spcBef>
              <a:spcAft>
                <a:spcPts val="642"/>
              </a:spcAft>
              <a:buClr>
                <a:srgbClr val="1E3346"/>
              </a:buClr>
              <a:buSzPct val="115000"/>
              <a:buFont typeface="Arial" panose="020B0604020202020204" pitchFamily="34" charset="0"/>
              <a:buNone/>
              <a:tabLst>
                <a:tab pos="11741993" algn="r"/>
              </a:tabLst>
              <a:defRPr sz="1600" b="1">
                <a:solidFill>
                  <a:prstClr val="white"/>
                </a:solidFill>
                <a:latin typeface="Century Gothic" panose="020B0502020202020204" pitchFamily="34" charset="0"/>
              </a:defRPr>
            </a:lvl1pPr>
            <a:lvl2pPr marL="234950" indent="-114300" defTabSz="1019134">
              <a:spcBef>
                <a:spcPts val="0"/>
              </a:spcBef>
              <a:spcAft>
                <a:spcPts val="400"/>
              </a:spcAft>
              <a:buClr>
                <a:schemeClr val="tx2"/>
              </a:buClr>
              <a:buSzPct val="100000"/>
              <a:buFont typeface="Arial" panose="020B0604020202020204" pitchFamily="34" charset="0"/>
              <a:buChar char="–"/>
              <a:defRPr sz="800">
                <a:solidFill>
                  <a:schemeClr val="lt1"/>
                </a:solidFill>
              </a:defRPr>
            </a:lvl2pPr>
            <a:lvl3pPr marL="349250" indent="-114300" defTabSz="914187">
              <a:spcBef>
                <a:spcPts val="0"/>
              </a:spcBef>
              <a:spcAft>
                <a:spcPts val="400"/>
              </a:spcAft>
              <a:buClr>
                <a:schemeClr val="tx2"/>
              </a:buClr>
              <a:buFont typeface="Courier New" panose="02070309020205020404" pitchFamily="49" charset="0"/>
              <a:buChar char="o"/>
              <a:defRPr sz="800" baseline="0">
                <a:solidFill>
                  <a:schemeClr val="lt1"/>
                </a:solidFill>
              </a:defRPr>
            </a:lvl3pPr>
            <a:lvl4pPr marL="455613" indent="-111125" defTabSz="1019134">
              <a:spcBef>
                <a:spcPts val="0"/>
              </a:spcBef>
              <a:spcAft>
                <a:spcPts val="400"/>
              </a:spcAft>
              <a:buClr>
                <a:schemeClr val="tx2"/>
              </a:buClr>
              <a:buSzPct val="100000"/>
              <a:buFont typeface="Arial" panose="020B0604020202020204" pitchFamily="34" charset="0"/>
              <a:buChar char="»"/>
              <a:defRPr sz="800">
                <a:solidFill>
                  <a:schemeClr val="lt1"/>
                </a:solidFill>
              </a:defRPr>
            </a:lvl4pPr>
            <a:lvl5pPr marL="568325" indent="0" defTabSz="1019134">
              <a:spcBef>
                <a:spcPts val="0"/>
              </a:spcBef>
              <a:spcAft>
                <a:spcPts val="400"/>
              </a:spcAft>
              <a:buClr>
                <a:schemeClr val="tx2"/>
              </a:buClr>
              <a:buSzPct val="115000"/>
              <a:buFont typeface="Arial" panose="020B0604020202020204" pitchFamily="34" charset="0"/>
              <a:buNone/>
              <a:defRPr sz="800">
                <a:solidFill>
                  <a:schemeClr val="lt1"/>
                </a:solidFill>
              </a:defRPr>
            </a:lvl5pPr>
            <a:lvl6pPr marL="558800" indent="-101600" defTabSz="914187">
              <a:spcBef>
                <a:spcPct val="20000"/>
              </a:spcBef>
              <a:buFont typeface="Arial" panose="020B0604020202020204" pitchFamily="34" charset="0"/>
              <a:buChar char="–"/>
              <a:defRPr sz="800">
                <a:solidFill>
                  <a:schemeClr val="lt1"/>
                </a:solidFill>
              </a:defRPr>
            </a:lvl6pPr>
            <a:lvl7pPr marL="2971105" indent="-228547" defTabSz="914187">
              <a:spcBef>
                <a:spcPct val="20000"/>
              </a:spcBef>
              <a:buFont typeface="Arial" panose="020B0604020202020204" pitchFamily="34" charset="0"/>
              <a:buChar char="•"/>
              <a:defRPr sz="2000">
                <a:solidFill>
                  <a:schemeClr val="lt1"/>
                </a:solidFill>
              </a:defRPr>
            </a:lvl7pPr>
            <a:lvl8pPr marL="3428200" indent="-228547" defTabSz="914187">
              <a:spcBef>
                <a:spcPct val="20000"/>
              </a:spcBef>
              <a:buFont typeface="Arial" panose="020B0604020202020204" pitchFamily="34" charset="0"/>
              <a:buChar char="•"/>
              <a:defRPr sz="2000">
                <a:solidFill>
                  <a:schemeClr val="lt1"/>
                </a:solidFill>
              </a:defRPr>
            </a:lvl8pPr>
            <a:lvl9pPr marL="3885291" indent="-228547" defTabSz="914187">
              <a:spcBef>
                <a:spcPct val="20000"/>
              </a:spcBef>
              <a:buFont typeface="Arial" panose="020B0604020202020204" pitchFamily="34" charset="0"/>
              <a:buChar char="•"/>
              <a:defRPr sz="2000">
                <a:solidFill>
                  <a:schemeClr val="lt1"/>
                </a:solidFill>
              </a:defRPr>
            </a:lvl9pPr>
          </a:lstStyle>
          <a:p>
            <a:endParaRPr lang="en-US">
              <a:latin typeface="Montserrat" pitchFamily="2" charset="77"/>
            </a:endParaRPr>
          </a:p>
        </p:txBody>
      </p:sp>
      <p:sp>
        <p:nvSpPr>
          <p:cNvPr id="11" name="Text Placeholder 9">
            <a:extLst>
              <a:ext uri="{FF2B5EF4-FFF2-40B4-BE49-F238E27FC236}">
                <a16:creationId xmlns:a16="http://schemas.microsoft.com/office/drawing/2014/main" id="{FF13E2A1-9005-8DD8-E1C1-A5BCAD9ED7F6}"/>
              </a:ext>
            </a:extLst>
          </p:cNvPr>
          <p:cNvSpPr txBox="1">
            <a:spLocks/>
          </p:cNvSpPr>
          <p:nvPr userDrawn="1"/>
        </p:nvSpPr>
        <p:spPr>
          <a:xfrm>
            <a:off x="676505" y="3965236"/>
            <a:ext cx="1800000" cy="1005840"/>
          </a:xfrm>
          <a:prstGeom prst="rect">
            <a:avLst/>
          </a:prstGeom>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defPPr>
              <a:defRPr lang="en-US"/>
            </a:defPPr>
            <a:lvl1pPr indent="0" algn="ctr" defTabSz="944842">
              <a:lnSpc>
                <a:spcPct val="90000"/>
              </a:lnSpc>
              <a:spcBef>
                <a:spcPts val="0"/>
              </a:spcBef>
              <a:spcAft>
                <a:spcPts val="642"/>
              </a:spcAft>
              <a:buClr>
                <a:srgbClr val="1E3346"/>
              </a:buClr>
              <a:buSzPct val="115000"/>
              <a:buFont typeface="Arial" panose="020B0604020202020204" pitchFamily="34" charset="0"/>
              <a:buNone/>
              <a:tabLst>
                <a:tab pos="11741993" algn="r"/>
              </a:tabLst>
              <a:defRPr sz="1600" b="1">
                <a:solidFill>
                  <a:prstClr val="white"/>
                </a:solidFill>
                <a:latin typeface="Century Gothic" panose="020B0502020202020204" pitchFamily="34" charset="0"/>
              </a:defRPr>
            </a:lvl1pPr>
            <a:lvl2pPr marL="234950" indent="-114300" defTabSz="1019134">
              <a:spcBef>
                <a:spcPts val="0"/>
              </a:spcBef>
              <a:spcAft>
                <a:spcPts val="400"/>
              </a:spcAft>
              <a:buClr>
                <a:schemeClr val="tx2"/>
              </a:buClr>
              <a:buSzPct val="100000"/>
              <a:buFont typeface="Arial" panose="020B0604020202020204" pitchFamily="34" charset="0"/>
              <a:buChar char="–"/>
              <a:defRPr sz="800">
                <a:solidFill>
                  <a:schemeClr val="lt1"/>
                </a:solidFill>
              </a:defRPr>
            </a:lvl2pPr>
            <a:lvl3pPr marL="349250" indent="-114300" defTabSz="914187">
              <a:spcBef>
                <a:spcPts val="0"/>
              </a:spcBef>
              <a:spcAft>
                <a:spcPts val="400"/>
              </a:spcAft>
              <a:buClr>
                <a:schemeClr val="tx2"/>
              </a:buClr>
              <a:buFont typeface="Courier New" panose="02070309020205020404" pitchFamily="49" charset="0"/>
              <a:buChar char="o"/>
              <a:defRPr sz="800" baseline="0">
                <a:solidFill>
                  <a:schemeClr val="lt1"/>
                </a:solidFill>
              </a:defRPr>
            </a:lvl3pPr>
            <a:lvl4pPr marL="455613" indent="-111125" defTabSz="1019134">
              <a:spcBef>
                <a:spcPts val="0"/>
              </a:spcBef>
              <a:spcAft>
                <a:spcPts val="400"/>
              </a:spcAft>
              <a:buClr>
                <a:schemeClr val="tx2"/>
              </a:buClr>
              <a:buSzPct val="100000"/>
              <a:buFont typeface="Arial" panose="020B0604020202020204" pitchFamily="34" charset="0"/>
              <a:buChar char="»"/>
              <a:defRPr sz="800">
                <a:solidFill>
                  <a:schemeClr val="lt1"/>
                </a:solidFill>
              </a:defRPr>
            </a:lvl4pPr>
            <a:lvl5pPr marL="568325" indent="0" defTabSz="1019134">
              <a:spcBef>
                <a:spcPts val="0"/>
              </a:spcBef>
              <a:spcAft>
                <a:spcPts val="400"/>
              </a:spcAft>
              <a:buClr>
                <a:schemeClr val="tx2"/>
              </a:buClr>
              <a:buSzPct val="115000"/>
              <a:buFont typeface="Arial" panose="020B0604020202020204" pitchFamily="34" charset="0"/>
              <a:buNone/>
              <a:defRPr sz="800">
                <a:solidFill>
                  <a:schemeClr val="lt1"/>
                </a:solidFill>
              </a:defRPr>
            </a:lvl5pPr>
            <a:lvl6pPr marL="558800" indent="-101600" defTabSz="914187">
              <a:spcBef>
                <a:spcPct val="20000"/>
              </a:spcBef>
              <a:buFont typeface="Arial" panose="020B0604020202020204" pitchFamily="34" charset="0"/>
              <a:buChar char="–"/>
              <a:defRPr sz="800">
                <a:solidFill>
                  <a:schemeClr val="lt1"/>
                </a:solidFill>
              </a:defRPr>
            </a:lvl6pPr>
            <a:lvl7pPr marL="2971105" indent="-228547" defTabSz="914187">
              <a:spcBef>
                <a:spcPct val="20000"/>
              </a:spcBef>
              <a:buFont typeface="Arial" panose="020B0604020202020204" pitchFamily="34" charset="0"/>
              <a:buChar char="•"/>
              <a:defRPr sz="2000">
                <a:solidFill>
                  <a:schemeClr val="lt1"/>
                </a:solidFill>
              </a:defRPr>
            </a:lvl7pPr>
            <a:lvl8pPr marL="3428200" indent="-228547" defTabSz="914187">
              <a:spcBef>
                <a:spcPct val="20000"/>
              </a:spcBef>
              <a:buFont typeface="Arial" panose="020B0604020202020204" pitchFamily="34" charset="0"/>
              <a:buChar char="•"/>
              <a:defRPr sz="2000">
                <a:solidFill>
                  <a:schemeClr val="lt1"/>
                </a:solidFill>
              </a:defRPr>
            </a:lvl8pPr>
            <a:lvl9pPr marL="3885291" indent="-228547" defTabSz="914187">
              <a:spcBef>
                <a:spcPct val="20000"/>
              </a:spcBef>
              <a:buFont typeface="Arial" panose="020B0604020202020204" pitchFamily="34" charset="0"/>
              <a:buChar char="•"/>
              <a:defRPr sz="2000">
                <a:solidFill>
                  <a:schemeClr val="lt1"/>
                </a:solidFill>
              </a:defRPr>
            </a:lvl9pPr>
          </a:lstStyle>
          <a:p>
            <a:endParaRPr lang="en-US">
              <a:latin typeface="Montserrat" pitchFamily="2" charset="77"/>
            </a:endParaRPr>
          </a:p>
        </p:txBody>
      </p:sp>
      <p:sp>
        <p:nvSpPr>
          <p:cNvPr id="12" name="Text Placeholder 11">
            <a:extLst>
              <a:ext uri="{FF2B5EF4-FFF2-40B4-BE49-F238E27FC236}">
                <a16:creationId xmlns:a16="http://schemas.microsoft.com/office/drawing/2014/main" id="{63825577-37AA-5EC6-7AE1-341E5A7A6137}"/>
              </a:ext>
            </a:extLst>
          </p:cNvPr>
          <p:cNvSpPr txBox="1">
            <a:spLocks/>
          </p:cNvSpPr>
          <p:nvPr userDrawn="1"/>
        </p:nvSpPr>
        <p:spPr>
          <a:xfrm>
            <a:off x="676505" y="5149455"/>
            <a:ext cx="1800000" cy="1005840"/>
          </a:xfrm>
          <a:prstGeom prst="rect">
            <a:avLst/>
          </a:prstGeom>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defPPr>
              <a:defRPr lang="en-US"/>
            </a:defPPr>
            <a:lvl1pPr indent="0" algn="ctr" defTabSz="944842">
              <a:lnSpc>
                <a:spcPct val="90000"/>
              </a:lnSpc>
              <a:spcBef>
                <a:spcPts val="0"/>
              </a:spcBef>
              <a:spcAft>
                <a:spcPts val="642"/>
              </a:spcAft>
              <a:buClr>
                <a:srgbClr val="1E3346"/>
              </a:buClr>
              <a:buSzPct val="115000"/>
              <a:buFont typeface="Arial" panose="020B0604020202020204" pitchFamily="34" charset="0"/>
              <a:buNone/>
              <a:tabLst>
                <a:tab pos="11741993" algn="r"/>
              </a:tabLst>
              <a:defRPr sz="1600" b="1">
                <a:solidFill>
                  <a:prstClr val="white"/>
                </a:solidFill>
                <a:latin typeface="Century Gothic" panose="020B0502020202020204" pitchFamily="34" charset="0"/>
              </a:defRPr>
            </a:lvl1pPr>
            <a:lvl2pPr marL="234950" indent="-114300" defTabSz="1019134">
              <a:spcBef>
                <a:spcPts val="0"/>
              </a:spcBef>
              <a:spcAft>
                <a:spcPts val="400"/>
              </a:spcAft>
              <a:buClr>
                <a:schemeClr val="tx2"/>
              </a:buClr>
              <a:buSzPct val="100000"/>
              <a:buFont typeface="Arial" panose="020B0604020202020204" pitchFamily="34" charset="0"/>
              <a:buChar char="–"/>
              <a:defRPr sz="800">
                <a:solidFill>
                  <a:schemeClr val="lt1"/>
                </a:solidFill>
              </a:defRPr>
            </a:lvl2pPr>
            <a:lvl3pPr marL="349250" indent="-114300" defTabSz="914187">
              <a:spcBef>
                <a:spcPts val="0"/>
              </a:spcBef>
              <a:spcAft>
                <a:spcPts val="400"/>
              </a:spcAft>
              <a:buClr>
                <a:schemeClr val="tx2"/>
              </a:buClr>
              <a:buFont typeface="Courier New" panose="02070309020205020404" pitchFamily="49" charset="0"/>
              <a:buChar char="o"/>
              <a:defRPr sz="800" baseline="0">
                <a:solidFill>
                  <a:schemeClr val="lt1"/>
                </a:solidFill>
              </a:defRPr>
            </a:lvl3pPr>
            <a:lvl4pPr marL="455613" indent="-111125" defTabSz="1019134">
              <a:spcBef>
                <a:spcPts val="0"/>
              </a:spcBef>
              <a:spcAft>
                <a:spcPts val="400"/>
              </a:spcAft>
              <a:buClr>
                <a:schemeClr val="tx2"/>
              </a:buClr>
              <a:buSzPct val="100000"/>
              <a:buFont typeface="Arial" panose="020B0604020202020204" pitchFamily="34" charset="0"/>
              <a:buChar char="»"/>
              <a:defRPr sz="800">
                <a:solidFill>
                  <a:schemeClr val="lt1"/>
                </a:solidFill>
              </a:defRPr>
            </a:lvl4pPr>
            <a:lvl5pPr marL="568325" indent="0" defTabSz="1019134">
              <a:spcBef>
                <a:spcPts val="0"/>
              </a:spcBef>
              <a:spcAft>
                <a:spcPts val="400"/>
              </a:spcAft>
              <a:buClr>
                <a:schemeClr val="tx2"/>
              </a:buClr>
              <a:buSzPct val="115000"/>
              <a:buFont typeface="Arial" panose="020B0604020202020204" pitchFamily="34" charset="0"/>
              <a:buNone/>
              <a:defRPr sz="800">
                <a:solidFill>
                  <a:schemeClr val="lt1"/>
                </a:solidFill>
              </a:defRPr>
            </a:lvl5pPr>
            <a:lvl6pPr marL="558800" indent="-101600" defTabSz="914187">
              <a:spcBef>
                <a:spcPct val="20000"/>
              </a:spcBef>
              <a:buFont typeface="Arial" panose="020B0604020202020204" pitchFamily="34" charset="0"/>
              <a:buChar char="–"/>
              <a:defRPr sz="800">
                <a:solidFill>
                  <a:schemeClr val="lt1"/>
                </a:solidFill>
              </a:defRPr>
            </a:lvl6pPr>
            <a:lvl7pPr marL="2971105" indent="-228547" defTabSz="914187">
              <a:spcBef>
                <a:spcPct val="20000"/>
              </a:spcBef>
              <a:buFont typeface="Arial" panose="020B0604020202020204" pitchFamily="34" charset="0"/>
              <a:buChar char="•"/>
              <a:defRPr sz="2000">
                <a:solidFill>
                  <a:schemeClr val="lt1"/>
                </a:solidFill>
              </a:defRPr>
            </a:lvl7pPr>
            <a:lvl8pPr marL="3428200" indent="-228547" defTabSz="914187">
              <a:spcBef>
                <a:spcPct val="20000"/>
              </a:spcBef>
              <a:buFont typeface="Arial" panose="020B0604020202020204" pitchFamily="34" charset="0"/>
              <a:buChar char="•"/>
              <a:defRPr sz="2000">
                <a:solidFill>
                  <a:schemeClr val="lt1"/>
                </a:solidFill>
              </a:defRPr>
            </a:lvl8pPr>
            <a:lvl9pPr marL="3885291" indent="-228547" defTabSz="914187">
              <a:spcBef>
                <a:spcPct val="20000"/>
              </a:spcBef>
              <a:buFont typeface="Arial" panose="020B0604020202020204" pitchFamily="34" charset="0"/>
              <a:buChar char="•"/>
              <a:defRPr sz="2000">
                <a:solidFill>
                  <a:schemeClr val="lt1"/>
                </a:solidFill>
              </a:defRPr>
            </a:lvl9pPr>
          </a:lstStyle>
          <a:p>
            <a:endParaRPr lang="en-US">
              <a:latin typeface="Montserrat" pitchFamily="2" charset="77"/>
            </a:endParaRPr>
          </a:p>
        </p:txBody>
      </p:sp>
      <p:sp>
        <p:nvSpPr>
          <p:cNvPr id="16" name="Text Placeholder 35">
            <a:extLst>
              <a:ext uri="{FF2B5EF4-FFF2-40B4-BE49-F238E27FC236}">
                <a16:creationId xmlns:a16="http://schemas.microsoft.com/office/drawing/2014/main" id="{7F308FB8-BE6B-CB1E-9800-6E89F674E919}"/>
              </a:ext>
            </a:extLst>
          </p:cNvPr>
          <p:cNvSpPr>
            <a:spLocks noGrp="1"/>
          </p:cNvSpPr>
          <p:nvPr>
            <p:ph type="body" sz="quarter" idx="10" hasCustomPrompt="1"/>
          </p:nvPr>
        </p:nvSpPr>
        <p:spPr>
          <a:xfrm>
            <a:off x="683434" y="1600200"/>
            <a:ext cx="1793071" cy="1002437"/>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17" name="Text Placeholder 35">
            <a:extLst>
              <a:ext uri="{FF2B5EF4-FFF2-40B4-BE49-F238E27FC236}">
                <a16:creationId xmlns:a16="http://schemas.microsoft.com/office/drawing/2014/main" id="{B6DC8DB3-68AF-419D-521F-296B1116D312}"/>
              </a:ext>
            </a:extLst>
          </p:cNvPr>
          <p:cNvSpPr>
            <a:spLocks noGrp="1"/>
          </p:cNvSpPr>
          <p:nvPr>
            <p:ph type="body" sz="quarter" idx="14" hasCustomPrompt="1"/>
          </p:nvPr>
        </p:nvSpPr>
        <p:spPr>
          <a:xfrm>
            <a:off x="683434" y="2785534"/>
            <a:ext cx="1793071" cy="1002437"/>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18" name="Text Placeholder 35">
            <a:extLst>
              <a:ext uri="{FF2B5EF4-FFF2-40B4-BE49-F238E27FC236}">
                <a16:creationId xmlns:a16="http://schemas.microsoft.com/office/drawing/2014/main" id="{C16C5BA4-3EAE-D46F-245F-32C8895CFC55}"/>
              </a:ext>
            </a:extLst>
          </p:cNvPr>
          <p:cNvSpPr>
            <a:spLocks noGrp="1"/>
          </p:cNvSpPr>
          <p:nvPr>
            <p:ph type="body" sz="quarter" idx="15" hasCustomPrompt="1"/>
          </p:nvPr>
        </p:nvSpPr>
        <p:spPr>
          <a:xfrm>
            <a:off x="683434" y="3970867"/>
            <a:ext cx="1793071" cy="1002437"/>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4" name="Text Placeholder 35">
            <a:extLst>
              <a:ext uri="{FF2B5EF4-FFF2-40B4-BE49-F238E27FC236}">
                <a16:creationId xmlns:a16="http://schemas.microsoft.com/office/drawing/2014/main" id="{0E19D29A-A555-D049-C90F-933FC4A6CC1A}"/>
              </a:ext>
            </a:extLst>
          </p:cNvPr>
          <p:cNvSpPr>
            <a:spLocks noGrp="1"/>
          </p:cNvSpPr>
          <p:nvPr>
            <p:ph type="body" sz="quarter" idx="16" hasCustomPrompt="1"/>
          </p:nvPr>
        </p:nvSpPr>
        <p:spPr>
          <a:xfrm>
            <a:off x="683434" y="5139267"/>
            <a:ext cx="1793071" cy="1002437"/>
          </a:xfrm>
        </p:spPr>
        <p:txBody>
          <a:bodyPr anchor="ctr">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5" name="Text Placeholder 2">
            <a:extLst>
              <a:ext uri="{FF2B5EF4-FFF2-40B4-BE49-F238E27FC236}">
                <a16:creationId xmlns:a16="http://schemas.microsoft.com/office/drawing/2014/main" id="{063565B7-3566-149E-C665-87524A2417A2}"/>
              </a:ext>
            </a:extLst>
          </p:cNvPr>
          <p:cNvSpPr>
            <a:spLocks noGrp="1"/>
          </p:cNvSpPr>
          <p:nvPr>
            <p:ph type="body" idx="21"/>
          </p:nvPr>
        </p:nvSpPr>
        <p:spPr>
          <a:xfrm>
            <a:off x="2748152" y="1667068"/>
            <a:ext cx="8605648" cy="863286"/>
          </a:xfrm>
          <a:ln>
            <a:solidFill>
              <a:srgbClr val="004161"/>
            </a:solidFill>
          </a:ln>
        </p:spPr>
        <p:txBody>
          <a:bodyPr anchor="ctr">
            <a:normAutofit/>
          </a:bodyPr>
          <a:lstStyle>
            <a:lvl1pPr marL="171450" indent="-171450" algn="l">
              <a:buFont typeface="Wingdings" pitchFamily="2" charset="2"/>
              <a:buChar char="§"/>
              <a:defRPr lang="en-US" sz="1000" kern="1200" baseline="0" dirty="0" smtClean="0">
                <a:solidFill>
                  <a:srgbClr val="004161"/>
                </a:solidFill>
                <a:latin typeface="Montserrat" pitchFamily="2" charset="77"/>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lgn="l" defTabSz="914400" rtl="0" eaLnBrk="1" latinLnBrk="0" hangingPunct="1">
              <a:lnSpc>
                <a:spcPct val="90000"/>
              </a:lnSpc>
              <a:spcBef>
                <a:spcPts val="1000"/>
              </a:spcBef>
              <a:buFont typeface="Wingdings" pitchFamily="2" charset="2"/>
              <a:buChar char="§"/>
            </a:pPr>
            <a:r>
              <a:rPr lang="en-US"/>
              <a:t>Click to edit Master text styles</a:t>
            </a:r>
          </a:p>
          <a:p>
            <a:pPr marL="171450" marR="0" lvl="0" indent="-171450" algn="l" defTabSz="914400" rtl="0" eaLnBrk="1" fontAlgn="auto" latinLnBrk="0" hangingPunct="1">
              <a:lnSpc>
                <a:spcPct val="90000"/>
              </a:lnSpc>
              <a:spcBef>
                <a:spcPts val="1000"/>
              </a:spcBef>
              <a:spcAft>
                <a:spcPts val="0"/>
              </a:spcAft>
              <a:buClrTx/>
              <a:buSzTx/>
              <a:buFont typeface="Wingdings" pitchFamily="2" charset="2"/>
              <a:buChar char="§"/>
              <a:tabLst/>
              <a:defRPr/>
            </a:pPr>
            <a:r>
              <a:rPr lang="en-US"/>
              <a:t>Click to edit Master text styles</a:t>
            </a:r>
          </a:p>
          <a:p>
            <a:pPr marL="171450" marR="0" lvl="0" indent="-171450" algn="l" defTabSz="914400" rtl="0" eaLnBrk="1" fontAlgn="auto" latinLnBrk="0" hangingPunct="1">
              <a:lnSpc>
                <a:spcPct val="90000"/>
              </a:lnSpc>
              <a:spcBef>
                <a:spcPts val="1000"/>
              </a:spcBef>
              <a:spcAft>
                <a:spcPts val="0"/>
              </a:spcAft>
              <a:buClrTx/>
              <a:buSzTx/>
              <a:buFont typeface="Wingdings" pitchFamily="2" charset="2"/>
              <a:buChar char="§"/>
              <a:tabLst/>
              <a:defRPr/>
            </a:pPr>
            <a:r>
              <a:rPr lang="en-US"/>
              <a:t>Click to edit Master text styles</a:t>
            </a:r>
          </a:p>
        </p:txBody>
      </p:sp>
      <p:sp>
        <p:nvSpPr>
          <p:cNvPr id="36" name="Text Placeholder 2">
            <a:extLst>
              <a:ext uri="{FF2B5EF4-FFF2-40B4-BE49-F238E27FC236}">
                <a16:creationId xmlns:a16="http://schemas.microsoft.com/office/drawing/2014/main" id="{1A01F3FC-FBB3-6543-AEA0-830F52A391CC}"/>
              </a:ext>
            </a:extLst>
          </p:cNvPr>
          <p:cNvSpPr>
            <a:spLocks noGrp="1"/>
          </p:cNvSpPr>
          <p:nvPr>
            <p:ph type="body" idx="22"/>
          </p:nvPr>
        </p:nvSpPr>
        <p:spPr>
          <a:xfrm>
            <a:off x="2748152" y="2860868"/>
            <a:ext cx="8605648" cy="863286"/>
          </a:xfrm>
          <a:ln>
            <a:solidFill>
              <a:srgbClr val="004161"/>
            </a:solidFill>
          </a:ln>
        </p:spPr>
        <p:txBody>
          <a:bodyPr anchor="ctr">
            <a:normAutofit/>
          </a:bodyPr>
          <a:lstStyle>
            <a:lvl1pPr marL="171450" indent="-171450" algn="l">
              <a:buFont typeface="Wingdings" pitchFamily="2" charset="2"/>
              <a:buChar char="§"/>
              <a:defRPr lang="en-US" sz="1000" kern="1200" baseline="0" dirty="0" smtClean="0">
                <a:solidFill>
                  <a:srgbClr val="004161"/>
                </a:solidFill>
                <a:latin typeface="Montserrat" pitchFamily="2" charset="77"/>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lgn="l" defTabSz="914400" rtl="0" eaLnBrk="1" latinLnBrk="0" hangingPunct="1">
              <a:lnSpc>
                <a:spcPct val="90000"/>
              </a:lnSpc>
              <a:spcBef>
                <a:spcPts val="1000"/>
              </a:spcBef>
              <a:buFont typeface="Wingdings" pitchFamily="2" charset="2"/>
              <a:buChar char="§"/>
            </a:pPr>
            <a:r>
              <a:rPr lang="en-US"/>
              <a:t>Click to edit Master text styles</a:t>
            </a:r>
          </a:p>
          <a:p>
            <a:pPr marL="171450" marR="0" lvl="0" indent="-171450" algn="l" defTabSz="914400" rtl="0" eaLnBrk="1" fontAlgn="auto" latinLnBrk="0" hangingPunct="1">
              <a:lnSpc>
                <a:spcPct val="90000"/>
              </a:lnSpc>
              <a:spcBef>
                <a:spcPts val="1000"/>
              </a:spcBef>
              <a:spcAft>
                <a:spcPts val="0"/>
              </a:spcAft>
              <a:buClrTx/>
              <a:buSzTx/>
              <a:buFont typeface="Wingdings" pitchFamily="2" charset="2"/>
              <a:buChar char="§"/>
              <a:tabLst/>
              <a:defRPr/>
            </a:pPr>
            <a:r>
              <a:rPr lang="en-US"/>
              <a:t>Click to edit Master text styles</a:t>
            </a:r>
          </a:p>
          <a:p>
            <a:pPr marL="171450" marR="0" lvl="0" indent="-171450" algn="l" defTabSz="914400" rtl="0" eaLnBrk="1" fontAlgn="auto" latinLnBrk="0" hangingPunct="1">
              <a:lnSpc>
                <a:spcPct val="90000"/>
              </a:lnSpc>
              <a:spcBef>
                <a:spcPts val="1000"/>
              </a:spcBef>
              <a:spcAft>
                <a:spcPts val="0"/>
              </a:spcAft>
              <a:buClrTx/>
              <a:buSzTx/>
              <a:buFont typeface="Wingdings" pitchFamily="2" charset="2"/>
              <a:buChar char="§"/>
              <a:tabLst/>
              <a:defRPr/>
            </a:pPr>
            <a:r>
              <a:rPr lang="en-US"/>
              <a:t>Click to edit Master text styles</a:t>
            </a:r>
          </a:p>
        </p:txBody>
      </p:sp>
      <p:sp>
        <p:nvSpPr>
          <p:cNvPr id="37" name="Text Placeholder 2">
            <a:extLst>
              <a:ext uri="{FF2B5EF4-FFF2-40B4-BE49-F238E27FC236}">
                <a16:creationId xmlns:a16="http://schemas.microsoft.com/office/drawing/2014/main" id="{86D0DF39-0D99-B6DC-D051-1478AE356AC0}"/>
              </a:ext>
            </a:extLst>
          </p:cNvPr>
          <p:cNvSpPr>
            <a:spLocks noGrp="1"/>
          </p:cNvSpPr>
          <p:nvPr>
            <p:ph type="body" idx="23"/>
          </p:nvPr>
        </p:nvSpPr>
        <p:spPr>
          <a:xfrm>
            <a:off x="2748152" y="4012334"/>
            <a:ext cx="8605648" cy="863286"/>
          </a:xfrm>
          <a:ln>
            <a:solidFill>
              <a:srgbClr val="004161"/>
            </a:solidFill>
          </a:ln>
        </p:spPr>
        <p:txBody>
          <a:bodyPr anchor="ctr">
            <a:normAutofit/>
          </a:bodyPr>
          <a:lstStyle>
            <a:lvl1pPr marL="171450" indent="-171450" algn="l">
              <a:buFont typeface="Wingdings" pitchFamily="2" charset="2"/>
              <a:buChar char="§"/>
              <a:defRPr lang="en-US" sz="1000" kern="1200" baseline="0" dirty="0" smtClean="0">
                <a:solidFill>
                  <a:srgbClr val="004161"/>
                </a:solidFill>
                <a:latin typeface="Montserrat" pitchFamily="2" charset="77"/>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lgn="l" defTabSz="914400" rtl="0" eaLnBrk="1" latinLnBrk="0" hangingPunct="1">
              <a:lnSpc>
                <a:spcPct val="90000"/>
              </a:lnSpc>
              <a:spcBef>
                <a:spcPts val="1000"/>
              </a:spcBef>
              <a:buFont typeface="Wingdings" pitchFamily="2" charset="2"/>
              <a:buChar char="§"/>
            </a:pPr>
            <a:r>
              <a:rPr lang="en-US"/>
              <a:t>Click to edit Master text styles</a:t>
            </a:r>
          </a:p>
          <a:p>
            <a:pPr marL="171450" marR="0" lvl="0" indent="-171450" algn="l" defTabSz="914400" rtl="0" eaLnBrk="1" fontAlgn="auto" latinLnBrk="0" hangingPunct="1">
              <a:lnSpc>
                <a:spcPct val="90000"/>
              </a:lnSpc>
              <a:spcBef>
                <a:spcPts val="1000"/>
              </a:spcBef>
              <a:spcAft>
                <a:spcPts val="0"/>
              </a:spcAft>
              <a:buClrTx/>
              <a:buSzTx/>
              <a:buFont typeface="Wingdings" pitchFamily="2" charset="2"/>
              <a:buChar char="§"/>
              <a:tabLst/>
              <a:defRPr/>
            </a:pPr>
            <a:r>
              <a:rPr lang="en-US"/>
              <a:t>Click to edit Master text styles</a:t>
            </a:r>
          </a:p>
          <a:p>
            <a:pPr marL="171450" marR="0" lvl="0" indent="-171450" algn="l" defTabSz="914400" rtl="0" eaLnBrk="1" fontAlgn="auto" latinLnBrk="0" hangingPunct="1">
              <a:lnSpc>
                <a:spcPct val="90000"/>
              </a:lnSpc>
              <a:spcBef>
                <a:spcPts val="1000"/>
              </a:spcBef>
              <a:spcAft>
                <a:spcPts val="0"/>
              </a:spcAft>
              <a:buClrTx/>
              <a:buSzTx/>
              <a:buFont typeface="Wingdings" pitchFamily="2" charset="2"/>
              <a:buChar char="§"/>
              <a:tabLst/>
              <a:defRPr/>
            </a:pPr>
            <a:r>
              <a:rPr lang="en-US"/>
              <a:t>Click to edit Master text styles</a:t>
            </a:r>
          </a:p>
        </p:txBody>
      </p:sp>
      <p:sp>
        <p:nvSpPr>
          <p:cNvPr id="38" name="Text Placeholder 2">
            <a:extLst>
              <a:ext uri="{FF2B5EF4-FFF2-40B4-BE49-F238E27FC236}">
                <a16:creationId xmlns:a16="http://schemas.microsoft.com/office/drawing/2014/main" id="{DC6FBE00-EF5C-5286-5EFB-9C4AD1FC90FC}"/>
              </a:ext>
            </a:extLst>
          </p:cNvPr>
          <p:cNvSpPr>
            <a:spLocks noGrp="1"/>
          </p:cNvSpPr>
          <p:nvPr>
            <p:ph type="body" idx="24"/>
          </p:nvPr>
        </p:nvSpPr>
        <p:spPr>
          <a:xfrm>
            <a:off x="2748152" y="5231534"/>
            <a:ext cx="8605648" cy="863286"/>
          </a:xfrm>
          <a:ln>
            <a:solidFill>
              <a:srgbClr val="004161"/>
            </a:solidFill>
          </a:ln>
        </p:spPr>
        <p:txBody>
          <a:bodyPr anchor="ctr">
            <a:normAutofit/>
          </a:bodyPr>
          <a:lstStyle>
            <a:lvl1pPr marL="171450" indent="-171450" algn="l">
              <a:buFont typeface="Wingdings" pitchFamily="2" charset="2"/>
              <a:buChar char="§"/>
              <a:defRPr lang="en-US" sz="1000" kern="1200" baseline="0" dirty="0" smtClean="0">
                <a:solidFill>
                  <a:srgbClr val="004161"/>
                </a:solidFill>
                <a:latin typeface="Montserrat" pitchFamily="2" charset="77"/>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lgn="l" defTabSz="914400" rtl="0" eaLnBrk="1" latinLnBrk="0" hangingPunct="1">
              <a:lnSpc>
                <a:spcPct val="90000"/>
              </a:lnSpc>
              <a:spcBef>
                <a:spcPts val="1000"/>
              </a:spcBef>
              <a:buFont typeface="Wingdings" pitchFamily="2" charset="2"/>
              <a:buChar char="§"/>
            </a:pPr>
            <a:r>
              <a:rPr lang="en-US"/>
              <a:t>Click to edit Master text styles</a:t>
            </a:r>
          </a:p>
          <a:p>
            <a:pPr marL="171450" marR="0" lvl="0" indent="-171450" algn="l" defTabSz="914400" rtl="0" eaLnBrk="1" fontAlgn="auto" latinLnBrk="0" hangingPunct="1">
              <a:lnSpc>
                <a:spcPct val="90000"/>
              </a:lnSpc>
              <a:spcBef>
                <a:spcPts val="1000"/>
              </a:spcBef>
              <a:spcAft>
                <a:spcPts val="0"/>
              </a:spcAft>
              <a:buClrTx/>
              <a:buSzTx/>
              <a:buFont typeface="Wingdings" pitchFamily="2" charset="2"/>
              <a:buChar char="§"/>
              <a:tabLst/>
              <a:defRPr/>
            </a:pPr>
            <a:r>
              <a:rPr lang="en-US"/>
              <a:t>Click to edit Master text styles</a:t>
            </a:r>
          </a:p>
          <a:p>
            <a:pPr marL="171450" marR="0" lvl="0" indent="-171450" algn="l" defTabSz="914400" rtl="0" eaLnBrk="1" fontAlgn="auto" latinLnBrk="0" hangingPunct="1">
              <a:lnSpc>
                <a:spcPct val="90000"/>
              </a:lnSpc>
              <a:spcBef>
                <a:spcPts val="1000"/>
              </a:spcBef>
              <a:spcAft>
                <a:spcPts val="0"/>
              </a:spcAft>
              <a:buClrTx/>
              <a:buSzTx/>
              <a:buFont typeface="Wingdings" pitchFamily="2" charset="2"/>
              <a:buChar char="§"/>
              <a:tabLst/>
              <a:defRPr/>
            </a:pPr>
            <a:r>
              <a:rPr lang="en-US"/>
              <a:t>Click to edit Master text styles</a:t>
            </a:r>
          </a:p>
        </p:txBody>
      </p:sp>
    </p:spTree>
    <p:extLst>
      <p:ext uri="{BB962C8B-B14F-4D97-AF65-F5344CB8AC3E}">
        <p14:creationId xmlns:p14="http://schemas.microsoft.com/office/powerpoint/2010/main" val="40051070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64107F6F-AD3E-3D94-B143-B60FF8D455D5}"/>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entagon 12">
            <a:extLst>
              <a:ext uri="{FF2B5EF4-FFF2-40B4-BE49-F238E27FC236}">
                <a16:creationId xmlns:a16="http://schemas.microsoft.com/office/drawing/2014/main" id="{69F3DAC2-C1A6-7F85-0148-53FA03EC3D3F}"/>
              </a:ext>
            </a:extLst>
          </p:cNvPr>
          <p:cNvSpPr/>
          <p:nvPr userDrawn="1"/>
        </p:nvSpPr>
        <p:spPr>
          <a:xfrm>
            <a:off x="762000" y="2723943"/>
            <a:ext cx="2298358" cy="920579"/>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18" name="Chevron 17">
            <a:extLst>
              <a:ext uri="{FF2B5EF4-FFF2-40B4-BE49-F238E27FC236}">
                <a16:creationId xmlns:a16="http://schemas.microsoft.com/office/drawing/2014/main" id="{E28F0A95-796C-D6E5-6D4D-C77B53E74574}"/>
              </a:ext>
            </a:extLst>
          </p:cNvPr>
          <p:cNvSpPr/>
          <p:nvPr userDrawn="1"/>
        </p:nvSpPr>
        <p:spPr>
          <a:xfrm>
            <a:off x="2854410" y="2723943"/>
            <a:ext cx="2298358" cy="920579"/>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mj-lt"/>
            </a:endParaRPr>
          </a:p>
        </p:txBody>
      </p:sp>
      <p:sp>
        <p:nvSpPr>
          <p:cNvPr id="19" name="Chevron 18">
            <a:extLst>
              <a:ext uri="{FF2B5EF4-FFF2-40B4-BE49-F238E27FC236}">
                <a16:creationId xmlns:a16="http://schemas.microsoft.com/office/drawing/2014/main" id="{31FD9D19-8C3F-8C8E-F8EA-35831550D5EE}"/>
              </a:ext>
            </a:extLst>
          </p:cNvPr>
          <p:cNvSpPr/>
          <p:nvPr userDrawn="1"/>
        </p:nvSpPr>
        <p:spPr>
          <a:xfrm>
            <a:off x="4946821" y="2723943"/>
            <a:ext cx="2298358" cy="920579"/>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mj-lt"/>
            </a:endParaRPr>
          </a:p>
        </p:txBody>
      </p:sp>
      <p:sp>
        <p:nvSpPr>
          <p:cNvPr id="20" name="Chevron 19">
            <a:extLst>
              <a:ext uri="{FF2B5EF4-FFF2-40B4-BE49-F238E27FC236}">
                <a16:creationId xmlns:a16="http://schemas.microsoft.com/office/drawing/2014/main" id="{AF30640F-5744-64B8-953B-6298D744F7A8}"/>
              </a:ext>
            </a:extLst>
          </p:cNvPr>
          <p:cNvSpPr/>
          <p:nvPr userDrawn="1"/>
        </p:nvSpPr>
        <p:spPr>
          <a:xfrm>
            <a:off x="7039231" y="2723943"/>
            <a:ext cx="2298358" cy="920579"/>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mj-lt"/>
            </a:endParaRPr>
          </a:p>
        </p:txBody>
      </p:sp>
      <p:sp>
        <p:nvSpPr>
          <p:cNvPr id="21" name="Chevron 20">
            <a:extLst>
              <a:ext uri="{FF2B5EF4-FFF2-40B4-BE49-F238E27FC236}">
                <a16:creationId xmlns:a16="http://schemas.microsoft.com/office/drawing/2014/main" id="{D87349C4-51D0-36DA-08D2-086F96E47DEC}"/>
              </a:ext>
            </a:extLst>
          </p:cNvPr>
          <p:cNvSpPr/>
          <p:nvPr userDrawn="1"/>
        </p:nvSpPr>
        <p:spPr>
          <a:xfrm>
            <a:off x="9131642" y="2723943"/>
            <a:ext cx="2298358" cy="920579"/>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mj-lt"/>
            </a:endParaRPr>
          </a:p>
        </p:txBody>
      </p:sp>
      <p:sp>
        <p:nvSpPr>
          <p:cNvPr id="46" name="Freeform 10">
            <a:extLst>
              <a:ext uri="{FF2B5EF4-FFF2-40B4-BE49-F238E27FC236}">
                <a16:creationId xmlns:a16="http://schemas.microsoft.com/office/drawing/2014/main" id="{69B80165-7E37-3933-81E2-F98B6F36D6F5}"/>
              </a:ext>
            </a:extLst>
          </p:cNvPr>
          <p:cNvSpPr>
            <a:spLocks noChangeAspect="1" noChangeArrowheads="1"/>
          </p:cNvSpPr>
          <p:nvPr userDrawn="1"/>
        </p:nvSpPr>
        <p:spPr bwMode="auto">
          <a:xfrm>
            <a:off x="3759119" y="2021235"/>
            <a:ext cx="488939" cy="488939"/>
          </a:xfrm>
          <a:custGeom>
            <a:avLst/>
            <a:gdLst>
              <a:gd name="T0" fmla="*/ 2147483646 w 810"/>
              <a:gd name="T1" fmla="*/ 2147483646 h 810"/>
              <a:gd name="T2" fmla="*/ 2147483646 w 810"/>
              <a:gd name="T3" fmla="*/ 2147483646 h 810"/>
              <a:gd name="T4" fmla="*/ 2147483646 w 810"/>
              <a:gd name="T5" fmla="*/ 2147483646 h 810"/>
              <a:gd name="T6" fmla="*/ 2147483646 w 810"/>
              <a:gd name="T7" fmla="*/ 2147483646 h 810"/>
              <a:gd name="T8" fmla="*/ 2147483646 w 810"/>
              <a:gd name="T9" fmla="*/ 2147483646 h 810"/>
              <a:gd name="T10" fmla="*/ 2147483646 w 810"/>
              <a:gd name="T11" fmla="*/ 2147483646 h 810"/>
              <a:gd name="T12" fmla="*/ 2147483646 w 810"/>
              <a:gd name="T13" fmla="*/ 2147483646 h 810"/>
              <a:gd name="T14" fmla="*/ 2147483646 w 810"/>
              <a:gd name="T15" fmla="*/ 2147483646 h 810"/>
              <a:gd name="T16" fmla="*/ 2147483646 w 810"/>
              <a:gd name="T17" fmla="*/ 2147483646 h 810"/>
              <a:gd name="T18" fmla="*/ 2147483646 w 810"/>
              <a:gd name="T19" fmla="*/ 2147483646 h 810"/>
              <a:gd name="T20" fmla="*/ 2147483646 w 810"/>
              <a:gd name="T21" fmla="*/ 2147483646 h 810"/>
              <a:gd name="T22" fmla="*/ 2147483646 w 810"/>
              <a:gd name="T23" fmla="*/ 2147483646 h 810"/>
              <a:gd name="T24" fmla="*/ 2147483646 w 810"/>
              <a:gd name="T25" fmla="*/ 2147483646 h 810"/>
              <a:gd name="T26" fmla="*/ 2147483646 w 810"/>
              <a:gd name="T27" fmla="*/ 2147483646 h 810"/>
              <a:gd name="T28" fmla="*/ 2147483646 w 810"/>
              <a:gd name="T29" fmla="*/ 2147483646 h 810"/>
              <a:gd name="T30" fmla="*/ 2147483646 w 810"/>
              <a:gd name="T31" fmla="*/ 2147483646 h 810"/>
              <a:gd name="T32" fmla="*/ 2147483646 w 810"/>
              <a:gd name="T33" fmla="*/ 2147483646 h 810"/>
              <a:gd name="T34" fmla="*/ 2147483646 w 810"/>
              <a:gd name="T35" fmla="*/ 2147483646 h 810"/>
              <a:gd name="T36" fmla="*/ 2147483646 w 810"/>
              <a:gd name="T37" fmla="*/ 2147483646 h 810"/>
              <a:gd name="T38" fmla="*/ 2147483646 w 810"/>
              <a:gd name="T39" fmla="*/ 2147483646 h 810"/>
              <a:gd name="T40" fmla="*/ 2147483646 w 810"/>
              <a:gd name="T41" fmla="*/ 2147483646 h 810"/>
              <a:gd name="T42" fmla="*/ 2147483646 w 810"/>
              <a:gd name="T43" fmla="*/ 2147483646 h 810"/>
              <a:gd name="T44" fmla="*/ 2147483646 w 810"/>
              <a:gd name="T45" fmla="*/ 2147483646 h 810"/>
              <a:gd name="T46" fmla="*/ 2147483646 w 810"/>
              <a:gd name="T47" fmla="*/ 2147483646 h 810"/>
              <a:gd name="T48" fmla="*/ 2147483646 w 810"/>
              <a:gd name="T49" fmla="*/ 2147483646 h 810"/>
              <a:gd name="T50" fmla="*/ 2147483646 w 810"/>
              <a:gd name="T51" fmla="*/ 2147483646 h 810"/>
              <a:gd name="T52" fmla="*/ 2147483646 w 810"/>
              <a:gd name="T53" fmla="*/ 2147483646 h 810"/>
              <a:gd name="T54" fmla="*/ 2147483646 w 810"/>
              <a:gd name="T55" fmla="*/ 2147483646 h 810"/>
              <a:gd name="T56" fmla="*/ 2147483646 w 810"/>
              <a:gd name="T57" fmla="*/ 2147483646 h 810"/>
              <a:gd name="T58" fmla="*/ 2147483646 w 810"/>
              <a:gd name="T59" fmla="*/ 2147483646 h 810"/>
              <a:gd name="T60" fmla="*/ 2147483646 w 810"/>
              <a:gd name="T61" fmla="*/ 2147483646 h 810"/>
              <a:gd name="T62" fmla="*/ 2147483646 w 810"/>
              <a:gd name="T63" fmla="*/ 2147483646 h 810"/>
              <a:gd name="T64" fmla="*/ 2147483646 w 810"/>
              <a:gd name="T65" fmla="*/ 2147483646 h 810"/>
              <a:gd name="T66" fmla="*/ 2147483646 w 810"/>
              <a:gd name="T67" fmla="*/ 2147483646 h 810"/>
              <a:gd name="T68" fmla="*/ 2147483646 w 810"/>
              <a:gd name="T69" fmla="*/ 2147483646 h 810"/>
              <a:gd name="T70" fmla="*/ 2147483646 w 810"/>
              <a:gd name="T71" fmla="*/ 2147483646 h 810"/>
              <a:gd name="T72" fmla="*/ 2147483646 w 810"/>
              <a:gd name="T73" fmla="*/ 2147483646 h 810"/>
              <a:gd name="T74" fmla="*/ 2147483646 w 810"/>
              <a:gd name="T75" fmla="*/ 2147483646 h 810"/>
              <a:gd name="T76" fmla="*/ 2147483646 w 810"/>
              <a:gd name="T77" fmla="*/ 2147483646 h 810"/>
              <a:gd name="T78" fmla="*/ 2147483646 w 810"/>
              <a:gd name="T79" fmla="*/ 2147483646 h 810"/>
              <a:gd name="T80" fmla="*/ 2147483646 w 810"/>
              <a:gd name="T81" fmla="*/ 2147483646 h 810"/>
              <a:gd name="T82" fmla="*/ 2147483646 w 810"/>
              <a:gd name="T83" fmla="*/ 2147483646 h 810"/>
              <a:gd name="T84" fmla="*/ 2147483646 w 810"/>
              <a:gd name="T85" fmla="*/ 2147483646 h 810"/>
              <a:gd name="T86" fmla="*/ 2147483646 w 810"/>
              <a:gd name="T87" fmla="*/ 2147483646 h 810"/>
              <a:gd name="T88" fmla="*/ 2147483646 w 810"/>
              <a:gd name="T89" fmla="*/ 2147483646 h 810"/>
              <a:gd name="T90" fmla="*/ 2147483646 w 810"/>
              <a:gd name="T91" fmla="*/ 2147483646 h 810"/>
              <a:gd name="T92" fmla="*/ 2147483646 w 810"/>
              <a:gd name="T93" fmla="*/ 2147483646 h 810"/>
              <a:gd name="T94" fmla="*/ 2147483646 w 810"/>
              <a:gd name="T95" fmla="*/ 2147483646 h 810"/>
              <a:gd name="T96" fmla="*/ 2147483646 w 810"/>
              <a:gd name="T97" fmla="*/ 2147483646 h 810"/>
              <a:gd name="T98" fmla="*/ 2147483646 w 810"/>
              <a:gd name="T99" fmla="*/ 2147483646 h 810"/>
              <a:gd name="T100" fmla="*/ 2147483646 w 810"/>
              <a:gd name="T101" fmla="*/ 2147483646 h 810"/>
              <a:gd name="T102" fmla="*/ 2147483646 w 810"/>
              <a:gd name="T103" fmla="*/ 2147483646 h 810"/>
              <a:gd name="T104" fmla="*/ 2147483646 w 810"/>
              <a:gd name="T105" fmla="*/ 2147483646 h 810"/>
              <a:gd name="T106" fmla="*/ 2147483646 w 810"/>
              <a:gd name="T107" fmla="*/ 0 h 810"/>
              <a:gd name="T108" fmla="*/ 2147483646 w 810"/>
              <a:gd name="T109" fmla="*/ 0 h 810"/>
              <a:gd name="T110" fmla="*/ 2147483646 w 810"/>
              <a:gd name="T111" fmla="*/ 2147483646 h 810"/>
              <a:gd name="T112" fmla="*/ 2147483646 w 810"/>
              <a:gd name="T113" fmla="*/ 2147483646 h 810"/>
              <a:gd name="T114" fmla="*/ 2147483646 w 810"/>
              <a:gd name="T115" fmla="*/ 2147483646 h 810"/>
              <a:gd name="T116" fmla="*/ 0 w 810"/>
              <a:gd name="T117" fmla="*/ 2147483646 h 810"/>
              <a:gd name="T118" fmla="*/ 2147483646 w 810"/>
              <a:gd name="T119" fmla="*/ 2147483646 h 810"/>
              <a:gd name="T120" fmla="*/ 2147483646 w 810"/>
              <a:gd name="T121" fmla="*/ 2147483646 h 810"/>
              <a:gd name="T122" fmla="*/ 2147483646 w 810"/>
              <a:gd name="T123" fmla="*/ 2147483646 h 810"/>
              <a:gd name="T124" fmla="*/ 2147483646 w 810"/>
              <a:gd name="T125" fmla="*/ 2147483646 h 8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10" h="810">
                <a:moveTo>
                  <a:pt x="784" y="654"/>
                </a:moveTo>
                <a:lnTo>
                  <a:pt x="784" y="654"/>
                </a:lnTo>
                <a:cubicBezTo>
                  <a:pt x="715" y="660"/>
                  <a:pt x="660" y="715"/>
                  <a:pt x="654" y="784"/>
                </a:cubicBezTo>
                <a:lnTo>
                  <a:pt x="155" y="784"/>
                </a:lnTo>
                <a:cubicBezTo>
                  <a:pt x="149" y="715"/>
                  <a:pt x="94" y="660"/>
                  <a:pt x="25" y="654"/>
                </a:cubicBezTo>
                <a:lnTo>
                  <a:pt x="25" y="243"/>
                </a:lnTo>
                <a:lnTo>
                  <a:pt x="78" y="401"/>
                </a:lnTo>
                <a:cubicBezTo>
                  <a:pt x="91" y="440"/>
                  <a:pt x="126" y="465"/>
                  <a:pt x="166" y="465"/>
                </a:cubicBezTo>
                <a:lnTo>
                  <a:pt x="180" y="465"/>
                </a:lnTo>
                <a:lnTo>
                  <a:pt x="180" y="478"/>
                </a:lnTo>
                <a:cubicBezTo>
                  <a:pt x="180" y="512"/>
                  <a:pt x="207" y="540"/>
                  <a:pt x="241" y="540"/>
                </a:cubicBezTo>
                <a:cubicBezTo>
                  <a:pt x="275" y="540"/>
                  <a:pt x="302" y="512"/>
                  <a:pt x="302" y="478"/>
                </a:cubicBezTo>
                <a:lnTo>
                  <a:pt x="302" y="465"/>
                </a:lnTo>
                <a:lnTo>
                  <a:pt x="506" y="465"/>
                </a:lnTo>
                <a:lnTo>
                  <a:pt x="506" y="478"/>
                </a:lnTo>
                <a:cubicBezTo>
                  <a:pt x="506" y="512"/>
                  <a:pt x="534" y="540"/>
                  <a:pt x="568" y="540"/>
                </a:cubicBezTo>
                <a:cubicBezTo>
                  <a:pt x="602" y="540"/>
                  <a:pt x="629" y="512"/>
                  <a:pt x="629" y="478"/>
                </a:cubicBezTo>
                <a:lnTo>
                  <a:pt x="629" y="465"/>
                </a:lnTo>
                <a:lnTo>
                  <a:pt x="642" y="465"/>
                </a:lnTo>
                <a:cubicBezTo>
                  <a:pt x="683" y="465"/>
                  <a:pt x="718" y="440"/>
                  <a:pt x="731" y="401"/>
                </a:cubicBezTo>
                <a:lnTo>
                  <a:pt x="784" y="243"/>
                </a:lnTo>
                <a:lnTo>
                  <a:pt x="784" y="654"/>
                </a:lnTo>
                <a:close/>
                <a:moveTo>
                  <a:pt x="784" y="747"/>
                </a:moveTo>
                <a:lnTo>
                  <a:pt x="784" y="747"/>
                </a:lnTo>
                <a:cubicBezTo>
                  <a:pt x="784" y="768"/>
                  <a:pt x="768" y="784"/>
                  <a:pt x="748" y="784"/>
                </a:cubicBezTo>
                <a:lnTo>
                  <a:pt x="679" y="784"/>
                </a:lnTo>
                <a:cubicBezTo>
                  <a:pt x="684" y="729"/>
                  <a:pt x="729" y="684"/>
                  <a:pt x="784" y="679"/>
                </a:cubicBezTo>
                <a:lnTo>
                  <a:pt x="784" y="747"/>
                </a:lnTo>
                <a:close/>
                <a:moveTo>
                  <a:pt x="61" y="784"/>
                </a:moveTo>
                <a:lnTo>
                  <a:pt x="61" y="784"/>
                </a:lnTo>
                <a:cubicBezTo>
                  <a:pt x="41" y="784"/>
                  <a:pt x="25" y="768"/>
                  <a:pt x="25" y="747"/>
                </a:cubicBezTo>
                <a:lnTo>
                  <a:pt x="25" y="679"/>
                </a:lnTo>
                <a:cubicBezTo>
                  <a:pt x="80" y="684"/>
                  <a:pt x="125" y="729"/>
                  <a:pt x="130" y="784"/>
                </a:cubicBezTo>
                <a:lnTo>
                  <a:pt x="61" y="784"/>
                </a:lnTo>
                <a:close/>
                <a:moveTo>
                  <a:pt x="278" y="425"/>
                </a:moveTo>
                <a:lnTo>
                  <a:pt x="278" y="478"/>
                </a:lnTo>
                <a:cubicBezTo>
                  <a:pt x="278" y="498"/>
                  <a:pt x="261" y="515"/>
                  <a:pt x="241" y="515"/>
                </a:cubicBezTo>
                <a:cubicBezTo>
                  <a:pt x="221" y="515"/>
                  <a:pt x="205" y="498"/>
                  <a:pt x="205" y="478"/>
                </a:cubicBezTo>
                <a:lnTo>
                  <a:pt x="205" y="425"/>
                </a:lnTo>
                <a:lnTo>
                  <a:pt x="278" y="425"/>
                </a:lnTo>
                <a:close/>
                <a:moveTo>
                  <a:pt x="604" y="425"/>
                </a:moveTo>
                <a:lnTo>
                  <a:pt x="604" y="478"/>
                </a:lnTo>
                <a:cubicBezTo>
                  <a:pt x="604" y="498"/>
                  <a:pt x="588" y="515"/>
                  <a:pt x="568" y="515"/>
                </a:cubicBezTo>
                <a:cubicBezTo>
                  <a:pt x="548" y="515"/>
                  <a:pt x="531" y="498"/>
                  <a:pt x="531" y="478"/>
                </a:cubicBezTo>
                <a:lnTo>
                  <a:pt x="531" y="425"/>
                </a:lnTo>
                <a:lnTo>
                  <a:pt x="604" y="425"/>
                </a:lnTo>
                <a:close/>
                <a:moveTo>
                  <a:pt x="32" y="138"/>
                </a:moveTo>
                <a:lnTo>
                  <a:pt x="32" y="138"/>
                </a:lnTo>
                <a:cubicBezTo>
                  <a:pt x="38" y="128"/>
                  <a:pt x="49" y="123"/>
                  <a:pt x="61" y="123"/>
                </a:cubicBezTo>
                <a:lnTo>
                  <a:pt x="747" y="123"/>
                </a:lnTo>
                <a:cubicBezTo>
                  <a:pt x="760" y="123"/>
                  <a:pt x="770" y="128"/>
                  <a:pt x="777" y="138"/>
                </a:cubicBezTo>
                <a:cubicBezTo>
                  <a:pt x="784" y="148"/>
                  <a:pt x="786" y="159"/>
                  <a:pt x="783" y="171"/>
                </a:cubicBezTo>
                <a:lnTo>
                  <a:pt x="708" y="394"/>
                </a:lnTo>
                <a:cubicBezTo>
                  <a:pt x="698" y="422"/>
                  <a:pt x="672" y="441"/>
                  <a:pt x="642" y="441"/>
                </a:cubicBezTo>
                <a:lnTo>
                  <a:pt x="629" y="441"/>
                </a:lnTo>
                <a:lnTo>
                  <a:pt x="629" y="412"/>
                </a:lnTo>
                <a:cubicBezTo>
                  <a:pt x="629" y="406"/>
                  <a:pt x="624" y="400"/>
                  <a:pt x="617" y="400"/>
                </a:cubicBezTo>
                <a:lnTo>
                  <a:pt x="519" y="400"/>
                </a:lnTo>
                <a:cubicBezTo>
                  <a:pt x="512" y="400"/>
                  <a:pt x="506" y="406"/>
                  <a:pt x="506" y="412"/>
                </a:cubicBezTo>
                <a:lnTo>
                  <a:pt x="506" y="441"/>
                </a:lnTo>
                <a:lnTo>
                  <a:pt x="302" y="441"/>
                </a:lnTo>
                <a:lnTo>
                  <a:pt x="302" y="412"/>
                </a:lnTo>
                <a:cubicBezTo>
                  <a:pt x="302" y="406"/>
                  <a:pt x="297" y="400"/>
                  <a:pt x="290" y="400"/>
                </a:cubicBezTo>
                <a:lnTo>
                  <a:pt x="192" y="400"/>
                </a:lnTo>
                <a:cubicBezTo>
                  <a:pt x="185" y="400"/>
                  <a:pt x="180" y="406"/>
                  <a:pt x="180" y="412"/>
                </a:cubicBezTo>
                <a:lnTo>
                  <a:pt x="180" y="441"/>
                </a:lnTo>
                <a:lnTo>
                  <a:pt x="166" y="441"/>
                </a:lnTo>
                <a:cubicBezTo>
                  <a:pt x="137" y="441"/>
                  <a:pt x="110" y="422"/>
                  <a:pt x="101" y="394"/>
                </a:cubicBezTo>
                <a:lnTo>
                  <a:pt x="27" y="171"/>
                </a:lnTo>
                <a:cubicBezTo>
                  <a:pt x="23" y="159"/>
                  <a:pt x="25" y="148"/>
                  <a:pt x="32" y="138"/>
                </a:cubicBezTo>
                <a:close/>
                <a:moveTo>
                  <a:pt x="253" y="78"/>
                </a:moveTo>
                <a:lnTo>
                  <a:pt x="253" y="78"/>
                </a:lnTo>
                <a:cubicBezTo>
                  <a:pt x="253" y="48"/>
                  <a:pt x="277" y="24"/>
                  <a:pt x="306" y="24"/>
                </a:cubicBezTo>
                <a:lnTo>
                  <a:pt x="502" y="24"/>
                </a:lnTo>
                <a:cubicBezTo>
                  <a:pt x="532" y="24"/>
                  <a:pt x="556" y="48"/>
                  <a:pt x="556" y="78"/>
                </a:cubicBezTo>
                <a:lnTo>
                  <a:pt x="556" y="98"/>
                </a:lnTo>
                <a:lnTo>
                  <a:pt x="253" y="98"/>
                </a:lnTo>
                <a:lnTo>
                  <a:pt x="253" y="78"/>
                </a:lnTo>
                <a:close/>
                <a:moveTo>
                  <a:pt x="797" y="124"/>
                </a:moveTo>
                <a:lnTo>
                  <a:pt x="797" y="124"/>
                </a:lnTo>
                <a:cubicBezTo>
                  <a:pt x="785" y="107"/>
                  <a:pt x="767" y="98"/>
                  <a:pt x="747" y="98"/>
                </a:cubicBezTo>
                <a:lnTo>
                  <a:pt x="580" y="98"/>
                </a:lnTo>
                <a:lnTo>
                  <a:pt x="580" y="78"/>
                </a:lnTo>
                <a:cubicBezTo>
                  <a:pt x="580" y="35"/>
                  <a:pt x="545" y="0"/>
                  <a:pt x="502" y="0"/>
                </a:cubicBezTo>
                <a:lnTo>
                  <a:pt x="306" y="0"/>
                </a:lnTo>
                <a:cubicBezTo>
                  <a:pt x="264" y="0"/>
                  <a:pt x="229" y="35"/>
                  <a:pt x="229" y="78"/>
                </a:cubicBezTo>
                <a:lnTo>
                  <a:pt x="229" y="98"/>
                </a:lnTo>
                <a:lnTo>
                  <a:pt x="61" y="98"/>
                </a:lnTo>
                <a:cubicBezTo>
                  <a:pt x="41" y="98"/>
                  <a:pt x="24" y="107"/>
                  <a:pt x="12" y="124"/>
                </a:cubicBezTo>
                <a:cubicBezTo>
                  <a:pt x="4" y="135"/>
                  <a:pt x="0" y="148"/>
                  <a:pt x="0" y="161"/>
                </a:cubicBezTo>
                <a:lnTo>
                  <a:pt x="0" y="747"/>
                </a:lnTo>
                <a:cubicBezTo>
                  <a:pt x="0" y="782"/>
                  <a:pt x="28" y="809"/>
                  <a:pt x="61" y="809"/>
                </a:cubicBezTo>
                <a:lnTo>
                  <a:pt x="748" y="809"/>
                </a:lnTo>
                <a:cubicBezTo>
                  <a:pt x="781" y="809"/>
                  <a:pt x="809" y="782"/>
                  <a:pt x="809" y="747"/>
                </a:cubicBezTo>
                <a:lnTo>
                  <a:pt x="809" y="161"/>
                </a:lnTo>
                <a:cubicBezTo>
                  <a:pt x="809" y="148"/>
                  <a:pt x="805" y="135"/>
                  <a:pt x="797" y="124"/>
                </a:cubicBezTo>
                <a:close/>
              </a:path>
            </a:pathLst>
          </a:custGeom>
          <a:solidFill>
            <a:schemeClr val="accent2"/>
          </a:solidFill>
          <a:ln>
            <a:noFill/>
          </a:ln>
          <a:effectLst/>
        </p:spPr>
        <p:txBody>
          <a:bodyPr wrap="none" anchor="ctr"/>
          <a:lstStyle/>
          <a:p>
            <a:endParaRPr lang="en-US" sz="900">
              <a:latin typeface="+mj-lt"/>
            </a:endParaRPr>
          </a:p>
        </p:txBody>
      </p:sp>
      <p:sp>
        <p:nvSpPr>
          <p:cNvPr id="52" name="Freeform 11">
            <a:extLst>
              <a:ext uri="{FF2B5EF4-FFF2-40B4-BE49-F238E27FC236}">
                <a16:creationId xmlns:a16="http://schemas.microsoft.com/office/drawing/2014/main" id="{AF0C7B16-3D25-D798-37D6-96AEF5E2116A}"/>
              </a:ext>
            </a:extLst>
          </p:cNvPr>
          <p:cNvSpPr>
            <a:spLocks noChangeAspect="1" noChangeArrowheads="1"/>
          </p:cNvSpPr>
          <p:nvPr userDrawn="1"/>
        </p:nvSpPr>
        <p:spPr bwMode="auto">
          <a:xfrm>
            <a:off x="10096371" y="2021234"/>
            <a:ext cx="368900" cy="488940"/>
          </a:xfrm>
          <a:custGeom>
            <a:avLst/>
            <a:gdLst>
              <a:gd name="T0" fmla="*/ 2147483646 w 614"/>
              <a:gd name="T1" fmla="*/ 2147483646 h 810"/>
              <a:gd name="T2" fmla="*/ 2147483646 w 614"/>
              <a:gd name="T3" fmla="*/ 2147483646 h 810"/>
              <a:gd name="T4" fmla="*/ 2147483646 w 614"/>
              <a:gd name="T5" fmla="*/ 2147483646 h 810"/>
              <a:gd name="T6" fmla="*/ 2147483646 w 614"/>
              <a:gd name="T7" fmla="*/ 2147483646 h 810"/>
              <a:gd name="T8" fmla="*/ 2147483646 w 614"/>
              <a:gd name="T9" fmla="*/ 2147483646 h 810"/>
              <a:gd name="T10" fmla="*/ 2147483646 w 614"/>
              <a:gd name="T11" fmla="*/ 2147483646 h 810"/>
              <a:gd name="T12" fmla="*/ 2147483646 w 614"/>
              <a:gd name="T13" fmla="*/ 2147483646 h 810"/>
              <a:gd name="T14" fmla="*/ 2147483646 w 614"/>
              <a:gd name="T15" fmla="*/ 2147483646 h 810"/>
              <a:gd name="T16" fmla="*/ 2147483646 w 614"/>
              <a:gd name="T17" fmla="*/ 2147483646 h 810"/>
              <a:gd name="T18" fmla="*/ 2147483646 w 614"/>
              <a:gd name="T19" fmla="*/ 2147483646 h 810"/>
              <a:gd name="T20" fmla="*/ 2147483646 w 614"/>
              <a:gd name="T21" fmla="*/ 2147483646 h 810"/>
              <a:gd name="T22" fmla="*/ 2147483646 w 614"/>
              <a:gd name="T23" fmla="*/ 2147483646 h 810"/>
              <a:gd name="T24" fmla="*/ 2147483646 w 614"/>
              <a:gd name="T25" fmla="*/ 2147483646 h 810"/>
              <a:gd name="T26" fmla="*/ 2147483646 w 614"/>
              <a:gd name="T27" fmla="*/ 2147483646 h 810"/>
              <a:gd name="T28" fmla="*/ 2147483646 w 614"/>
              <a:gd name="T29" fmla="*/ 2147483646 h 810"/>
              <a:gd name="T30" fmla="*/ 2147483646 w 614"/>
              <a:gd name="T31" fmla="*/ 2147483646 h 810"/>
              <a:gd name="T32" fmla="*/ 2147483646 w 614"/>
              <a:gd name="T33" fmla="*/ 2147483646 h 810"/>
              <a:gd name="T34" fmla="*/ 2147483646 w 614"/>
              <a:gd name="T35" fmla="*/ 2147483646 h 810"/>
              <a:gd name="T36" fmla="*/ 2147483646 w 614"/>
              <a:gd name="T37" fmla="*/ 2147483646 h 810"/>
              <a:gd name="T38" fmla="*/ 2147483646 w 614"/>
              <a:gd name="T39" fmla="*/ 2147483646 h 810"/>
              <a:gd name="T40" fmla="*/ 2147483646 w 614"/>
              <a:gd name="T41" fmla="*/ 2147483646 h 810"/>
              <a:gd name="T42" fmla="*/ 2147483646 w 614"/>
              <a:gd name="T43" fmla="*/ 2147483646 h 810"/>
              <a:gd name="T44" fmla="*/ 2147483646 w 614"/>
              <a:gd name="T45" fmla="*/ 2147483646 h 810"/>
              <a:gd name="T46" fmla="*/ 2147483646 w 614"/>
              <a:gd name="T47" fmla="*/ 2147483646 h 810"/>
              <a:gd name="T48" fmla="*/ 2147483646 w 614"/>
              <a:gd name="T49" fmla="*/ 2147483646 h 810"/>
              <a:gd name="T50" fmla="*/ 2147483646 w 614"/>
              <a:gd name="T51" fmla="*/ 2147483646 h 810"/>
              <a:gd name="T52" fmla="*/ 2147483646 w 614"/>
              <a:gd name="T53" fmla="*/ 2147483646 h 810"/>
              <a:gd name="T54" fmla="*/ 2147483646 w 614"/>
              <a:gd name="T55" fmla="*/ 2147483646 h 810"/>
              <a:gd name="T56" fmla="*/ 2147483646 w 614"/>
              <a:gd name="T57" fmla="*/ 2147483646 h 810"/>
              <a:gd name="T58" fmla="*/ 2147483646 w 614"/>
              <a:gd name="T59" fmla="*/ 2147483646 h 810"/>
              <a:gd name="T60" fmla="*/ 2147483646 w 614"/>
              <a:gd name="T61" fmla="*/ 2147483646 h 810"/>
              <a:gd name="T62" fmla="*/ 2147483646 w 614"/>
              <a:gd name="T63" fmla="*/ 2147483646 h 810"/>
              <a:gd name="T64" fmla="*/ 2147483646 w 614"/>
              <a:gd name="T65" fmla="*/ 2147483646 h 810"/>
              <a:gd name="T66" fmla="*/ 2147483646 w 614"/>
              <a:gd name="T67" fmla="*/ 2147483646 h 810"/>
              <a:gd name="T68" fmla="*/ 2147483646 w 614"/>
              <a:gd name="T69" fmla="*/ 2147483646 h 810"/>
              <a:gd name="T70" fmla="*/ 2147483646 w 614"/>
              <a:gd name="T71" fmla="*/ 2147483646 h 810"/>
              <a:gd name="T72" fmla="*/ 2147483646 w 614"/>
              <a:gd name="T73" fmla="*/ 2147483646 h 810"/>
              <a:gd name="T74" fmla="*/ 2147483646 w 614"/>
              <a:gd name="T75" fmla="*/ 2147483646 h 810"/>
              <a:gd name="T76" fmla="*/ 2147483646 w 614"/>
              <a:gd name="T77" fmla="*/ 2147483646 h 810"/>
              <a:gd name="T78" fmla="*/ 2147483646 w 614"/>
              <a:gd name="T79" fmla="*/ 2147483646 h 810"/>
              <a:gd name="T80" fmla="*/ 2147483646 w 614"/>
              <a:gd name="T81" fmla="*/ 2147483646 h 810"/>
              <a:gd name="T82" fmla="*/ 2147483646 w 614"/>
              <a:gd name="T83" fmla="*/ 2147483646 h 810"/>
              <a:gd name="T84" fmla="*/ 2147483646 w 614"/>
              <a:gd name="T85" fmla="*/ 2147483646 h 810"/>
              <a:gd name="T86" fmla="*/ 2147483646 w 614"/>
              <a:gd name="T87" fmla="*/ 0 h 810"/>
              <a:gd name="T88" fmla="*/ 2147483646 w 614"/>
              <a:gd name="T89" fmla="*/ 2147483646 h 810"/>
              <a:gd name="T90" fmla="*/ 2147483646 w 614"/>
              <a:gd name="T91" fmla="*/ 2147483646 h 810"/>
              <a:gd name="T92" fmla="*/ 2147483646 w 614"/>
              <a:gd name="T93" fmla="*/ 2147483646 h 810"/>
              <a:gd name="T94" fmla="*/ 2147483646 w 614"/>
              <a:gd name="T95" fmla="*/ 2147483646 h 810"/>
              <a:gd name="T96" fmla="*/ 2147483646 w 614"/>
              <a:gd name="T97" fmla="*/ 2147483646 h 810"/>
              <a:gd name="T98" fmla="*/ 2147483646 w 614"/>
              <a:gd name="T99" fmla="*/ 2147483646 h 8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14" h="810">
                <a:moveTo>
                  <a:pt x="507" y="505"/>
                </a:moveTo>
                <a:lnTo>
                  <a:pt x="507" y="505"/>
                </a:lnTo>
                <a:cubicBezTo>
                  <a:pt x="485" y="527"/>
                  <a:pt x="470" y="553"/>
                  <a:pt x="462" y="582"/>
                </a:cubicBezTo>
                <a:lnTo>
                  <a:pt x="318" y="582"/>
                </a:lnTo>
                <a:lnTo>
                  <a:pt x="318" y="495"/>
                </a:lnTo>
                <a:cubicBezTo>
                  <a:pt x="327" y="500"/>
                  <a:pt x="337" y="502"/>
                  <a:pt x="348" y="502"/>
                </a:cubicBezTo>
                <a:cubicBezTo>
                  <a:pt x="368" y="502"/>
                  <a:pt x="387" y="494"/>
                  <a:pt x="400" y="478"/>
                </a:cubicBezTo>
                <a:cubicBezTo>
                  <a:pt x="412" y="463"/>
                  <a:pt x="418" y="443"/>
                  <a:pt x="414" y="423"/>
                </a:cubicBezTo>
                <a:cubicBezTo>
                  <a:pt x="409" y="396"/>
                  <a:pt x="387" y="373"/>
                  <a:pt x="359" y="369"/>
                </a:cubicBezTo>
                <a:cubicBezTo>
                  <a:pt x="344" y="366"/>
                  <a:pt x="330" y="369"/>
                  <a:pt x="318" y="375"/>
                </a:cubicBezTo>
                <a:lnTo>
                  <a:pt x="318" y="319"/>
                </a:lnTo>
                <a:lnTo>
                  <a:pt x="435" y="319"/>
                </a:lnTo>
                <a:cubicBezTo>
                  <a:pt x="439" y="319"/>
                  <a:pt x="442" y="317"/>
                  <a:pt x="445" y="314"/>
                </a:cubicBezTo>
                <a:cubicBezTo>
                  <a:pt x="447" y="311"/>
                  <a:pt x="448" y="307"/>
                  <a:pt x="447" y="303"/>
                </a:cubicBezTo>
                <a:cubicBezTo>
                  <a:pt x="447" y="301"/>
                  <a:pt x="445" y="299"/>
                  <a:pt x="443" y="297"/>
                </a:cubicBezTo>
                <a:cubicBezTo>
                  <a:pt x="432" y="287"/>
                  <a:pt x="427" y="274"/>
                  <a:pt x="428" y="260"/>
                </a:cubicBezTo>
                <a:cubicBezTo>
                  <a:pt x="430" y="240"/>
                  <a:pt x="447" y="224"/>
                  <a:pt x="466" y="222"/>
                </a:cubicBezTo>
                <a:cubicBezTo>
                  <a:pt x="478" y="220"/>
                  <a:pt x="490" y="224"/>
                  <a:pt x="499" y="232"/>
                </a:cubicBezTo>
                <a:cubicBezTo>
                  <a:pt x="508" y="240"/>
                  <a:pt x="513" y="252"/>
                  <a:pt x="513" y="264"/>
                </a:cubicBezTo>
                <a:cubicBezTo>
                  <a:pt x="513" y="277"/>
                  <a:pt x="508" y="289"/>
                  <a:pt x="498" y="297"/>
                </a:cubicBezTo>
                <a:cubicBezTo>
                  <a:pt x="494" y="300"/>
                  <a:pt x="493" y="306"/>
                  <a:pt x="495" y="310"/>
                </a:cubicBezTo>
                <a:cubicBezTo>
                  <a:pt x="497" y="316"/>
                  <a:pt x="501" y="319"/>
                  <a:pt x="506" y="319"/>
                </a:cubicBezTo>
                <a:lnTo>
                  <a:pt x="588" y="319"/>
                </a:lnTo>
                <a:cubicBezTo>
                  <a:pt x="584" y="389"/>
                  <a:pt x="556" y="454"/>
                  <a:pt x="507" y="505"/>
                </a:cubicBezTo>
                <a:close/>
                <a:moveTo>
                  <a:pt x="457" y="628"/>
                </a:moveTo>
                <a:lnTo>
                  <a:pt x="457" y="712"/>
                </a:lnTo>
                <a:cubicBezTo>
                  <a:pt x="457" y="714"/>
                  <a:pt x="455" y="716"/>
                  <a:pt x="452" y="716"/>
                </a:cubicBezTo>
                <a:lnTo>
                  <a:pt x="158" y="716"/>
                </a:lnTo>
                <a:cubicBezTo>
                  <a:pt x="156" y="716"/>
                  <a:pt x="154" y="714"/>
                  <a:pt x="154" y="712"/>
                </a:cubicBezTo>
                <a:lnTo>
                  <a:pt x="154" y="674"/>
                </a:lnTo>
                <a:lnTo>
                  <a:pt x="404" y="674"/>
                </a:lnTo>
                <a:cubicBezTo>
                  <a:pt x="410" y="674"/>
                  <a:pt x="416" y="669"/>
                  <a:pt x="416" y="662"/>
                </a:cubicBezTo>
                <a:cubicBezTo>
                  <a:pt x="416" y="655"/>
                  <a:pt x="410" y="650"/>
                  <a:pt x="404" y="650"/>
                </a:cubicBezTo>
                <a:lnTo>
                  <a:pt x="154" y="650"/>
                </a:lnTo>
                <a:lnTo>
                  <a:pt x="154" y="625"/>
                </a:lnTo>
                <a:cubicBezTo>
                  <a:pt x="154" y="619"/>
                  <a:pt x="154" y="613"/>
                  <a:pt x="154" y="607"/>
                </a:cubicBezTo>
                <a:lnTo>
                  <a:pt x="458" y="607"/>
                </a:lnTo>
                <a:cubicBezTo>
                  <a:pt x="457" y="614"/>
                  <a:pt x="457" y="621"/>
                  <a:pt x="457" y="628"/>
                </a:cubicBezTo>
                <a:lnTo>
                  <a:pt x="368" y="784"/>
                </a:lnTo>
                <a:lnTo>
                  <a:pt x="243" y="784"/>
                </a:lnTo>
                <a:cubicBezTo>
                  <a:pt x="216" y="784"/>
                  <a:pt x="194" y="765"/>
                  <a:pt x="188" y="740"/>
                </a:cubicBezTo>
                <a:lnTo>
                  <a:pt x="422" y="740"/>
                </a:lnTo>
                <a:cubicBezTo>
                  <a:pt x="417" y="765"/>
                  <a:pt x="394" y="784"/>
                  <a:pt x="368" y="784"/>
                </a:cubicBezTo>
                <a:lnTo>
                  <a:pt x="457" y="628"/>
                </a:lnTo>
                <a:close/>
                <a:moveTo>
                  <a:pt x="105" y="503"/>
                </a:moveTo>
                <a:lnTo>
                  <a:pt x="105" y="503"/>
                </a:lnTo>
                <a:cubicBezTo>
                  <a:pt x="56" y="453"/>
                  <a:pt x="28" y="388"/>
                  <a:pt x="25" y="319"/>
                </a:cubicBezTo>
                <a:lnTo>
                  <a:pt x="141" y="319"/>
                </a:lnTo>
                <a:cubicBezTo>
                  <a:pt x="148" y="319"/>
                  <a:pt x="153" y="314"/>
                  <a:pt x="154" y="308"/>
                </a:cubicBezTo>
                <a:cubicBezTo>
                  <a:pt x="154" y="304"/>
                  <a:pt x="152" y="300"/>
                  <a:pt x="149" y="297"/>
                </a:cubicBezTo>
                <a:cubicBezTo>
                  <a:pt x="138" y="287"/>
                  <a:pt x="132" y="272"/>
                  <a:pt x="135" y="257"/>
                </a:cubicBezTo>
                <a:cubicBezTo>
                  <a:pt x="137" y="239"/>
                  <a:pt x="152" y="225"/>
                  <a:pt x="169" y="222"/>
                </a:cubicBezTo>
                <a:cubicBezTo>
                  <a:pt x="182" y="219"/>
                  <a:pt x="195" y="223"/>
                  <a:pt x="204" y="231"/>
                </a:cubicBezTo>
                <a:cubicBezTo>
                  <a:pt x="214" y="239"/>
                  <a:pt x="220" y="252"/>
                  <a:pt x="220" y="264"/>
                </a:cubicBezTo>
                <a:cubicBezTo>
                  <a:pt x="220" y="277"/>
                  <a:pt x="214" y="289"/>
                  <a:pt x="204" y="297"/>
                </a:cubicBezTo>
                <a:cubicBezTo>
                  <a:pt x="200" y="300"/>
                  <a:pt x="199" y="306"/>
                  <a:pt x="200" y="310"/>
                </a:cubicBezTo>
                <a:cubicBezTo>
                  <a:pt x="202" y="316"/>
                  <a:pt x="207" y="319"/>
                  <a:pt x="212" y="319"/>
                </a:cubicBezTo>
                <a:lnTo>
                  <a:pt x="293" y="319"/>
                </a:lnTo>
                <a:lnTo>
                  <a:pt x="293" y="400"/>
                </a:lnTo>
                <a:cubicBezTo>
                  <a:pt x="293" y="403"/>
                  <a:pt x="295" y="406"/>
                  <a:pt x="297" y="409"/>
                </a:cubicBezTo>
                <a:cubicBezTo>
                  <a:pt x="300" y="411"/>
                  <a:pt x="303" y="412"/>
                  <a:pt x="306" y="412"/>
                </a:cubicBezTo>
                <a:cubicBezTo>
                  <a:pt x="310" y="411"/>
                  <a:pt x="313" y="410"/>
                  <a:pt x="315" y="407"/>
                </a:cubicBezTo>
                <a:cubicBezTo>
                  <a:pt x="325" y="396"/>
                  <a:pt x="340" y="390"/>
                  <a:pt x="355" y="393"/>
                </a:cubicBezTo>
                <a:cubicBezTo>
                  <a:pt x="373" y="396"/>
                  <a:pt x="387" y="410"/>
                  <a:pt x="390" y="427"/>
                </a:cubicBezTo>
                <a:cubicBezTo>
                  <a:pt x="392" y="440"/>
                  <a:pt x="389" y="452"/>
                  <a:pt x="381" y="462"/>
                </a:cubicBezTo>
                <a:cubicBezTo>
                  <a:pt x="364" y="482"/>
                  <a:pt x="331" y="482"/>
                  <a:pt x="315" y="462"/>
                </a:cubicBezTo>
                <a:cubicBezTo>
                  <a:pt x="311" y="458"/>
                  <a:pt x="306" y="457"/>
                  <a:pt x="301" y="459"/>
                </a:cubicBezTo>
                <a:cubicBezTo>
                  <a:pt x="296" y="461"/>
                  <a:pt x="293" y="465"/>
                  <a:pt x="293" y="470"/>
                </a:cubicBezTo>
                <a:lnTo>
                  <a:pt x="293" y="582"/>
                </a:lnTo>
                <a:lnTo>
                  <a:pt x="149" y="582"/>
                </a:lnTo>
                <a:cubicBezTo>
                  <a:pt x="142" y="553"/>
                  <a:pt x="126" y="525"/>
                  <a:pt x="105" y="503"/>
                </a:cubicBezTo>
                <a:lnTo>
                  <a:pt x="293" y="25"/>
                </a:lnTo>
                <a:lnTo>
                  <a:pt x="293" y="105"/>
                </a:lnTo>
                <a:cubicBezTo>
                  <a:pt x="293" y="110"/>
                  <a:pt x="296" y="114"/>
                  <a:pt x="299" y="116"/>
                </a:cubicBezTo>
                <a:cubicBezTo>
                  <a:pt x="303" y="118"/>
                  <a:pt x="308" y="118"/>
                  <a:pt x="311" y="116"/>
                </a:cubicBezTo>
                <a:cubicBezTo>
                  <a:pt x="313" y="115"/>
                  <a:pt x="314" y="114"/>
                  <a:pt x="315" y="114"/>
                </a:cubicBezTo>
                <a:cubicBezTo>
                  <a:pt x="324" y="103"/>
                  <a:pt x="337" y="97"/>
                  <a:pt x="352" y="98"/>
                </a:cubicBezTo>
                <a:cubicBezTo>
                  <a:pt x="372" y="100"/>
                  <a:pt x="388" y="117"/>
                  <a:pt x="390" y="136"/>
                </a:cubicBezTo>
                <a:cubicBezTo>
                  <a:pt x="392" y="148"/>
                  <a:pt x="388" y="161"/>
                  <a:pt x="380" y="169"/>
                </a:cubicBezTo>
                <a:cubicBezTo>
                  <a:pt x="363" y="188"/>
                  <a:pt x="331" y="188"/>
                  <a:pt x="315" y="168"/>
                </a:cubicBezTo>
                <a:cubicBezTo>
                  <a:pt x="311" y="165"/>
                  <a:pt x="306" y="163"/>
                  <a:pt x="301" y="165"/>
                </a:cubicBezTo>
                <a:cubicBezTo>
                  <a:pt x="296" y="166"/>
                  <a:pt x="293" y="171"/>
                  <a:pt x="293" y="176"/>
                </a:cubicBezTo>
                <a:lnTo>
                  <a:pt x="293" y="294"/>
                </a:lnTo>
                <a:lnTo>
                  <a:pt x="237" y="294"/>
                </a:lnTo>
                <a:cubicBezTo>
                  <a:pt x="242" y="285"/>
                  <a:pt x="244" y="275"/>
                  <a:pt x="244" y="264"/>
                </a:cubicBezTo>
                <a:cubicBezTo>
                  <a:pt x="244" y="244"/>
                  <a:pt x="235" y="225"/>
                  <a:pt x="220" y="212"/>
                </a:cubicBezTo>
                <a:cubicBezTo>
                  <a:pt x="205" y="199"/>
                  <a:pt x="185" y="194"/>
                  <a:pt x="165" y="198"/>
                </a:cubicBezTo>
                <a:cubicBezTo>
                  <a:pt x="137" y="202"/>
                  <a:pt x="115" y="225"/>
                  <a:pt x="110" y="253"/>
                </a:cubicBezTo>
                <a:cubicBezTo>
                  <a:pt x="108" y="268"/>
                  <a:pt x="110" y="282"/>
                  <a:pt x="116" y="294"/>
                </a:cubicBezTo>
                <a:lnTo>
                  <a:pt x="25" y="294"/>
                </a:lnTo>
                <a:cubicBezTo>
                  <a:pt x="32" y="149"/>
                  <a:pt x="148" y="32"/>
                  <a:pt x="293" y="25"/>
                </a:cubicBezTo>
                <a:lnTo>
                  <a:pt x="105" y="503"/>
                </a:lnTo>
                <a:close/>
                <a:moveTo>
                  <a:pt x="318" y="25"/>
                </a:moveTo>
                <a:lnTo>
                  <a:pt x="318" y="25"/>
                </a:lnTo>
                <a:cubicBezTo>
                  <a:pt x="464" y="31"/>
                  <a:pt x="582" y="148"/>
                  <a:pt x="588" y="294"/>
                </a:cubicBezTo>
                <a:lnTo>
                  <a:pt x="531" y="294"/>
                </a:lnTo>
                <a:cubicBezTo>
                  <a:pt x="536" y="285"/>
                  <a:pt x="538" y="275"/>
                  <a:pt x="538" y="264"/>
                </a:cubicBezTo>
                <a:cubicBezTo>
                  <a:pt x="538" y="245"/>
                  <a:pt x="530" y="226"/>
                  <a:pt x="516" y="214"/>
                </a:cubicBezTo>
                <a:cubicBezTo>
                  <a:pt x="502" y="201"/>
                  <a:pt x="482" y="195"/>
                  <a:pt x="463" y="197"/>
                </a:cubicBezTo>
                <a:cubicBezTo>
                  <a:pt x="432" y="200"/>
                  <a:pt x="407" y="226"/>
                  <a:pt x="404" y="258"/>
                </a:cubicBezTo>
                <a:cubicBezTo>
                  <a:pt x="402" y="270"/>
                  <a:pt x="405" y="283"/>
                  <a:pt x="411" y="294"/>
                </a:cubicBezTo>
                <a:lnTo>
                  <a:pt x="318" y="294"/>
                </a:lnTo>
                <a:lnTo>
                  <a:pt x="318" y="201"/>
                </a:lnTo>
                <a:cubicBezTo>
                  <a:pt x="343" y="214"/>
                  <a:pt x="378" y="208"/>
                  <a:pt x="398" y="186"/>
                </a:cubicBezTo>
                <a:cubicBezTo>
                  <a:pt x="411" y="172"/>
                  <a:pt x="417" y="152"/>
                  <a:pt x="415" y="134"/>
                </a:cubicBezTo>
                <a:cubicBezTo>
                  <a:pt x="411" y="102"/>
                  <a:pt x="386" y="77"/>
                  <a:pt x="354" y="74"/>
                </a:cubicBezTo>
                <a:cubicBezTo>
                  <a:pt x="341" y="73"/>
                  <a:pt x="329" y="75"/>
                  <a:pt x="318" y="81"/>
                </a:cubicBezTo>
                <a:lnTo>
                  <a:pt x="318" y="25"/>
                </a:lnTo>
                <a:close/>
                <a:moveTo>
                  <a:pt x="307" y="0"/>
                </a:moveTo>
                <a:lnTo>
                  <a:pt x="307" y="0"/>
                </a:lnTo>
                <a:cubicBezTo>
                  <a:pt x="138" y="0"/>
                  <a:pt x="0" y="138"/>
                  <a:pt x="0" y="306"/>
                </a:cubicBezTo>
                <a:cubicBezTo>
                  <a:pt x="0" y="387"/>
                  <a:pt x="31" y="463"/>
                  <a:pt x="87" y="521"/>
                </a:cubicBezTo>
                <a:cubicBezTo>
                  <a:pt x="115" y="548"/>
                  <a:pt x="130" y="585"/>
                  <a:pt x="130" y="625"/>
                </a:cubicBezTo>
                <a:lnTo>
                  <a:pt x="130" y="712"/>
                </a:lnTo>
                <a:cubicBezTo>
                  <a:pt x="130" y="727"/>
                  <a:pt x="142" y="740"/>
                  <a:pt x="158" y="740"/>
                </a:cubicBezTo>
                <a:lnTo>
                  <a:pt x="164" y="740"/>
                </a:lnTo>
                <a:cubicBezTo>
                  <a:pt x="169" y="779"/>
                  <a:pt x="203" y="809"/>
                  <a:pt x="243" y="809"/>
                </a:cubicBezTo>
                <a:lnTo>
                  <a:pt x="368" y="809"/>
                </a:lnTo>
                <a:cubicBezTo>
                  <a:pt x="408" y="809"/>
                  <a:pt x="441" y="779"/>
                  <a:pt x="447" y="740"/>
                </a:cubicBezTo>
                <a:lnTo>
                  <a:pt x="452" y="740"/>
                </a:lnTo>
                <a:cubicBezTo>
                  <a:pt x="468" y="740"/>
                  <a:pt x="481" y="727"/>
                  <a:pt x="481" y="712"/>
                </a:cubicBezTo>
                <a:lnTo>
                  <a:pt x="481" y="628"/>
                </a:lnTo>
                <a:cubicBezTo>
                  <a:pt x="481" y="588"/>
                  <a:pt x="497" y="550"/>
                  <a:pt x="524" y="522"/>
                </a:cubicBezTo>
                <a:cubicBezTo>
                  <a:pt x="582" y="464"/>
                  <a:pt x="613" y="387"/>
                  <a:pt x="613" y="306"/>
                </a:cubicBezTo>
                <a:cubicBezTo>
                  <a:pt x="613" y="138"/>
                  <a:pt x="475" y="0"/>
                  <a:pt x="307" y="0"/>
                </a:cubicBezTo>
                <a:close/>
              </a:path>
            </a:pathLst>
          </a:custGeom>
          <a:solidFill>
            <a:schemeClr val="accent5"/>
          </a:solidFill>
          <a:ln>
            <a:noFill/>
          </a:ln>
          <a:effectLst/>
        </p:spPr>
        <p:txBody>
          <a:bodyPr wrap="none" anchor="ctr"/>
          <a:lstStyle/>
          <a:p>
            <a:endParaRPr lang="en-US" sz="900">
              <a:latin typeface="+mj-lt"/>
            </a:endParaRPr>
          </a:p>
        </p:txBody>
      </p:sp>
      <p:sp>
        <p:nvSpPr>
          <p:cNvPr id="53" name="Freeform 945">
            <a:extLst>
              <a:ext uri="{FF2B5EF4-FFF2-40B4-BE49-F238E27FC236}">
                <a16:creationId xmlns:a16="http://schemas.microsoft.com/office/drawing/2014/main" id="{3A7DA1F2-3D29-A8C2-98A5-384A2DABE8C4}"/>
              </a:ext>
            </a:extLst>
          </p:cNvPr>
          <p:cNvSpPr>
            <a:spLocks noChangeAspect="1" noChangeArrowheads="1"/>
          </p:cNvSpPr>
          <p:nvPr userDrawn="1"/>
        </p:nvSpPr>
        <p:spPr bwMode="auto">
          <a:xfrm>
            <a:off x="7992981" y="2018236"/>
            <a:ext cx="390858" cy="486011"/>
          </a:xfrm>
          <a:custGeom>
            <a:avLst/>
            <a:gdLst>
              <a:gd name="T0" fmla="*/ 632245 w 232462"/>
              <a:gd name="T1" fmla="*/ 3076609 h 289974"/>
              <a:gd name="T2" fmla="*/ 1993938 w 232462"/>
              <a:gd name="T3" fmla="*/ 3076609 h 289974"/>
              <a:gd name="T4" fmla="*/ 2091190 w 232462"/>
              <a:gd name="T5" fmla="*/ 2375186 h 289974"/>
              <a:gd name="T6" fmla="*/ 2038519 w 232462"/>
              <a:gd name="T7" fmla="*/ 3199466 h 289974"/>
              <a:gd name="T8" fmla="*/ 603868 w 232462"/>
              <a:gd name="T9" fmla="*/ 3195485 h 289974"/>
              <a:gd name="T10" fmla="*/ 534968 w 232462"/>
              <a:gd name="T11" fmla="*/ 2375186 h 289974"/>
              <a:gd name="T12" fmla="*/ 1193690 w 232462"/>
              <a:gd name="T13" fmla="*/ 1084957 h 289974"/>
              <a:gd name="T14" fmla="*/ 1084413 w 232462"/>
              <a:gd name="T15" fmla="*/ 1332847 h 289974"/>
              <a:gd name="T16" fmla="*/ 1290835 w 232462"/>
              <a:gd name="T17" fmla="*/ 1516759 h 289974"/>
              <a:gd name="T18" fmla="*/ 1529635 w 232462"/>
              <a:gd name="T19" fmla="*/ 1376818 h 289974"/>
              <a:gd name="T20" fmla="*/ 1468921 w 232462"/>
              <a:gd name="T21" fmla="*/ 1108951 h 289974"/>
              <a:gd name="T22" fmla="*/ 1270596 w 232462"/>
              <a:gd name="T23" fmla="*/ 713128 h 289974"/>
              <a:gd name="T24" fmla="*/ 1849413 w 232462"/>
              <a:gd name="T25" fmla="*/ 1064956 h 289974"/>
              <a:gd name="T26" fmla="*/ 1630824 w 232462"/>
              <a:gd name="T27" fmla="*/ 1384830 h 289974"/>
              <a:gd name="T28" fmla="*/ 1618692 w 232462"/>
              <a:gd name="T29" fmla="*/ 1772641 h 289974"/>
              <a:gd name="T30" fmla="*/ 987257 w 232462"/>
              <a:gd name="T31" fmla="*/ 1776636 h 289974"/>
              <a:gd name="T32" fmla="*/ 995349 w 232462"/>
              <a:gd name="T33" fmla="*/ 1384830 h 289974"/>
              <a:gd name="T34" fmla="*/ 776770 w 232462"/>
              <a:gd name="T35" fmla="*/ 1064956 h 289974"/>
              <a:gd name="T36" fmla="*/ 1306159 w 232462"/>
              <a:gd name="T37" fmla="*/ 482625 h 289974"/>
              <a:gd name="T38" fmla="*/ 2119160 w 232462"/>
              <a:gd name="T39" fmla="*/ 1276673 h 289974"/>
              <a:gd name="T40" fmla="*/ 2216743 w 232462"/>
              <a:gd name="T41" fmla="*/ 1276673 h 289974"/>
              <a:gd name="T42" fmla="*/ 1306159 w 232462"/>
              <a:gd name="T43" fmla="*/ 383378 h 289974"/>
              <a:gd name="T44" fmla="*/ 1083222 w 232462"/>
              <a:gd name="T45" fmla="*/ 251380 h 289974"/>
              <a:gd name="T46" fmla="*/ 700781 w 232462"/>
              <a:gd name="T47" fmla="*/ 417639 h 289974"/>
              <a:gd name="T48" fmla="*/ 407860 w 232462"/>
              <a:gd name="T49" fmla="*/ 710574 h 289974"/>
              <a:gd name="T50" fmla="*/ 253257 w 232462"/>
              <a:gd name="T51" fmla="*/ 1090626 h 289974"/>
              <a:gd name="T52" fmla="*/ 261393 w 232462"/>
              <a:gd name="T53" fmla="*/ 1498350 h 289974"/>
              <a:gd name="T54" fmla="*/ 428191 w 232462"/>
              <a:gd name="T55" fmla="*/ 1874447 h 289974"/>
              <a:gd name="T56" fmla="*/ 733337 w 232462"/>
              <a:gd name="T57" fmla="*/ 2159477 h 289974"/>
              <a:gd name="T58" fmla="*/ 1095420 w 232462"/>
              <a:gd name="T59" fmla="*/ 2298020 h 289974"/>
              <a:gd name="T60" fmla="*/ 1506329 w 232462"/>
              <a:gd name="T61" fmla="*/ 2309889 h 289974"/>
              <a:gd name="T62" fmla="*/ 1896907 w 232462"/>
              <a:gd name="T63" fmla="*/ 2159477 h 289974"/>
              <a:gd name="T64" fmla="*/ 2197968 w 232462"/>
              <a:gd name="T65" fmla="*/ 1874447 h 289974"/>
              <a:gd name="T66" fmla="*/ 2368839 w 232462"/>
              <a:gd name="T67" fmla="*/ 1498350 h 289974"/>
              <a:gd name="T68" fmla="*/ 2372910 w 232462"/>
              <a:gd name="T69" fmla="*/ 1090626 h 289974"/>
              <a:gd name="T70" fmla="*/ 2222381 w 232462"/>
              <a:gd name="T71" fmla="*/ 710574 h 289974"/>
              <a:gd name="T72" fmla="*/ 1929440 w 232462"/>
              <a:gd name="T73" fmla="*/ 417639 h 289974"/>
              <a:gd name="T74" fmla="*/ 1546995 w 232462"/>
              <a:gd name="T75" fmla="*/ 251380 h 289974"/>
              <a:gd name="T76" fmla="*/ 1282577 w 232462"/>
              <a:gd name="T77" fmla="*/ 5940 h 289974"/>
              <a:gd name="T78" fmla="*/ 1787059 w 232462"/>
              <a:gd name="T79" fmla="*/ 93038 h 289974"/>
              <a:gd name="T80" fmla="*/ 2214256 w 232462"/>
              <a:gd name="T81" fmla="*/ 358253 h 289974"/>
              <a:gd name="T82" fmla="*/ 2507166 w 232462"/>
              <a:gd name="T83" fmla="*/ 762044 h 289974"/>
              <a:gd name="T84" fmla="*/ 2617013 w 232462"/>
              <a:gd name="T85" fmla="*/ 1245006 h 289974"/>
              <a:gd name="T86" fmla="*/ 2531574 w 232462"/>
              <a:gd name="T87" fmla="*/ 1735895 h 289974"/>
              <a:gd name="T88" fmla="*/ 2258976 w 232462"/>
              <a:gd name="T89" fmla="*/ 2151533 h 289974"/>
              <a:gd name="T90" fmla="*/ 1839944 w 232462"/>
              <a:gd name="T91" fmla="*/ 2436573 h 289974"/>
              <a:gd name="T92" fmla="*/ 1343589 w 232462"/>
              <a:gd name="T93" fmla="*/ 2543461 h 289974"/>
              <a:gd name="T94" fmla="*/ 1083222 w 232462"/>
              <a:gd name="T95" fmla="*/ 2400937 h 289974"/>
              <a:gd name="T96" fmla="*/ 660104 w 232462"/>
              <a:gd name="T97" fmla="*/ 2226766 h 289974"/>
              <a:gd name="T98" fmla="*/ 334636 w 232462"/>
              <a:gd name="T99" fmla="*/ 1910073 h 289974"/>
              <a:gd name="T100" fmla="*/ 159692 w 232462"/>
              <a:gd name="T101" fmla="*/ 1498350 h 289974"/>
              <a:gd name="T102" fmla="*/ 159692 w 232462"/>
              <a:gd name="T103" fmla="*/ 1051026 h 289974"/>
              <a:gd name="T104" fmla="*/ 334636 w 232462"/>
              <a:gd name="T105" fmla="*/ 639327 h 289974"/>
              <a:gd name="T106" fmla="*/ 660104 w 232462"/>
              <a:gd name="T107" fmla="*/ 322629 h 289974"/>
              <a:gd name="T108" fmla="*/ 1083222 w 232462"/>
              <a:gd name="T109" fmla="*/ 152424 h 2899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32462" h="289974">
                <a:moveTo>
                  <a:pt x="51660" y="210958"/>
                </a:moveTo>
                <a:cubicBezTo>
                  <a:pt x="54171" y="210958"/>
                  <a:pt x="55965" y="212754"/>
                  <a:pt x="55965" y="215268"/>
                </a:cubicBezTo>
                <a:lnTo>
                  <a:pt x="55965" y="278840"/>
                </a:lnTo>
                <a:lnTo>
                  <a:pt x="114438" y="251903"/>
                </a:lnTo>
                <a:cubicBezTo>
                  <a:pt x="115514" y="251543"/>
                  <a:pt x="116949" y="251543"/>
                  <a:pt x="118025" y="251903"/>
                </a:cubicBezTo>
                <a:lnTo>
                  <a:pt x="176499" y="278840"/>
                </a:lnTo>
                <a:lnTo>
                  <a:pt x="176499" y="215268"/>
                </a:lnTo>
                <a:cubicBezTo>
                  <a:pt x="176499" y="212754"/>
                  <a:pt x="178292" y="210958"/>
                  <a:pt x="180445" y="210958"/>
                </a:cubicBezTo>
                <a:cubicBezTo>
                  <a:pt x="182956" y="210958"/>
                  <a:pt x="185108" y="212754"/>
                  <a:pt x="185108" y="215268"/>
                </a:cubicBezTo>
                <a:lnTo>
                  <a:pt x="185108" y="285305"/>
                </a:lnTo>
                <a:cubicBezTo>
                  <a:pt x="185108" y="287101"/>
                  <a:pt x="184391" y="288537"/>
                  <a:pt x="182956" y="289256"/>
                </a:cubicBezTo>
                <a:cubicBezTo>
                  <a:pt x="182239" y="289615"/>
                  <a:pt x="181521" y="289974"/>
                  <a:pt x="180445" y="289974"/>
                </a:cubicBezTo>
                <a:cubicBezTo>
                  <a:pt x="180086" y="289974"/>
                  <a:pt x="179369" y="289974"/>
                  <a:pt x="178651" y="289615"/>
                </a:cubicBezTo>
                <a:lnTo>
                  <a:pt x="116232" y="260882"/>
                </a:lnTo>
                <a:lnTo>
                  <a:pt x="53453" y="289615"/>
                </a:lnTo>
                <a:cubicBezTo>
                  <a:pt x="52377" y="289974"/>
                  <a:pt x="50584" y="289974"/>
                  <a:pt x="49149" y="289256"/>
                </a:cubicBezTo>
                <a:cubicBezTo>
                  <a:pt x="48072" y="288537"/>
                  <a:pt x="47355" y="287101"/>
                  <a:pt x="47355" y="285305"/>
                </a:cubicBezTo>
                <a:lnTo>
                  <a:pt x="47355" y="215268"/>
                </a:lnTo>
                <a:cubicBezTo>
                  <a:pt x="47355" y="212754"/>
                  <a:pt x="49149" y="210958"/>
                  <a:pt x="51660" y="210958"/>
                </a:cubicBezTo>
                <a:close/>
                <a:moveTo>
                  <a:pt x="116411" y="76590"/>
                </a:moveTo>
                <a:lnTo>
                  <a:pt x="105662" y="98332"/>
                </a:lnTo>
                <a:cubicBezTo>
                  <a:pt x="104946" y="99419"/>
                  <a:pt x="104229" y="100143"/>
                  <a:pt x="102438" y="100506"/>
                </a:cubicBezTo>
                <a:lnTo>
                  <a:pt x="79149" y="103767"/>
                </a:lnTo>
                <a:lnTo>
                  <a:pt x="95989" y="120798"/>
                </a:lnTo>
                <a:cubicBezTo>
                  <a:pt x="97063" y="121885"/>
                  <a:pt x="97422" y="123335"/>
                  <a:pt x="97422" y="124784"/>
                </a:cubicBezTo>
                <a:lnTo>
                  <a:pt x="93480" y="148338"/>
                </a:lnTo>
                <a:lnTo>
                  <a:pt x="114261" y="137467"/>
                </a:lnTo>
                <a:cubicBezTo>
                  <a:pt x="115695" y="136380"/>
                  <a:pt x="117128" y="136380"/>
                  <a:pt x="118203" y="137467"/>
                </a:cubicBezTo>
                <a:lnTo>
                  <a:pt x="139342" y="148338"/>
                </a:lnTo>
                <a:lnTo>
                  <a:pt x="135401" y="124784"/>
                </a:lnTo>
                <a:cubicBezTo>
                  <a:pt x="135042" y="123335"/>
                  <a:pt x="135401" y="121885"/>
                  <a:pt x="136834" y="120798"/>
                </a:cubicBezTo>
                <a:lnTo>
                  <a:pt x="153673" y="103767"/>
                </a:lnTo>
                <a:lnTo>
                  <a:pt x="130026" y="100506"/>
                </a:lnTo>
                <a:cubicBezTo>
                  <a:pt x="128593" y="100143"/>
                  <a:pt x="127518" y="99419"/>
                  <a:pt x="127160" y="98332"/>
                </a:cubicBezTo>
                <a:lnTo>
                  <a:pt x="116411" y="76590"/>
                </a:lnTo>
                <a:close/>
                <a:moveTo>
                  <a:pt x="112470" y="64632"/>
                </a:moveTo>
                <a:cubicBezTo>
                  <a:pt x="113903" y="61733"/>
                  <a:pt x="118919" y="61733"/>
                  <a:pt x="120352" y="64632"/>
                </a:cubicBezTo>
                <a:lnTo>
                  <a:pt x="133609" y="92171"/>
                </a:lnTo>
                <a:lnTo>
                  <a:pt x="163706" y="96520"/>
                </a:lnTo>
                <a:cubicBezTo>
                  <a:pt x="165497" y="96520"/>
                  <a:pt x="166930" y="97969"/>
                  <a:pt x="167289" y="99419"/>
                </a:cubicBezTo>
                <a:cubicBezTo>
                  <a:pt x="167647" y="101231"/>
                  <a:pt x="167289" y="103042"/>
                  <a:pt x="166214" y="104129"/>
                </a:cubicBezTo>
                <a:lnTo>
                  <a:pt x="144358" y="125509"/>
                </a:lnTo>
                <a:lnTo>
                  <a:pt x="149732" y="155947"/>
                </a:lnTo>
                <a:cubicBezTo>
                  <a:pt x="149732" y="157759"/>
                  <a:pt x="149374" y="159208"/>
                  <a:pt x="147941" y="160296"/>
                </a:cubicBezTo>
                <a:cubicBezTo>
                  <a:pt x="146508" y="161383"/>
                  <a:pt x="144716" y="161383"/>
                  <a:pt x="143283" y="160658"/>
                </a:cubicBezTo>
                <a:lnTo>
                  <a:pt x="116411" y="146163"/>
                </a:lnTo>
                <a:lnTo>
                  <a:pt x="89539" y="160658"/>
                </a:lnTo>
                <a:cubicBezTo>
                  <a:pt x="88823" y="160658"/>
                  <a:pt x="88106" y="161020"/>
                  <a:pt x="87390" y="161020"/>
                </a:cubicBezTo>
                <a:cubicBezTo>
                  <a:pt x="86673" y="161020"/>
                  <a:pt x="85598" y="160658"/>
                  <a:pt x="84881" y="160296"/>
                </a:cubicBezTo>
                <a:cubicBezTo>
                  <a:pt x="83448" y="159208"/>
                  <a:pt x="82732" y="157759"/>
                  <a:pt x="83090" y="155947"/>
                </a:cubicBezTo>
                <a:lnTo>
                  <a:pt x="88106" y="125509"/>
                </a:lnTo>
                <a:lnTo>
                  <a:pt x="66250" y="104129"/>
                </a:lnTo>
                <a:cubicBezTo>
                  <a:pt x="65175" y="103042"/>
                  <a:pt x="64817" y="101231"/>
                  <a:pt x="65175" y="99419"/>
                </a:cubicBezTo>
                <a:cubicBezTo>
                  <a:pt x="65892" y="97969"/>
                  <a:pt x="67325" y="96520"/>
                  <a:pt x="68758" y="96520"/>
                </a:cubicBezTo>
                <a:lnTo>
                  <a:pt x="98855" y="92171"/>
                </a:lnTo>
                <a:lnTo>
                  <a:pt x="112470" y="64632"/>
                </a:lnTo>
                <a:close/>
                <a:moveTo>
                  <a:pt x="115618" y="43741"/>
                </a:moveTo>
                <a:cubicBezTo>
                  <a:pt x="76036" y="43741"/>
                  <a:pt x="43651" y="76126"/>
                  <a:pt x="43651" y="115708"/>
                </a:cubicBezTo>
                <a:cubicBezTo>
                  <a:pt x="43651" y="155289"/>
                  <a:pt x="76036" y="187674"/>
                  <a:pt x="115618" y="187674"/>
                </a:cubicBezTo>
                <a:cubicBezTo>
                  <a:pt x="155199" y="187674"/>
                  <a:pt x="187584" y="155289"/>
                  <a:pt x="187584" y="115708"/>
                </a:cubicBezTo>
                <a:cubicBezTo>
                  <a:pt x="187584" y="76126"/>
                  <a:pt x="155199" y="43741"/>
                  <a:pt x="115618" y="43741"/>
                </a:cubicBezTo>
                <a:close/>
                <a:moveTo>
                  <a:pt x="115618" y="34745"/>
                </a:moveTo>
                <a:cubicBezTo>
                  <a:pt x="159877" y="34745"/>
                  <a:pt x="196220" y="71088"/>
                  <a:pt x="196220" y="115708"/>
                </a:cubicBezTo>
                <a:cubicBezTo>
                  <a:pt x="196220" y="159967"/>
                  <a:pt x="159877" y="196310"/>
                  <a:pt x="115618" y="196310"/>
                </a:cubicBezTo>
                <a:cubicBezTo>
                  <a:pt x="70998" y="196310"/>
                  <a:pt x="34655" y="159967"/>
                  <a:pt x="34655" y="115708"/>
                </a:cubicBezTo>
                <a:cubicBezTo>
                  <a:pt x="34655" y="71088"/>
                  <a:pt x="70998" y="34745"/>
                  <a:pt x="115618" y="34745"/>
                </a:cubicBezTo>
                <a:close/>
                <a:moveTo>
                  <a:pt x="116411" y="9866"/>
                </a:moveTo>
                <a:lnTo>
                  <a:pt x="99485" y="22065"/>
                </a:lnTo>
                <a:cubicBezTo>
                  <a:pt x="98405" y="22782"/>
                  <a:pt x="97324" y="23141"/>
                  <a:pt x="95884" y="22782"/>
                </a:cubicBezTo>
                <a:lnTo>
                  <a:pt x="75717" y="17759"/>
                </a:lnTo>
                <a:lnTo>
                  <a:pt x="64913" y="35698"/>
                </a:lnTo>
                <a:cubicBezTo>
                  <a:pt x="64193" y="36775"/>
                  <a:pt x="63112" y="37492"/>
                  <a:pt x="62032" y="37851"/>
                </a:cubicBezTo>
                <a:lnTo>
                  <a:pt x="41144" y="40721"/>
                </a:lnTo>
                <a:lnTo>
                  <a:pt x="37903" y="61531"/>
                </a:lnTo>
                <a:cubicBezTo>
                  <a:pt x="37903" y="62607"/>
                  <a:pt x="37183" y="63684"/>
                  <a:pt x="36103" y="64401"/>
                </a:cubicBezTo>
                <a:lnTo>
                  <a:pt x="18096" y="75165"/>
                </a:lnTo>
                <a:lnTo>
                  <a:pt x="23138" y="95257"/>
                </a:lnTo>
                <a:cubicBezTo>
                  <a:pt x="23498" y="96333"/>
                  <a:pt x="23138" y="97768"/>
                  <a:pt x="22418" y="98845"/>
                </a:cubicBezTo>
                <a:lnTo>
                  <a:pt x="10174" y="115708"/>
                </a:lnTo>
                <a:lnTo>
                  <a:pt x="22418" y="132212"/>
                </a:lnTo>
                <a:cubicBezTo>
                  <a:pt x="23138" y="133288"/>
                  <a:pt x="23498" y="134723"/>
                  <a:pt x="23138" y="135799"/>
                </a:cubicBezTo>
                <a:lnTo>
                  <a:pt x="18096" y="156250"/>
                </a:lnTo>
                <a:lnTo>
                  <a:pt x="36103" y="167014"/>
                </a:lnTo>
                <a:cubicBezTo>
                  <a:pt x="37183" y="167731"/>
                  <a:pt x="37903" y="168449"/>
                  <a:pt x="37903" y="169884"/>
                </a:cubicBezTo>
                <a:lnTo>
                  <a:pt x="41144" y="190335"/>
                </a:lnTo>
                <a:lnTo>
                  <a:pt x="62032" y="193564"/>
                </a:lnTo>
                <a:cubicBezTo>
                  <a:pt x="63112" y="193564"/>
                  <a:pt x="64193" y="194640"/>
                  <a:pt x="64913" y="195717"/>
                </a:cubicBezTo>
                <a:lnTo>
                  <a:pt x="75717" y="213656"/>
                </a:lnTo>
                <a:lnTo>
                  <a:pt x="95884" y="208274"/>
                </a:lnTo>
                <a:cubicBezTo>
                  <a:pt x="96244" y="208274"/>
                  <a:pt x="96604" y="208274"/>
                  <a:pt x="96964" y="208274"/>
                </a:cubicBezTo>
                <a:cubicBezTo>
                  <a:pt x="97685" y="208274"/>
                  <a:pt x="98765" y="208633"/>
                  <a:pt x="99485" y="209350"/>
                </a:cubicBezTo>
                <a:lnTo>
                  <a:pt x="116411" y="221549"/>
                </a:lnTo>
                <a:lnTo>
                  <a:pt x="133337" y="209350"/>
                </a:lnTo>
                <a:cubicBezTo>
                  <a:pt x="134417" y="208274"/>
                  <a:pt x="135498" y="208274"/>
                  <a:pt x="136938" y="208274"/>
                </a:cubicBezTo>
                <a:lnTo>
                  <a:pt x="157105" y="213656"/>
                </a:lnTo>
                <a:lnTo>
                  <a:pt x="167909" y="195717"/>
                </a:lnTo>
                <a:cubicBezTo>
                  <a:pt x="168629" y="194640"/>
                  <a:pt x="169710" y="193564"/>
                  <a:pt x="170790" y="193564"/>
                </a:cubicBezTo>
                <a:lnTo>
                  <a:pt x="191678" y="190335"/>
                </a:lnTo>
                <a:lnTo>
                  <a:pt x="194559" y="169884"/>
                </a:lnTo>
                <a:cubicBezTo>
                  <a:pt x="194559" y="168449"/>
                  <a:pt x="195639" y="167731"/>
                  <a:pt x="196719" y="167014"/>
                </a:cubicBezTo>
                <a:lnTo>
                  <a:pt x="214726" y="156250"/>
                </a:lnTo>
                <a:lnTo>
                  <a:pt x="209684" y="135799"/>
                </a:lnTo>
                <a:cubicBezTo>
                  <a:pt x="209324" y="134723"/>
                  <a:pt x="209684" y="133288"/>
                  <a:pt x="210044" y="132212"/>
                </a:cubicBezTo>
                <a:lnTo>
                  <a:pt x="222648" y="115708"/>
                </a:lnTo>
                <a:lnTo>
                  <a:pt x="210044" y="98845"/>
                </a:lnTo>
                <a:cubicBezTo>
                  <a:pt x="209684" y="97768"/>
                  <a:pt x="209324" y="96333"/>
                  <a:pt x="209684" y="95257"/>
                </a:cubicBezTo>
                <a:lnTo>
                  <a:pt x="214726" y="75165"/>
                </a:lnTo>
                <a:lnTo>
                  <a:pt x="196719" y="64401"/>
                </a:lnTo>
                <a:cubicBezTo>
                  <a:pt x="195639" y="63684"/>
                  <a:pt x="194559" y="62607"/>
                  <a:pt x="194559" y="61531"/>
                </a:cubicBezTo>
                <a:lnTo>
                  <a:pt x="191678" y="40721"/>
                </a:lnTo>
                <a:lnTo>
                  <a:pt x="170790" y="37851"/>
                </a:lnTo>
                <a:cubicBezTo>
                  <a:pt x="169710" y="37492"/>
                  <a:pt x="168629" y="36775"/>
                  <a:pt x="167909" y="35698"/>
                </a:cubicBezTo>
                <a:lnTo>
                  <a:pt x="157105" y="17759"/>
                </a:lnTo>
                <a:lnTo>
                  <a:pt x="136938" y="22782"/>
                </a:lnTo>
                <a:cubicBezTo>
                  <a:pt x="135498" y="23141"/>
                  <a:pt x="134417" y="22782"/>
                  <a:pt x="133337" y="22065"/>
                </a:cubicBezTo>
                <a:lnTo>
                  <a:pt x="116411" y="9866"/>
                </a:lnTo>
                <a:close/>
                <a:moveTo>
                  <a:pt x="113530" y="538"/>
                </a:moveTo>
                <a:cubicBezTo>
                  <a:pt x="115331" y="-180"/>
                  <a:pt x="117492" y="-180"/>
                  <a:pt x="118932" y="538"/>
                </a:cubicBezTo>
                <a:lnTo>
                  <a:pt x="136938" y="13813"/>
                </a:lnTo>
                <a:lnTo>
                  <a:pt x="158186" y="8431"/>
                </a:lnTo>
                <a:cubicBezTo>
                  <a:pt x="159986" y="8072"/>
                  <a:pt x="161787" y="8790"/>
                  <a:pt x="162867" y="10225"/>
                </a:cubicBezTo>
                <a:lnTo>
                  <a:pt x="174392" y="29240"/>
                </a:lnTo>
                <a:lnTo>
                  <a:pt x="195999" y="32469"/>
                </a:lnTo>
                <a:cubicBezTo>
                  <a:pt x="197800" y="32828"/>
                  <a:pt x="199240" y="34263"/>
                  <a:pt x="199960" y="36416"/>
                </a:cubicBezTo>
                <a:lnTo>
                  <a:pt x="202842" y="57943"/>
                </a:lnTo>
                <a:lnTo>
                  <a:pt x="221928" y="69066"/>
                </a:lnTo>
                <a:cubicBezTo>
                  <a:pt x="223369" y="70142"/>
                  <a:pt x="224449" y="72295"/>
                  <a:pt x="224089" y="74088"/>
                </a:cubicBezTo>
                <a:lnTo>
                  <a:pt x="218687" y="95257"/>
                </a:lnTo>
                <a:lnTo>
                  <a:pt x="231652" y="112837"/>
                </a:lnTo>
                <a:cubicBezTo>
                  <a:pt x="232732" y="114631"/>
                  <a:pt x="232732" y="116784"/>
                  <a:pt x="231652" y="118219"/>
                </a:cubicBezTo>
                <a:lnTo>
                  <a:pt x="218687" y="135799"/>
                </a:lnTo>
                <a:lnTo>
                  <a:pt x="224089" y="157327"/>
                </a:lnTo>
                <a:cubicBezTo>
                  <a:pt x="224449" y="159121"/>
                  <a:pt x="223369" y="160914"/>
                  <a:pt x="221928" y="161991"/>
                </a:cubicBezTo>
                <a:lnTo>
                  <a:pt x="202842" y="173113"/>
                </a:lnTo>
                <a:lnTo>
                  <a:pt x="199960" y="194999"/>
                </a:lnTo>
                <a:cubicBezTo>
                  <a:pt x="199240" y="196793"/>
                  <a:pt x="197800" y="198587"/>
                  <a:pt x="195999" y="198587"/>
                </a:cubicBezTo>
                <a:lnTo>
                  <a:pt x="174392" y="201816"/>
                </a:lnTo>
                <a:lnTo>
                  <a:pt x="162867" y="220831"/>
                </a:lnTo>
                <a:cubicBezTo>
                  <a:pt x="161787" y="222267"/>
                  <a:pt x="159986" y="222984"/>
                  <a:pt x="158186" y="222625"/>
                </a:cubicBezTo>
                <a:lnTo>
                  <a:pt x="136938" y="217602"/>
                </a:lnTo>
                <a:lnTo>
                  <a:pt x="118932" y="230519"/>
                </a:lnTo>
                <a:cubicBezTo>
                  <a:pt x="118212" y="231236"/>
                  <a:pt x="117131" y="231236"/>
                  <a:pt x="116411" y="231236"/>
                </a:cubicBezTo>
                <a:cubicBezTo>
                  <a:pt x="115331" y="231236"/>
                  <a:pt x="114610" y="231236"/>
                  <a:pt x="113530" y="230519"/>
                </a:cubicBezTo>
                <a:lnTo>
                  <a:pt x="95884" y="217602"/>
                </a:lnTo>
                <a:lnTo>
                  <a:pt x="74636" y="222625"/>
                </a:lnTo>
                <a:cubicBezTo>
                  <a:pt x="72836" y="222984"/>
                  <a:pt x="70675" y="222267"/>
                  <a:pt x="69595" y="220831"/>
                </a:cubicBezTo>
                <a:lnTo>
                  <a:pt x="58431" y="201816"/>
                </a:lnTo>
                <a:lnTo>
                  <a:pt x="36823" y="198587"/>
                </a:lnTo>
                <a:cubicBezTo>
                  <a:pt x="35022" y="198587"/>
                  <a:pt x="33222" y="196793"/>
                  <a:pt x="32862" y="194999"/>
                </a:cubicBezTo>
                <a:lnTo>
                  <a:pt x="29620" y="173113"/>
                </a:lnTo>
                <a:lnTo>
                  <a:pt x="10534" y="161991"/>
                </a:lnTo>
                <a:cubicBezTo>
                  <a:pt x="9093" y="160914"/>
                  <a:pt x="8373" y="159121"/>
                  <a:pt x="8733" y="157327"/>
                </a:cubicBezTo>
                <a:lnTo>
                  <a:pt x="14135" y="135799"/>
                </a:lnTo>
                <a:lnTo>
                  <a:pt x="810" y="118219"/>
                </a:lnTo>
                <a:cubicBezTo>
                  <a:pt x="-270" y="116784"/>
                  <a:pt x="-270" y="114631"/>
                  <a:pt x="810" y="112837"/>
                </a:cubicBezTo>
                <a:lnTo>
                  <a:pt x="14135" y="95257"/>
                </a:lnTo>
                <a:lnTo>
                  <a:pt x="8733" y="74088"/>
                </a:lnTo>
                <a:cubicBezTo>
                  <a:pt x="8373" y="72295"/>
                  <a:pt x="9093" y="70142"/>
                  <a:pt x="10534" y="69066"/>
                </a:cubicBezTo>
                <a:lnTo>
                  <a:pt x="29620" y="57943"/>
                </a:lnTo>
                <a:lnTo>
                  <a:pt x="32862" y="36416"/>
                </a:lnTo>
                <a:cubicBezTo>
                  <a:pt x="33222" y="34263"/>
                  <a:pt x="35022" y="32828"/>
                  <a:pt x="36823" y="32469"/>
                </a:cubicBezTo>
                <a:lnTo>
                  <a:pt x="58431" y="29240"/>
                </a:lnTo>
                <a:lnTo>
                  <a:pt x="69595" y="10225"/>
                </a:lnTo>
                <a:cubicBezTo>
                  <a:pt x="70675" y="8790"/>
                  <a:pt x="72836" y="8072"/>
                  <a:pt x="74636" y="8431"/>
                </a:cubicBezTo>
                <a:lnTo>
                  <a:pt x="95884" y="13813"/>
                </a:lnTo>
                <a:lnTo>
                  <a:pt x="113530" y="538"/>
                </a:lnTo>
                <a:close/>
              </a:path>
            </a:pathLst>
          </a:custGeom>
          <a:solidFill>
            <a:schemeClr val="accent4"/>
          </a:solidFill>
          <a:ln>
            <a:noFill/>
          </a:ln>
          <a:effectLst/>
        </p:spPr>
        <p:txBody>
          <a:bodyPr anchor="ctr"/>
          <a:lstStyle/>
          <a:p>
            <a:endParaRPr lang="en-US" sz="900">
              <a:latin typeface="+mj-lt"/>
            </a:endParaRPr>
          </a:p>
        </p:txBody>
      </p:sp>
      <p:sp>
        <p:nvSpPr>
          <p:cNvPr id="54" name="Freeform 947">
            <a:extLst>
              <a:ext uri="{FF2B5EF4-FFF2-40B4-BE49-F238E27FC236}">
                <a16:creationId xmlns:a16="http://schemas.microsoft.com/office/drawing/2014/main" id="{451C73C3-45C0-9CA5-6486-C9383F08F934}"/>
              </a:ext>
            </a:extLst>
          </p:cNvPr>
          <p:cNvSpPr>
            <a:spLocks noChangeAspect="1" noChangeArrowheads="1"/>
          </p:cNvSpPr>
          <p:nvPr userDrawn="1"/>
        </p:nvSpPr>
        <p:spPr bwMode="auto">
          <a:xfrm>
            <a:off x="5862510" y="2021234"/>
            <a:ext cx="466980" cy="488940"/>
          </a:xfrm>
          <a:custGeom>
            <a:avLst/>
            <a:gdLst>
              <a:gd name="T0" fmla="*/ 2102423 w 279041"/>
              <a:gd name="T1" fmla="*/ 2336560 h 291739"/>
              <a:gd name="T2" fmla="*/ 2102423 w 279041"/>
              <a:gd name="T3" fmla="*/ 2436995 h 291739"/>
              <a:gd name="T4" fmla="*/ 1736729 w 279041"/>
              <a:gd name="T5" fmla="*/ 2386777 h 291739"/>
              <a:gd name="T6" fmla="*/ 377534 w 279041"/>
              <a:gd name="T7" fmla="*/ 2336560 h 291739"/>
              <a:gd name="T8" fmla="*/ 1593824 w 279041"/>
              <a:gd name="T9" fmla="*/ 2386777 h 291739"/>
              <a:gd name="T10" fmla="*/ 377534 w 279041"/>
              <a:gd name="T11" fmla="*/ 2436995 h 291739"/>
              <a:gd name="T12" fmla="*/ 377534 w 279041"/>
              <a:gd name="T13" fmla="*/ 2336560 h 291739"/>
              <a:gd name="T14" fmla="*/ 2293929 w 279041"/>
              <a:gd name="T15" fmla="*/ 2005238 h 291739"/>
              <a:gd name="T16" fmla="*/ 2293929 w 279041"/>
              <a:gd name="T17" fmla="*/ 2105850 h 291739"/>
              <a:gd name="T18" fmla="*/ 1736729 w 279041"/>
              <a:gd name="T19" fmla="*/ 2053523 h 291739"/>
              <a:gd name="T20" fmla="*/ 1020007 w 279041"/>
              <a:gd name="T21" fmla="*/ 2005238 h 291739"/>
              <a:gd name="T22" fmla="*/ 1454895 w 279041"/>
              <a:gd name="T23" fmla="*/ 2053523 h 291739"/>
              <a:gd name="T24" fmla="*/ 1020007 w 279041"/>
              <a:gd name="T25" fmla="*/ 2105850 h 291739"/>
              <a:gd name="T26" fmla="*/ 1020007 w 279041"/>
              <a:gd name="T27" fmla="*/ 2005238 h 291739"/>
              <a:gd name="T28" fmla="*/ 2171604 w 279041"/>
              <a:gd name="T29" fmla="*/ 1691381 h 291739"/>
              <a:gd name="T30" fmla="*/ 2171604 w 279041"/>
              <a:gd name="T31" fmla="*/ 1791979 h 291739"/>
              <a:gd name="T32" fmla="*/ 1736729 w 279041"/>
              <a:gd name="T33" fmla="*/ 1743693 h 291739"/>
              <a:gd name="T34" fmla="*/ 1019316 w 279041"/>
              <a:gd name="T35" fmla="*/ 1691381 h 291739"/>
              <a:gd name="T36" fmla="*/ 1576528 w 279041"/>
              <a:gd name="T37" fmla="*/ 1743693 h 291739"/>
              <a:gd name="T38" fmla="*/ 1019316 w 279041"/>
              <a:gd name="T39" fmla="*/ 1791979 h 291739"/>
              <a:gd name="T40" fmla="*/ 1019316 w 279041"/>
              <a:gd name="T41" fmla="*/ 1691381 h 291739"/>
              <a:gd name="T42" fmla="*/ 428666 w 279041"/>
              <a:gd name="T43" fmla="*/ 2006721 h 291739"/>
              <a:gd name="T44" fmla="*/ 748363 w 279041"/>
              <a:gd name="T45" fmla="*/ 1455296 h 291739"/>
              <a:gd name="T46" fmla="*/ 1783483 w 279041"/>
              <a:gd name="T47" fmla="*/ 1360082 h 291739"/>
              <a:gd name="T48" fmla="*/ 2340684 w 279041"/>
              <a:gd name="T49" fmla="*/ 1410301 h 291739"/>
              <a:gd name="T50" fmla="*/ 1783483 w 279041"/>
              <a:gd name="T51" fmla="*/ 1460525 h 291739"/>
              <a:gd name="T52" fmla="*/ 1783483 w 279041"/>
              <a:gd name="T53" fmla="*/ 1360082 h 291739"/>
              <a:gd name="T54" fmla="*/ 1525873 w 279041"/>
              <a:gd name="T55" fmla="*/ 1360082 h 291739"/>
              <a:gd name="T56" fmla="*/ 1525873 w 279041"/>
              <a:gd name="T57" fmla="*/ 1460525 h 291739"/>
              <a:gd name="T58" fmla="*/ 972573 w 279041"/>
              <a:gd name="T59" fmla="*/ 1410301 h 291739"/>
              <a:gd name="T60" fmla="*/ 377349 w 279041"/>
              <a:gd name="T61" fmla="*/ 1360082 h 291739"/>
              <a:gd name="T62" fmla="*/ 847054 w 279041"/>
              <a:gd name="T63" fmla="*/ 1407695 h 291739"/>
              <a:gd name="T64" fmla="*/ 795752 w 279041"/>
              <a:gd name="T65" fmla="*/ 2105902 h 291739"/>
              <a:gd name="T66" fmla="*/ 329987 w 279041"/>
              <a:gd name="T67" fmla="*/ 2054334 h 291739"/>
              <a:gd name="T68" fmla="*/ 377349 w 279041"/>
              <a:gd name="T69" fmla="*/ 1360082 h 291739"/>
              <a:gd name="T70" fmla="*/ 2293929 w 279041"/>
              <a:gd name="T71" fmla="*/ 1046210 h 291739"/>
              <a:gd name="T72" fmla="*/ 2293929 w 279041"/>
              <a:gd name="T73" fmla="*/ 1146823 h 291739"/>
              <a:gd name="T74" fmla="*/ 1736729 w 279041"/>
              <a:gd name="T75" fmla="*/ 1094504 h 291739"/>
              <a:gd name="T76" fmla="*/ 377534 w 279041"/>
              <a:gd name="T77" fmla="*/ 1046210 h 291739"/>
              <a:gd name="T78" fmla="*/ 1593824 w 279041"/>
              <a:gd name="T79" fmla="*/ 1094504 h 291739"/>
              <a:gd name="T80" fmla="*/ 377534 w 279041"/>
              <a:gd name="T81" fmla="*/ 1146823 h 291739"/>
              <a:gd name="T82" fmla="*/ 377534 w 279041"/>
              <a:gd name="T83" fmla="*/ 1046210 h 291739"/>
              <a:gd name="T84" fmla="*/ 2663748 w 279041"/>
              <a:gd name="T85" fmla="*/ 2764764 h 291739"/>
              <a:gd name="T86" fmla="*/ 483251 w 279041"/>
              <a:gd name="T87" fmla="*/ 2812299 h 291739"/>
              <a:gd name="T88" fmla="*/ 2954478 w 279041"/>
              <a:gd name="T89" fmla="*/ 3105420 h 291739"/>
              <a:gd name="T90" fmla="*/ 2663748 w 279041"/>
              <a:gd name="T91" fmla="*/ 483251 h 291739"/>
              <a:gd name="T92" fmla="*/ 428440 w 279041"/>
              <a:gd name="T93" fmla="*/ 721093 h 291739"/>
              <a:gd name="T94" fmla="*/ 2259547 w 279041"/>
              <a:gd name="T95" fmla="*/ 429739 h 291739"/>
              <a:gd name="T96" fmla="*/ 377243 w 279041"/>
              <a:gd name="T97" fmla="*/ 331293 h 291739"/>
              <a:gd name="T98" fmla="*/ 2358000 w 279041"/>
              <a:gd name="T99" fmla="*/ 382465 h 291739"/>
              <a:gd name="T100" fmla="*/ 2310743 w 279041"/>
              <a:gd name="T101" fmla="*/ 815580 h 291739"/>
              <a:gd name="T102" fmla="*/ 329987 w 279041"/>
              <a:gd name="T103" fmla="*/ 768358 h 291739"/>
              <a:gd name="T104" fmla="*/ 377243 w 279041"/>
              <a:gd name="T105" fmla="*/ 331293 h 291739"/>
              <a:gd name="T106" fmla="*/ 98246 w 279041"/>
              <a:gd name="T107" fmla="*/ 2717241 h 291739"/>
              <a:gd name="T108" fmla="*/ 2569462 w 279041"/>
              <a:gd name="T109" fmla="*/ 95082 h 291739"/>
              <a:gd name="T110" fmla="*/ 47167 w 279041"/>
              <a:gd name="T111" fmla="*/ 0 h 291739"/>
              <a:gd name="T112" fmla="*/ 2663748 w 279041"/>
              <a:gd name="T113" fmla="*/ 47507 h 291739"/>
              <a:gd name="T114" fmla="*/ 3001616 w 279041"/>
              <a:gd name="T115" fmla="*/ 388179 h 291739"/>
              <a:gd name="T116" fmla="*/ 3052695 w 279041"/>
              <a:gd name="T117" fmla="*/ 3152941 h 291739"/>
              <a:gd name="T118" fmla="*/ 432175 w 279041"/>
              <a:gd name="T119" fmla="*/ 3204428 h 291739"/>
              <a:gd name="T120" fmla="*/ 385020 w 279041"/>
              <a:gd name="T121" fmla="*/ 2812299 h 291739"/>
              <a:gd name="T122" fmla="*/ 0 w 279041"/>
              <a:gd name="T123" fmla="*/ 2764764 h 291739"/>
              <a:gd name="T124" fmla="*/ 47167 w 279041"/>
              <a:gd name="T125" fmla="*/ 0 h 29173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9041" h="291739">
                <a:moveTo>
                  <a:pt x="163063" y="212725"/>
                </a:moveTo>
                <a:lnTo>
                  <a:pt x="192177" y="212725"/>
                </a:lnTo>
                <a:cubicBezTo>
                  <a:pt x="194694" y="212725"/>
                  <a:pt x="196491" y="215011"/>
                  <a:pt x="196491" y="217297"/>
                </a:cubicBezTo>
                <a:cubicBezTo>
                  <a:pt x="196491" y="219964"/>
                  <a:pt x="194694" y="221869"/>
                  <a:pt x="192177" y="221869"/>
                </a:cubicBezTo>
                <a:lnTo>
                  <a:pt x="163063" y="221869"/>
                </a:lnTo>
                <a:cubicBezTo>
                  <a:pt x="160547" y="221869"/>
                  <a:pt x="158750" y="219964"/>
                  <a:pt x="158750" y="217297"/>
                </a:cubicBezTo>
                <a:cubicBezTo>
                  <a:pt x="158750" y="215011"/>
                  <a:pt x="160547" y="212725"/>
                  <a:pt x="163063" y="212725"/>
                </a:cubicBezTo>
                <a:close/>
                <a:moveTo>
                  <a:pt x="34509" y="212725"/>
                </a:moveTo>
                <a:lnTo>
                  <a:pt x="140980" y="212725"/>
                </a:lnTo>
                <a:cubicBezTo>
                  <a:pt x="143515" y="212725"/>
                  <a:pt x="145688" y="215011"/>
                  <a:pt x="145688" y="217297"/>
                </a:cubicBezTo>
                <a:cubicBezTo>
                  <a:pt x="145688" y="219964"/>
                  <a:pt x="143515" y="221869"/>
                  <a:pt x="140980" y="221869"/>
                </a:cubicBezTo>
                <a:lnTo>
                  <a:pt x="34509" y="221869"/>
                </a:lnTo>
                <a:cubicBezTo>
                  <a:pt x="32336" y="221869"/>
                  <a:pt x="30163" y="219964"/>
                  <a:pt x="30163" y="217297"/>
                </a:cubicBezTo>
                <a:cubicBezTo>
                  <a:pt x="30163" y="215011"/>
                  <a:pt x="32336" y="212725"/>
                  <a:pt x="34509" y="212725"/>
                </a:cubicBezTo>
                <a:close/>
                <a:moveTo>
                  <a:pt x="163024" y="182562"/>
                </a:moveTo>
                <a:lnTo>
                  <a:pt x="209683" y="182562"/>
                </a:lnTo>
                <a:cubicBezTo>
                  <a:pt x="211820" y="182562"/>
                  <a:pt x="213957" y="184760"/>
                  <a:pt x="213957" y="186958"/>
                </a:cubicBezTo>
                <a:cubicBezTo>
                  <a:pt x="213957" y="189523"/>
                  <a:pt x="211820" y="191721"/>
                  <a:pt x="209683" y="191721"/>
                </a:cubicBezTo>
                <a:lnTo>
                  <a:pt x="163024" y="191721"/>
                </a:lnTo>
                <a:cubicBezTo>
                  <a:pt x="160531" y="191721"/>
                  <a:pt x="158750" y="189523"/>
                  <a:pt x="158750" y="186958"/>
                </a:cubicBezTo>
                <a:cubicBezTo>
                  <a:pt x="158750" y="184760"/>
                  <a:pt x="160531" y="182562"/>
                  <a:pt x="163024" y="182562"/>
                </a:cubicBezTo>
                <a:close/>
                <a:moveTo>
                  <a:pt x="93237" y="182562"/>
                </a:moveTo>
                <a:lnTo>
                  <a:pt x="128291" y="182562"/>
                </a:lnTo>
                <a:cubicBezTo>
                  <a:pt x="130820" y="182562"/>
                  <a:pt x="132989" y="184760"/>
                  <a:pt x="132989" y="186958"/>
                </a:cubicBezTo>
                <a:cubicBezTo>
                  <a:pt x="132989" y="189523"/>
                  <a:pt x="130820" y="191721"/>
                  <a:pt x="128291" y="191721"/>
                </a:cubicBezTo>
                <a:lnTo>
                  <a:pt x="93237" y="191721"/>
                </a:lnTo>
                <a:cubicBezTo>
                  <a:pt x="90707" y="191721"/>
                  <a:pt x="88900" y="189523"/>
                  <a:pt x="88900" y="186958"/>
                </a:cubicBezTo>
                <a:cubicBezTo>
                  <a:pt x="88900" y="184760"/>
                  <a:pt x="90707" y="182562"/>
                  <a:pt x="93237" y="182562"/>
                </a:cubicBezTo>
                <a:close/>
                <a:moveTo>
                  <a:pt x="163087" y="153987"/>
                </a:moveTo>
                <a:lnTo>
                  <a:pt x="198502" y="153987"/>
                </a:lnTo>
                <a:cubicBezTo>
                  <a:pt x="201032" y="153987"/>
                  <a:pt x="202839" y="156185"/>
                  <a:pt x="202839" y="158750"/>
                </a:cubicBezTo>
                <a:cubicBezTo>
                  <a:pt x="202839" y="161314"/>
                  <a:pt x="201032" y="163146"/>
                  <a:pt x="198502" y="163146"/>
                </a:cubicBezTo>
                <a:lnTo>
                  <a:pt x="163087" y="163146"/>
                </a:lnTo>
                <a:cubicBezTo>
                  <a:pt x="160557" y="163146"/>
                  <a:pt x="158750" y="161314"/>
                  <a:pt x="158750" y="158750"/>
                </a:cubicBezTo>
                <a:cubicBezTo>
                  <a:pt x="158750" y="156185"/>
                  <a:pt x="160557" y="153987"/>
                  <a:pt x="163087" y="153987"/>
                </a:cubicBezTo>
                <a:close/>
                <a:moveTo>
                  <a:pt x="93174" y="153987"/>
                </a:moveTo>
                <a:lnTo>
                  <a:pt x="139477" y="153987"/>
                </a:lnTo>
                <a:cubicBezTo>
                  <a:pt x="141970" y="153987"/>
                  <a:pt x="144107" y="156185"/>
                  <a:pt x="144107" y="158750"/>
                </a:cubicBezTo>
                <a:cubicBezTo>
                  <a:pt x="144107" y="161314"/>
                  <a:pt x="141970" y="163146"/>
                  <a:pt x="139477" y="163146"/>
                </a:cubicBezTo>
                <a:lnTo>
                  <a:pt x="93174" y="163146"/>
                </a:lnTo>
                <a:cubicBezTo>
                  <a:pt x="90681" y="163146"/>
                  <a:pt x="88900" y="161314"/>
                  <a:pt x="88900" y="158750"/>
                </a:cubicBezTo>
                <a:cubicBezTo>
                  <a:pt x="88900" y="156185"/>
                  <a:pt x="90681" y="153987"/>
                  <a:pt x="93174" y="153987"/>
                </a:cubicBezTo>
                <a:close/>
                <a:moveTo>
                  <a:pt x="39183" y="132493"/>
                </a:moveTo>
                <a:lnTo>
                  <a:pt x="39183" y="182697"/>
                </a:lnTo>
                <a:lnTo>
                  <a:pt x="68407" y="182697"/>
                </a:lnTo>
                <a:lnTo>
                  <a:pt x="68407" y="132493"/>
                </a:lnTo>
                <a:lnTo>
                  <a:pt x="39183" y="132493"/>
                </a:lnTo>
                <a:close/>
                <a:moveTo>
                  <a:pt x="163024" y="123825"/>
                </a:moveTo>
                <a:lnTo>
                  <a:pt x="209683" y="123825"/>
                </a:lnTo>
                <a:cubicBezTo>
                  <a:pt x="211820" y="123825"/>
                  <a:pt x="213957" y="126111"/>
                  <a:pt x="213957" y="128397"/>
                </a:cubicBezTo>
                <a:cubicBezTo>
                  <a:pt x="213957" y="131064"/>
                  <a:pt x="211820" y="132969"/>
                  <a:pt x="209683" y="132969"/>
                </a:cubicBezTo>
                <a:lnTo>
                  <a:pt x="163024" y="132969"/>
                </a:lnTo>
                <a:cubicBezTo>
                  <a:pt x="160531" y="132969"/>
                  <a:pt x="158750" y="131064"/>
                  <a:pt x="158750" y="128397"/>
                </a:cubicBezTo>
                <a:cubicBezTo>
                  <a:pt x="158750" y="126111"/>
                  <a:pt x="160531" y="123825"/>
                  <a:pt x="163024" y="123825"/>
                </a:cubicBezTo>
                <a:close/>
                <a:moveTo>
                  <a:pt x="93174" y="123825"/>
                </a:moveTo>
                <a:lnTo>
                  <a:pt x="139477" y="123825"/>
                </a:lnTo>
                <a:cubicBezTo>
                  <a:pt x="141970" y="123825"/>
                  <a:pt x="144107" y="126111"/>
                  <a:pt x="144107" y="128397"/>
                </a:cubicBezTo>
                <a:cubicBezTo>
                  <a:pt x="144107" y="131064"/>
                  <a:pt x="141970" y="132969"/>
                  <a:pt x="139477" y="132969"/>
                </a:cubicBezTo>
                <a:lnTo>
                  <a:pt x="93174" y="132969"/>
                </a:lnTo>
                <a:cubicBezTo>
                  <a:pt x="90681" y="132969"/>
                  <a:pt x="88900" y="131064"/>
                  <a:pt x="88900" y="128397"/>
                </a:cubicBezTo>
                <a:cubicBezTo>
                  <a:pt x="88900" y="126111"/>
                  <a:pt x="90681" y="123825"/>
                  <a:pt x="93174" y="123825"/>
                </a:cubicBezTo>
                <a:close/>
                <a:moveTo>
                  <a:pt x="34493" y="123825"/>
                </a:moveTo>
                <a:lnTo>
                  <a:pt x="72737" y="123825"/>
                </a:lnTo>
                <a:cubicBezTo>
                  <a:pt x="75623" y="123825"/>
                  <a:pt x="77427" y="125992"/>
                  <a:pt x="77427" y="128159"/>
                </a:cubicBezTo>
                <a:lnTo>
                  <a:pt x="77427" y="187031"/>
                </a:lnTo>
                <a:cubicBezTo>
                  <a:pt x="77427" y="189559"/>
                  <a:pt x="75623" y="191726"/>
                  <a:pt x="72737" y="191726"/>
                </a:cubicBezTo>
                <a:lnTo>
                  <a:pt x="34493" y="191726"/>
                </a:lnTo>
                <a:cubicBezTo>
                  <a:pt x="32328" y="191726"/>
                  <a:pt x="30163" y="189559"/>
                  <a:pt x="30163" y="187031"/>
                </a:cubicBezTo>
                <a:lnTo>
                  <a:pt x="30163" y="128159"/>
                </a:lnTo>
                <a:cubicBezTo>
                  <a:pt x="30163" y="125992"/>
                  <a:pt x="32328" y="123825"/>
                  <a:pt x="34493" y="123825"/>
                </a:cubicBezTo>
                <a:close/>
                <a:moveTo>
                  <a:pt x="163024" y="95250"/>
                </a:moveTo>
                <a:lnTo>
                  <a:pt x="209683" y="95250"/>
                </a:lnTo>
                <a:cubicBezTo>
                  <a:pt x="211820" y="95250"/>
                  <a:pt x="213957" y="97082"/>
                  <a:pt x="213957" y="99646"/>
                </a:cubicBezTo>
                <a:cubicBezTo>
                  <a:pt x="213957" y="102577"/>
                  <a:pt x="211820" y="104409"/>
                  <a:pt x="209683" y="104409"/>
                </a:cubicBezTo>
                <a:lnTo>
                  <a:pt x="163024" y="104409"/>
                </a:lnTo>
                <a:cubicBezTo>
                  <a:pt x="160531" y="104409"/>
                  <a:pt x="158750" y="102577"/>
                  <a:pt x="158750" y="99646"/>
                </a:cubicBezTo>
                <a:cubicBezTo>
                  <a:pt x="158750" y="97082"/>
                  <a:pt x="160531" y="95250"/>
                  <a:pt x="163024" y="95250"/>
                </a:cubicBezTo>
                <a:close/>
                <a:moveTo>
                  <a:pt x="34509" y="95250"/>
                </a:moveTo>
                <a:lnTo>
                  <a:pt x="140980" y="95250"/>
                </a:lnTo>
                <a:cubicBezTo>
                  <a:pt x="143515" y="95250"/>
                  <a:pt x="145688" y="97082"/>
                  <a:pt x="145688" y="99646"/>
                </a:cubicBezTo>
                <a:cubicBezTo>
                  <a:pt x="145688" y="102577"/>
                  <a:pt x="143515" y="104409"/>
                  <a:pt x="140980" y="104409"/>
                </a:cubicBezTo>
                <a:lnTo>
                  <a:pt x="34509" y="104409"/>
                </a:lnTo>
                <a:cubicBezTo>
                  <a:pt x="32336" y="104409"/>
                  <a:pt x="30163" y="102577"/>
                  <a:pt x="30163" y="99646"/>
                </a:cubicBezTo>
                <a:cubicBezTo>
                  <a:pt x="30163" y="97082"/>
                  <a:pt x="32336" y="95250"/>
                  <a:pt x="34509" y="95250"/>
                </a:cubicBezTo>
                <a:close/>
                <a:moveTo>
                  <a:pt x="243488" y="43995"/>
                </a:moveTo>
                <a:lnTo>
                  <a:pt x="243488" y="251711"/>
                </a:lnTo>
                <a:cubicBezTo>
                  <a:pt x="243488" y="254235"/>
                  <a:pt x="241692" y="256038"/>
                  <a:pt x="239178" y="256038"/>
                </a:cubicBezTo>
                <a:lnTo>
                  <a:pt x="44173" y="256038"/>
                </a:lnTo>
                <a:lnTo>
                  <a:pt x="44173" y="282724"/>
                </a:lnTo>
                <a:lnTo>
                  <a:pt x="270063" y="282724"/>
                </a:lnTo>
                <a:lnTo>
                  <a:pt x="270063" y="43995"/>
                </a:lnTo>
                <a:lnTo>
                  <a:pt x="243488" y="43995"/>
                </a:lnTo>
                <a:close/>
                <a:moveTo>
                  <a:pt x="39162" y="39124"/>
                </a:moveTo>
                <a:lnTo>
                  <a:pt x="39162" y="65650"/>
                </a:lnTo>
                <a:lnTo>
                  <a:pt x="206541" y="65650"/>
                </a:lnTo>
                <a:lnTo>
                  <a:pt x="206541" y="39124"/>
                </a:lnTo>
                <a:lnTo>
                  <a:pt x="39162" y="39124"/>
                </a:lnTo>
                <a:close/>
                <a:moveTo>
                  <a:pt x="34483" y="30162"/>
                </a:moveTo>
                <a:lnTo>
                  <a:pt x="211221" y="30162"/>
                </a:lnTo>
                <a:cubicBezTo>
                  <a:pt x="213380" y="30162"/>
                  <a:pt x="215540" y="32313"/>
                  <a:pt x="215540" y="34822"/>
                </a:cubicBezTo>
                <a:lnTo>
                  <a:pt x="215540" y="69952"/>
                </a:lnTo>
                <a:cubicBezTo>
                  <a:pt x="215540" y="72103"/>
                  <a:pt x="213380" y="74253"/>
                  <a:pt x="211221" y="74253"/>
                </a:cubicBezTo>
                <a:lnTo>
                  <a:pt x="34483" y="74253"/>
                </a:lnTo>
                <a:cubicBezTo>
                  <a:pt x="32323" y="74253"/>
                  <a:pt x="30163" y="72103"/>
                  <a:pt x="30163" y="69952"/>
                </a:cubicBezTo>
                <a:lnTo>
                  <a:pt x="30163" y="34822"/>
                </a:lnTo>
                <a:cubicBezTo>
                  <a:pt x="30163" y="32313"/>
                  <a:pt x="32323" y="30162"/>
                  <a:pt x="34483" y="30162"/>
                </a:cubicBezTo>
                <a:close/>
                <a:moveTo>
                  <a:pt x="8978" y="8655"/>
                </a:moveTo>
                <a:lnTo>
                  <a:pt x="8978" y="247384"/>
                </a:lnTo>
                <a:lnTo>
                  <a:pt x="234869" y="247384"/>
                </a:lnTo>
                <a:lnTo>
                  <a:pt x="234869" y="8655"/>
                </a:lnTo>
                <a:lnTo>
                  <a:pt x="8978" y="8655"/>
                </a:lnTo>
                <a:close/>
                <a:moveTo>
                  <a:pt x="4309" y="0"/>
                </a:moveTo>
                <a:lnTo>
                  <a:pt x="239178" y="0"/>
                </a:lnTo>
                <a:cubicBezTo>
                  <a:pt x="241692" y="0"/>
                  <a:pt x="243488" y="1803"/>
                  <a:pt x="243488" y="4327"/>
                </a:cubicBezTo>
                <a:lnTo>
                  <a:pt x="243488" y="35340"/>
                </a:lnTo>
                <a:lnTo>
                  <a:pt x="274372" y="35340"/>
                </a:lnTo>
                <a:cubicBezTo>
                  <a:pt x="276886" y="35340"/>
                  <a:pt x="279041" y="37144"/>
                  <a:pt x="279041" y="39668"/>
                </a:cubicBezTo>
                <a:lnTo>
                  <a:pt x="279041" y="287051"/>
                </a:lnTo>
                <a:cubicBezTo>
                  <a:pt x="279041" y="289576"/>
                  <a:pt x="276886" y="291739"/>
                  <a:pt x="274372" y="291739"/>
                </a:cubicBezTo>
                <a:lnTo>
                  <a:pt x="39504" y="291739"/>
                </a:lnTo>
                <a:cubicBezTo>
                  <a:pt x="37349" y="291739"/>
                  <a:pt x="35194" y="289576"/>
                  <a:pt x="35194" y="287051"/>
                </a:cubicBezTo>
                <a:lnTo>
                  <a:pt x="35194" y="256038"/>
                </a:lnTo>
                <a:lnTo>
                  <a:pt x="4309" y="256038"/>
                </a:lnTo>
                <a:cubicBezTo>
                  <a:pt x="2155" y="256038"/>
                  <a:pt x="0" y="254235"/>
                  <a:pt x="0" y="251711"/>
                </a:cubicBezTo>
                <a:lnTo>
                  <a:pt x="0" y="4327"/>
                </a:lnTo>
                <a:cubicBezTo>
                  <a:pt x="0" y="1803"/>
                  <a:pt x="2155" y="0"/>
                  <a:pt x="4309" y="0"/>
                </a:cubicBezTo>
                <a:close/>
              </a:path>
            </a:pathLst>
          </a:custGeom>
          <a:solidFill>
            <a:schemeClr val="accent3"/>
          </a:solidFill>
          <a:ln>
            <a:noFill/>
          </a:ln>
          <a:effectLst/>
        </p:spPr>
        <p:txBody>
          <a:bodyPr anchor="ctr"/>
          <a:lstStyle/>
          <a:p>
            <a:endParaRPr lang="en-US" sz="900">
              <a:latin typeface="+mj-lt"/>
            </a:endParaRPr>
          </a:p>
        </p:txBody>
      </p:sp>
      <p:sp>
        <p:nvSpPr>
          <p:cNvPr id="55" name="Freeform 949">
            <a:extLst>
              <a:ext uri="{FF2B5EF4-FFF2-40B4-BE49-F238E27FC236}">
                <a16:creationId xmlns:a16="http://schemas.microsoft.com/office/drawing/2014/main" id="{7FE06C3B-5DDA-4E29-8B93-58281E1E2A7B}"/>
              </a:ext>
            </a:extLst>
          </p:cNvPr>
          <p:cNvSpPr>
            <a:spLocks noChangeAspect="1" noChangeArrowheads="1"/>
          </p:cNvSpPr>
          <p:nvPr userDrawn="1"/>
        </p:nvSpPr>
        <p:spPr bwMode="auto">
          <a:xfrm>
            <a:off x="1667441" y="2021235"/>
            <a:ext cx="487475" cy="488939"/>
          </a:xfrm>
          <a:custGeom>
            <a:avLst/>
            <a:gdLst>
              <a:gd name="T0" fmla="*/ 873075 w 291288"/>
              <a:gd name="T1" fmla="*/ 2795955 h 291739"/>
              <a:gd name="T2" fmla="*/ 825138 w 291288"/>
              <a:gd name="T3" fmla="*/ 3109255 h 291739"/>
              <a:gd name="T4" fmla="*/ 1567832 w 291288"/>
              <a:gd name="T5" fmla="*/ 3109255 h 291739"/>
              <a:gd name="T6" fmla="*/ 1567832 w 291288"/>
              <a:gd name="T7" fmla="*/ 2795955 h 291739"/>
              <a:gd name="T8" fmla="*/ 932966 w 291288"/>
              <a:gd name="T9" fmla="*/ 2427114 h 291739"/>
              <a:gd name="T10" fmla="*/ 889032 w 291288"/>
              <a:gd name="T11" fmla="*/ 2696803 h 291739"/>
              <a:gd name="T12" fmla="*/ 1615749 w 291288"/>
              <a:gd name="T13" fmla="*/ 2696803 h 291739"/>
              <a:gd name="T14" fmla="*/ 1663649 w 291288"/>
              <a:gd name="T15" fmla="*/ 2748367 h 291739"/>
              <a:gd name="T16" fmla="*/ 1663649 w 291288"/>
              <a:gd name="T17" fmla="*/ 3109255 h 291739"/>
              <a:gd name="T18" fmla="*/ 2973334 w 291288"/>
              <a:gd name="T19" fmla="*/ 3109255 h 291739"/>
              <a:gd name="T20" fmla="*/ 1603782 w 291288"/>
              <a:gd name="T21" fmla="*/ 2427114 h 291739"/>
              <a:gd name="T22" fmla="*/ 322044 w 291288"/>
              <a:gd name="T23" fmla="*/ 2427114 h 291739"/>
              <a:gd name="T24" fmla="*/ 114416 w 291288"/>
              <a:gd name="T25" fmla="*/ 3109255 h 291739"/>
              <a:gd name="T26" fmla="*/ 725308 w 291288"/>
              <a:gd name="T27" fmla="*/ 3109255 h 291739"/>
              <a:gd name="T28" fmla="*/ 837119 w 291288"/>
              <a:gd name="T29" fmla="*/ 2427114 h 291739"/>
              <a:gd name="T30" fmla="*/ 2861559 w 291288"/>
              <a:gd name="T31" fmla="*/ 2268491 h 291739"/>
              <a:gd name="T32" fmla="*/ 2178738 w 291288"/>
              <a:gd name="T33" fmla="*/ 2609551 h 291739"/>
              <a:gd name="T34" fmla="*/ 3101105 w 291288"/>
              <a:gd name="T35" fmla="*/ 3065636 h 291739"/>
              <a:gd name="T36" fmla="*/ 2090912 w 291288"/>
              <a:gd name="T37" fmla="*/ 1911559 h 291739"/>
              <a:gd name="T38" fmla="*/ 1695617 w 291288"/>
              <a:gd name="T39" fmla="*/ 2367632 h 291739"/>
              <a:gd name="T40" fmla="*/ 2070956 w 291288"/>
              <a:gd name="T41" fmla="*/ 2550070 h 291739"/>
              <a:gd name="T42" fmla="*/ 2833573 w 291288"/>
              <a:gd name="T43" fmla="*/ 2173303 h 291739"/>
              <a:gd name="T44" fmla="*/ 2753701 w 291288"/>
              <a:gd name="T45" fmla="*/ 1911559 h 291739"/>
              <a:gd name="T46" fmla="*/ 1020803 w 291288"/>
              <a:gd name="T47" fmla="*/ 1911559 h 291739"/>
              <a:gd name="T48" fmla="*/ 952932 w 291288"/>
              <a:gd name="T49" fmla="*/ 2331935 h 291739"/>
              <a:gd name="T50" fmla="*/ 1495937 w 291288"/>
              <a:gd name="T51" fmla="*/ 2331935 h 291739"/>
              <a:gd name="T52" fmla="*/ 1140594 w 291288"/>
              <a:gd name="T53" fmla="*/ 1911559 h 291739"/>
              <a:gd name="T54" fmla="*/ 477753 w 291288"/>
              <a:gd name="T55" fmla="*/ 1911559 h 291739"/>
              <a:gd name="T56" fmla="*/ 349984 w 291288"/>
              <a:gd name="T57" fmla="*/ 2331935 h 291739"/>
              <a:gd name="T58" fmla="*/ 853117 w 291288"/>
              <a:gd name="T59" fmla="*/ 2331935 h 291739"/>
              <a:gd name="T60" fmla="*/ 920988 w 291288"/>
              <a:gd name="T61" fmla="*/ 1911559 h 291739"/>
              <a:gd name="T62" fmla="*/ 1615749 w 291288"/>
              <a:gd name="T63" fmla="*/ 566600 h 291739"/>
              <a:gd name="T64" fmla="*/ 1277311 w 291288"/>
              <a:gd name="T65" fmla="*/ 907845 h 291739"/>
              <a:gd name="T66" fmla="*/ 1615749 w 291288"/>
              <a:gd name="T67" fmla="*/ 1245099 h 291739"/>
              <a:gd name="T68" fmla="*/ 1954201 w 291288"/>
              <a:gd name="T69" fmla="*/ 907845 h 291739"/>
              <a:gd name="T70" fmla="*/ 1615749 w 291288"/>
              <a:gd name="T71" fmla="*/ 566600 h 291739"/>
              <a:gd name="T72" fmla="*/ 1615749 w 291288"/>
              <a:gd name="T73" fmla="*/ 471356 h 291739"/>
              <a:gd name="T74" fmla="*/ 2053733 w 291288"/>
              <a:gd name="T75" fmla="*/ 907845 h 291739"/>
              <a:gd name="T76" fmla="*/ 1615749 w 291288"/>
              <a:gd name="T77" fmla="*/ 1340336 h 291739"/>
              <a:gd name="T78" fmla="*/ 1177757 w 291288"/>
              <a:gd name="T79" fmla="*/ 907845 h 291739"/>
              <a:gd name="T80" fmla="*/ 1615749 w 291288"/>
              <a:gd name="T81" fmla="*/ 471356 h 291739"/>
              <a:gd name="T82" fmla="*/ 1615749 w 291288"/>
              <a:gd name="T83" fmla="*/ 95201 h 291739"/>
              <a:gd name="T84" fmla="*/ 809176 w 291288"/>
              <a:gd name="T85" fmla="*/ 896289 h 291739"/>
              <a:gd name="T86" fmla="*/ 1615749 w 291288"/>
              <a:gd name="T87" fmla="*/ 2312106 h 291739"/>
              <a:gd name="T88" fmla="*/ 2418321 w 291288"/>
              <a:gd name="T89" fmla="*/ 896289 h 291739"/>
              <a:gd name="T90" fmla="*/ 1615749 w 291288"/>
              <a:gd name="T91" fmla="*/ 95201 h 291739"/>
              <a:gd name="T92" fmla="*/ 1615749 w 291288"/>
              <a:gd name="T93" fmla="*/ 0 h 291739"/>
              <a:gd name="T94" fmla="*/ 2514142 w 291288"/>
              <a:gd name="T95" fmla="*/ 896289 h 291739"/>
              <a:gd name="T96" fmla="*/ 2154774 w 291288"/>
              <a:gd name="T97" fmla="*/ 1812402 h 291739"/>
              <a:gd name="T98" fmla="*/ 2789634 w 291288"/>
              <a:gd name="T99" fmla="*/ 1812402 h 291739"/>
              <a:gd name="T100" fmla="*/ 2833573 w 291288"/>
              <a:gd name="T101" fmla="*/ 1848099 h 291739"/>
              <a:gd name="T102" fmla="*/ 3224882 w 291288"/>
              <a:gd name="T103" fmla="*/ 3140984 h 291739"/>
              <a:gd name="T104" fmla="*/ 3220897 w 291288"/>
              <a:gd name="T105" fmla="*/ 3188573 h 291739"/>
              <a:gd name="T106" fmla="*/ 3180961 w 291288"/>
              <a:gd name="T107" fmla="*/ 3208396 h 291739"/>
              <a:gd name="T108" fmla="*/ 46558 w 291288"/>
              <a:gd name="T109" fmla="*/ 3208396 h 291739"/>
              <a:gd name="T110" fmla="*/ 6633 w 291288"/>
              <a:gd name="T111" fmla="*/ 3188573 h 291739"/>
              <a:gd name="T112" fmla="*/ 2641 w 291288"/>
              <a:gd name="T113" fmla="*/ 3140984 h 291739"/>
              <a:gd name="T114" fmla="*/ 393917 w 291288"/>
              <a:gd name="T115" fmla="*/ 1848099 h 291739"/>
              <a:gd name="T116" fmla="*/ 441828 w 291288"/>
              <a:gd name="T117" fmla="*/ 1812402 h 291739"/>
              <a:gd name="T118" fmla="*/ 1068706 w 291288"/>
              <a:gd name="T119" fmla="*/ 1812402 h 291739"/>
              <a:gd name="T120" fmla="*/ 713343 w 291288"/>
              <a:gd name="T121" fmla="*/ 896289 h 291739"/>
              <a:gd name="T122" fmla="*/ 1615749 w 291288"/>
              <a:gd name="T123" fmla="*/ 0 h 2917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1288" h="291739">
                <a:moveTo>
                  <a:pt x="78754" y="254235"/>
                </a:moveTo>
                <a:lnTo>
                  <a:pt x="74431" y="282724"/>
                </a:lnTo>
                <a:lnTo>
                  <a:pt x="141424" y="282724"/>
                </a:lnTo>
                <a:lnTo>
                  <a:pt x="141424" y="254235"/>
                </a:lnTo>
                <a:lnTo>
                  <a:pt x="78754" y="254235"/>
                </a:lnTo>
                <a:close/>
                <a:moveTo>
                  <a:pt x="84156" y="220698"/>
                </a:moveTo>
                <a:lnTo>
                  <a:pt x="80194" y="245220"/>
                </a:lnTo>
                <a:lnTo>
                  <a:pt x="145746" y="245220"/>
                </a:lnTo>
                <a:cubicBezTo>
                  <a:pt x="147907" y="245220"/>
                  <a:pt x="150068" y="247384"/>
                  <a:pt x="150068" y="249908"/>
                </a:cubicBezTo>
                <a:lnTo>
                  <a:pt x="150068" y="282724"/>
                </a:lnTo>
                <a:lnTo>
                  <a:pt x="268205" y="282724"/>
                </a:lnTo>
                <a:lnTo>
                  <a:pt x="144666" y="220698"/>
                </a:lnTo>
                <a:lnTo>
                  <a:pt x="84156" y="220698"/>
                </a:lnTo>
                <a:close/>
                <a:moveTo>
                  <a:pt x="29050" y="220698"/>
                </a:moveTo>
                <a:lnTo>
                  <a:pt x="10321" y="282724"/>
                </a:lnTo>
                <a:lnTo>
                  <a:pt x="65427" y="282724"/>
                </a:lnTo>
                <a:lnTo>
                  <a:pt x="75512" y="220698"/>
                </a:lnTo>
                <a:lnTo>
                  <a:pt x="29050" y="220698"/>
                </a:lnTo>
                <a:close/>
                <a:moveTo>
                  <a:pt x="258120" y="206273"/>
                </a:moveTo>
                <a:lnTo>
                  <a:pt x="196530" y="237286"/>
                </a:lnTo>
                <a:lnTo>
                  <a:pt x="279730" y="278757"/>
                </a:lnTo>
                <a:lnTo>
                  <a:pt x="258120" y="206273"/>
                </a:lnTo>
                <a:close/>
                <a:moveTo>
                  <a:pt x="188607" y="173818"/>
                </a:moveTo>
                <a:cubicBezTo>
                  <a:pt x="174200" y="192930"/>
                  <a:pt x="160153" y="208076"/>
                  <a:pt x="152950" y="215289"/>
                </a:cubicBezTo>
                <a:lnTo>
                  <a:pt x="186806" y="231877"/>
                </a:lnTo>
                <a:lnTo>
                  <a:pt x="255599" y="197618"/>
                </a:lnTo>
                <a:lnTo>
                  <a:pt x="248395" y="173818"/>
                </a:lnTo>
                <a:lnTo>
                  <a:pt x="188607" y="173818"/>
                </a:lnTo>
                <a:close/>
                <a:moveTo>
                  <a:pt x="92080" y="173818"/>
                </a:moveTo>
                <a:lnTo>
                  <a:pt x="85957" y="212043"/>
                </a:lnTo>
                <a:lnTo>
                  <a:pt x="134941" y="212043"/>
                </a:lnTo>
                <a:cubicBezTo>
                  <a:pt x="127377" y="204109"/>
                  <a:pt x="115131" y="190406"/>
                  <a:pt x="102885" y="173818"/>
                </a:cubicBezTo>
                <a:lnTo>
                  <a:pt x="92080" y="173818"/>
                </a:lnTo>
                <a:close/>
                <a:moveTo>
                  <a:pt x="43096" y="173818"/>
                </a:moveTo>
                <a:lnTo>
                  <a:pt x="31571" y="212043"/>
                </a:lnTo>
                <a:lnTo>
                  <a:pt x="76953" y="212043"/>
                </a:lnTo>
                <a:lnTo>
                  <a:pt x="83076" y="173818"/>
                </a:lnTo>
                <a:lnTo>
                  <a:pt x="43096" y="173818"/>
                </a:lnTo>
                <a:close/>
                <a:moveTo>
                  <a:pt x="145746" y="51521"/>
                </a:moveTo>
                <a:cubicBezTo>
                  <a:pt x="128866" y="51521"/>
                  <a:pt x="115217" y="65592"/>
                  <a:pt x="115217" y="82550"/>
                </a:cubicBezTo>
                <a:cubicBezTo>
                  <a:pt x="115217" y="99507"/>
                  <a:pt x="128866" y="113217"/>
                  <a:pt x="145746" y="113217"/>
                </a:cubicBezTo>
                <a:cubicBezTo>
                  <a:pt x="162627" y="113217"/>
                  <a:pt x="176275" y="99507"/>
                  <a:pt x="176275" y="82550"/>
                </a:cubicBezTo>
                <a:cubicBezTo>
                  <a:pt x="176275" y="65592"/>
                  <a:pt x="162627" y="51521"/>
                  <a:pt x="145746" y="51521"/>
                </a:cubicBezTo>
                <a:close/>
                <a:moveTo>
                  <a:pt x="145746" y="42862"/>
                </a:moveTo>
                <a:cubicBezTo>
                  <a:pt x="167296" y="42862"/>
                  <a:pt x="185254" y="60541"/>
                  <a:pt x="185254" y="82550"/>
                </a:cubicBezTo>
                <a:cubicBezTo>
                  <a:pt x="185254" y="104197"/>
                  <a:pt x="167296" y="121876"/>
                  <a:pt x="145746" y="121876"/>
                </a:cubicBezTo>
                <a:cubicBezTo>
                  <a:pt x="123837" y="121876"/>
                  <a:pt x="106238" y="104197"/>
                  <a:pt x="106238" y="82550"/>
                </a:cubicBezTo>
                <a:cubicBezTo>
                  <a:pt x="106238" y="60541"/>
                  <a:pt x="123837" y="42862"/>
                  <a:pt x="145746" y="42862"/>
                </a:cubicBezTo>
                <a:close/>
                <a:moveTo>
                  <a:pt x="145746" y="8655"/>
                </a:moveTo>
                <a:cubicBezTo>
                  <a:pt x="105767" y="8655"/>
                  <a:pt x="72991" y="41471"/>
                  <a:pt x="72991" y="81500"/>
                </a:cubicBezTo>
                <a:cubicBezTo>
                  <a:pt x="72991" y="133428"/>
                  <a:pt x="131339" y="195815"/>
                  <a:pt x="145746" y="210240"/>
                </a:cubicBezTo>
                <a:cubicBezTo>
                  <a:pt x="159793" y="195815"/>
                  <a:pt x="218141" y="133068"/>
                  <a:pt x="218141" y="81500"/>
                </a:cubicBezTo>
                <a:cubicBezTo>
                  <a:pt x="218141" y="41471"/>
                  <a:pt x="185725" y="8655"/>
                  <a:pt x="145746" y="8655"/>
                </a:cubicBezTo>
                <a:close/>
                <a:moveTo>
                  <a:pt x="145746" y="0"/>
                </a:moveTo>
                <a:cubicBezTo>
                  <a:pt x="190408" y="0"/>
                  <a:pt x="226785" y="36422"/>
                  <a:pt x="226785" y="81500"/>
                </a:cubicBezTo>
                <a:cubicBezTo>
                  <a:pt x="226785" y="109628"/>
                  <a:pt x="211658" y="139920"/>
                  <a:pt x="194369" y="164802"/>
                </a:cubicBezTo>
                <a:lnTo>
                  <a:pt x="251637" y="164802"/>
                </a:lnTo>
                <a:cubicBezTo>
                  <a:pt x="253438" y="164802"/>
                  <a:pt x="255239" y="166245"/>
                  <a:pt x="255599" y="168048"/>
                </a:cubicBezTo>
                <a:lnTo>
                  <a:pt x="290896" y="285609"/>
                </a:lnTo>
                <a:cubicBezTo>
                  <a:pt x="291616" y="287051"/>
                  <a:pt x="291256" y="288494"/>
                  <a:pt x="290536" y="289936"/>
                </a:cubicBezTo>
                <a:cubicBezTo>
                  <a:pt x="289455" y="291018"/>
                  <a:pt x="288375" y="291739"/>
                  <a:pt x="286934" y="291739"/>
                </a:cubicBezTo>
                <a:lnTo>
                  <a:pt x="4198" y="291739"/>
                </a:lnTo>
                <a:cubicBezTo>
                  <a:pt x="3117" y="291739"/>
                  <a:pt x="1677" y="291018"/>
                  <a:pt x="596" y="289936"/>
                </a:cubicBezTo>
                <a:cubicBezTo>
                  <a:pt x="-124" y="288494"/>
                  <a:pt x="-124" y="287051"/>
                  <a:pt x="236" y="285609"/>
                </a:cubicBezTo>
                <a:lnTo>
                  <a:pt x="35533" y="168048"/>
                </a:lnTo>
                <a:cubicBezTo>
                  <a:pt x="36253" y="166245"/>
                  <a:pt x="37694" y="164802"/>
                  <a:pt x="39855" y="164802"/>
                </a:cubicBezTo>
                <a:lnTo>
                  <a:pt x="96402" y="164802"/>
                </a:lnTo>
                <a:cubicBezTo>
                  <a:pt x="79834" y="139920"/>
                  <a:pt x="64347" y="109628"/>
                  <a:pt x="64347" y="81500"/>
                </a:cubicBezTo>
                <a:cubicBezTo>
                  <a:pt x="64347" y="36422"/>
                  <a:pt x="100724" y="0"/>
                  <a:pt x="145746" y="0"/>
                </a:cubicBezTo>
                <a:close/>
              </a:path>
            </a:pathLst>
          </a:custGeom>
          <a:solidFill>
            <a:schemeClr val="accent1"/>
          </a:solidFill>
          <a:ln>
            <a:noFill/>
          </a:ln>
          <a:effectLst/>
        </p:spPr>
        <p:txBody>
          <a:bodyPr anchor="ctr"/>
          <a:lstStyle/>
          <a:p>
            <a:endParaRPr lang="en-US" sz="900">
              <a:latin typeface="+mj-lt"/>
            </a:endParaRPr>
          </a:p>
        </p:txBody>
      </p:sp>
      <p:sp>
        <p:nvSpPr>
          <p:cNvPr id="56" name="Title 1">
            <a:extLst>
              <a:ext uri="{FF2B5EF4-FFF2-40B4-BE49-F238E27FC236}">
                <a16:creationId xmlns:a16="http://schemas.microsoft.com/office/drawing/2014/main" id="{A2030BCA-853A-8B0E-91A7-98667FEF7775}"/>
              </a:ext>
            </a:extLst>
          </p:cNvPr>
          <p:cNvSpPr>
            <a:spLocks noGrp="1"/>
          </p:cNvSpPr>
          <p:nvPr>
            <p:ph type="title"/>
          </p:nvPr>
        </p:nvSpPr>
        <p:spPr>
          <a:xfrm>
            <a:off x="838200" y="664213"/>
            <a:ext cx="10515600" cy="735762"/>
          </a:xfrm>
        </p:spPr>
        <p:txBody>
          <a:bodyPr>
            <a:normAutofit/>
          </a:bodyPr>
          <a:lstStyle>
            <a:lvl1pPr algn="ctr">
              <a:defRPr sz="3600"/>
            </a:lvl1pPr>
          </a:lstStyle>
          <a:p>
            <a:r>
              <a:rPr lang="en-US"/>
              <a:t>Click to edit Master title style</a:t>
            </a:r>
          </a:p>
        </p:txBody>
      </p:sp>
      <p:sp>
        <p:nvSpPr>
          <p:cNvPr id="57" name="Text Placeholder 41">
            <a:extLst>
              <a:ext uri="{FF2B5EF4-FFF2-40B4-BE49-F238E27FC236}">
                <a16:creationId xmlns:a16="http://schemas.microsoft.com/office/drawing/2014/main" id="{EF268411-28FD-3633-8E46-3F3572A57060}"/>
              </a:ext>
            </a:extLst>
          </p:cNvPr>
          <p:cNvSpPr>
            <a:spLocks noGrp="1"/>
          </p:cNvSpPr>
          <p:nvPr>
            <p:ph type="body" sz="quarter" idx="14" hasCustomPrompt="1"/>
          </p:nvPr>
        </p:nvSpPr>
        <p:spPr>
          <a:xfrm>
            <a:off x="1330947" y="2723944"/>
            <a:ext cx="1160462" cy="9205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1</a:t>
            </a:r>
          </a:p>
        </p:txBody>
      </p:sp>
      <p:sp>
        <p:nvSpPr>
          <p:cNvPr id="58" name="Text Placeholder 41">
            <a:extLst>
              <a:ext uri="{FF2B5EF4-FFF2-40B4-BE49-F238E27FC236}">
                <a16:creationId xmlns:a16="http://schemas.microsoft.com/office/drawing/2014/main" id="{C0688526-0192-96E6-066D-BD5B5CE948D2}"/>
              </a:ext>
            </a:extLst>
          </p:cNvPr>
          <p:cNvSpPr>
            <a:spLocks noGrp="1"/>
          </p:cNvSpPr>
          <p:nvPr>
            <p:ph type="body" sz="quarter" idx="15" hasCustomPrompt="1"/>
          </p:nvPr>
        </p:nvSpPr>
        <p:spPr>
          <a:xfrm>
            <a:off x="3398286" y="2723944"/>
            <a:ext cx="1160462" cy="9205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2</a:t>
            </a:r>
          </a:p>
        </p:txBody>
      </p:sp>
      <p:sp>
        <p:nvSpPr>
          <p:cNvPr id="59" name="Text Placeholder 41">
            <a:extLst>
              <a:ext uri="{FF2B5EF4-FFF2-40B4-BE49-F238E27FC236}">
                <a16:creationId xmlns:a16="http://schemas.microsoft.com/office/drawing/2014/main" id="{789AC1A6-64C3-3A6D-F264-65AFBBA18CA7}"/>
              </a:ext>
            </a:extLst>
          </p:cNvPr>
          <p:cNvSpPr>
            <a:spLocks noGrp="1"/>
          </p:cNvSpPr>
          <p:nvPr>
            <p:ph type="body" sz="quarter" idx="16" hasCustomPrompt="1"/>
          </p:nvPr>
        </p:nvSpPr>
        <p:spPr>
          <a:xfrm>
            <a:off x="5485503" y="2723944"/>
            <a:ext cx="1160462" cy="9205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3</a:t>
            </a:r>
          </a:p>
        </p:txBody>
      </p:sp>
      <p:sp>
        <p:nvSpPr>
          <p:cNvPr id="60" name="Text Placeholder 41">
            <a:extLst>
              <a:ext uri="{FF2B5EF4-FFF2-40B4-BE49-F238E27FC236}">
                <a16:creationId xmlns:a16="http://schemas.microsoft.com/office/drawing/2014/main" id="{6CD8C232-5EC4-66FE-AA69-AC391DA8CDF5}"/>
              </a:ext>
            </a:extLst>
          </p:cNvPr>
          <p:cNvSpPr>
            <a:spLocks noGrp="1"/>
          </p:cNvSpPr>
          <p:nvPr>
            <p:ph type="body" sz="quarter" idx="17" hasCustomPrompt="1"/>
          </p:nvPr>
        </p:nvSpPr>
        <p:spPr>
          <a:xfrm>
            <a:off x="7592599" y="2723944"/>
            <a:ext cx="1160462" cy="9205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4</a:t>
            </a:r>
          </a:p>
        </p:txBody>
      </p:sp>
      <p:sp>
        <p:nvSpPr>
          <p:cNvPr id="61" name="Text Placeholder 41">
            <a:extLst>
              <a:ext uri="{FF2B5EF4-FFF2-40B4-BE49-F238E27FC236}">
                <a16:creationId xmlns:a16="http://schemas.microsoft.com/office/drawing/2014/main" id="{E1F3B16D-8668-4966-7A4E-C32D038BB61B}"/>
              </a:ext>
            </a:extLst>
          </p:cNvPr>
          <p:cNvSpPr>
            <a:spLocks noGrp="1"/>
          </p:cNvSpPr>
          <p:nvPr>
            <p:ph type="body" sz="quarter" idx="18" hasCustomPrompt="1"/>
          </p:nvPr>
        </p:nvSpPr>
        <p:spPr>
          <a:xfrm>
            <a:off x="9669877" y="2723944"/>
            <a:ext cx="1160462" cy="9205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5</a:t>
            </a:r>
          </a:p>
        </p:txBody>
      </p:sp>
      <p:sp>
        <p:nvSpPr>
          <p:cNvPr id="62" name="Text Placeholder 35">
            <a:extLst>
              <a:ext uri="{FF2B5EF4-FFF2-40B4-BE49-F238E27FC236}">
                <a16:creationId xmlns:a16="http://schemas.microsoft.com/office/drawing/2014/main" id="{384C9511-8F9E-5960-94E3-0CDB1A95EF2D}"/>
              </a:ext>
            </a:extLst>
          </p:cNvPr>
          <p:cNvSpPr>
            <a:spLocks noGrp="1"/>
          </p:cNvSpPr>
          <p:nvPr>
            <p:ph type="body" sz="quarter" idx="19" hasCustomPrompt="1"/>
          </p:nvPr>
        </p:nvSpPr>
        <p:spPr>
          <a:xfrm>
            <a:off x="973589" y="3854927"/>
            <a:ext cx="1765410" cy="495301"/>
          </a:xfrm>
        </p:spPr>
        <p:txBody>
          <a:bodyPr anchor="b">
            <a:noAutofit/>
          </a:bodyPr>
          <a:lstStyle>
            <a:lvl1pPr marL="0" indent="0" algn="ctr">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1</a:t>
            </a:r>
          </a:p>
        </p:txBody>
      </p:sp>
      <p:sp>
        <p:nvSpPr>
          <p:cNvPr id="63" name="Text Placeholder 2">
            <a:extLst>
              <a:ext uri="{FF2B5EF4-FFF2-40B4-BE49-F238E27FC236}">
                <a16:creationId xmlns:a16="http://schemas.microsoft.com/office/drawing/2014/main" id="{25D98DD7-4BA7-AC16-0C88-74CE0C9F7B50}"/>
              </a:ext>
            </a:extLst>
          </p:cNvPr>
          <p:cNvSpPr>
            <a:spLocks noGrp="1"/>
          </p:cNvSpPr>
          <p:nvPr>
            <p:ph type="body" idx="20" hasCustomPrompt="1"/>
          </p:nvPr>
        </p:nvSpPr>
        <p:spPr>
          <a:xfrm>
            <a:off x="973589" y="4471160"/>
            <a:ext cx="1765410" cy="735762"/>
          </a:xfrm>
        </p:spPr>
        <p:txBody>
          <a:bodyPr>
            <a:normAutofit/>
          </a:bodyPr>
          <a:lstStyle>
            <a:lvl1pPr marL="0" indent="0" algn="ctr">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64" name="Text Placeholder 35">
            <a:extLst>
              <a:ext uri="{FF2B5EF4-FFF2-40B4-BE49-F238E27FC236}">
                <a16:creationId xmlns:a16="http://schemas.microsoft.com/office/drawing/2014/main" id="{1F509865-B476-0838-ECDF-B5388E1B8C92}"/>
              </a:ext>
            </a:extLst>
          </p:cNvPr>
          <p:cNvSpPr>
            <a:spLocks noGrp="1"/>
          </p:cNvSpPr>
          <p:nvPr>
            <p:ph type="body" sz="quarter" idx="21" hasCustomPrompt="1"/>
          </p:nvPr>
        </p:nvSpPr>
        <p:spPr>
          <a:xfrm>
            <a:off x="3090624" y="3854927"/>
            <a:ext cx="1765410" cy="495301"/>
          </a:xfrm>
        </p:spPr>
        <p:txBody>
          <a:bodyPr anchor="b">
            <a:noAutofit/>
          </a:bodyPr>
          <a:lstStyle>
            <a:lvl1pPr marL="0" indent="0" algn="ctr">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2</a:t>
            </a:r>
          </a:p>
        </p:txBody>
      </p:sp>
      <p:sp>
        <p:nvSpPr>
          <p:cNvPr id="65" name="Text Placeholder 2">
            <a:extLst>
              <a:ext uri="{FF2B5EF4-FFF2-40B4-BE49-F238E27FC236}">
                <a16:creationId xmlns:a16="http://schemas.microsoft.com/office/drawing/2014/main" id="{C91E9BDF-A5B2-290A-F018-A314CB75EF7D}"/>
              </a:ext>
            </a:extLst>
          </p:cNvPr>
          <p:cNvSpPr>
            <a:spLocks noGrp="1"/>
          </p:cNvSpPr>
          <p:nvPr>
            <p:ph type="body" idx="22" hasCustomPrompt="1"/>
          </p:nvPr>
        </p:nvSpPr>
        <p:spPr>
          <a:xfrm>
            <a:off x="3090624" y="4471160"/>
            <a:ext cx="1765410" cy="735762"/>
          </a:xfrm>
        </p:spPr>
        <p:txBody>
          <a:bodyPr>
            <a:normAutofit/>
          </a:bodyPr>
          <a:lstStyle>
            <a:lvl1pPr marL="0" indent="0" algn="ctr">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66" name="Text Placeholder 35">
            <a:extLst>
              <a:ext uri="{FF2B5EF4-FFF2-40B4-BE49-F238E27FC236}">
                <a16:creationId xmlns:a16="http://schemas.microsoft.com/office/drawing/2014/main" id="{E83ACB12-F23B-A258-DD4D-BB33D39CAED1}"/>
              </a:ext>
            </a:extLst>
          </p:cNvPr>
          <p:cNvSpPr>
            <a:spLocks noGrp="1"/>
          </p:cNvSpPr>
          <p:nvPr>
            <p:ph type="body" sz="quarter" idx="23" hasCustomPrompt="1"/>
          </p:nvPr>
        </p:nvSpPr>
        <p:spPr>
          <a:xfrm>
            <a:off x="5197719" y="3854927"/>
            <a:ext cx="1765410" cy="495301"/>
          </a:xfrm>
        </p:spPr>
        <p:txBody>
          <a:bodyPr anchor="b">
            <a:noAutofit/>
          </a:bodyPr>
          <a:lstStyle>
            <a:lvl1pPr marL="0" indent="0" algn="ctr">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3</a:t>
            </a:r>
          </a:p>
        </p:txBody>
      </p:sp>
      <p:sp>
        <p:nvSpPr>
          <p:cNvPr id="67" name="Text Placeholder 2">
            <a:extLst>
              <a:ext uri="{FF2B5EF4-FFF2-40B4-BE49-F238E27FC236}">
                <a16:creationId xmlns:a16="http://schemas.microsoft.com/office/drawing/2014/main" id="{79CA0728-93F4-F462-66D7-CA96765630EB}"/>
              </a:ext>
            </a:extLst>
          </p:cNvPr>
          <p:cNvSpPr>
            <a:spLocks noGrp="1"/>
          </p:cNvSpPr>
          <p:nvPr>
            <p:ph type="body" idx="24" hasCustomPrompt="1"/>
          </p:nvPr>
        </p:nvSpPr>
        <p:spPr>
          <a:xfrm>
            <a:off x="5197719" y="4471160"/>
            <a:ext cx="1765410" cy="735762"/>
          </a:xfrm>
        </p:spPr>
        <p:txBody>
          <a:bodyPr>
            <a:normAutofit/>
          </a:bodyPr>
          <a:lstStyle>
            <a:lvl1pPr marL="0" indent="0" algn="ctr">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68" name="Text Placeholder 35">
            <a:extLst>
              <a:ext uri="{FF2B5EF4-FFF2-40B4-BE49-F238E27FC236}">
                <a16:creationId xmlns:a16="http://schemas.microsoft.com/office/drawing/2014/main" id="{62F418AE-A8EC-CCD8-1182-B527502059E1}"/>
              </a:ext>
            </a:extLst>
          </p:cNvPr>
          <p:cNvSpPr>
            <a:spLocks noGrp="1"/>
          </p:cNvSpPr>
          <p:nvPr>
            <p:ph type="body" sz="quarter" idx="25" hasCustomPrompt="1"/>
          </p:nvPr>
        </p:nvSpPr>
        <p:spPr>
          <a:xfrm>
            <a:off x="7284937" y="3854927"/>
            <a:ext cx="1765410" cy="495301"/>
          </a:xfrm>
        </p:spPr>
        <p:txBody>
          <a:bodyPr anchor="b">
            <a:noAutofit/>
          </a:bodyPr>
          <a:lstStyle>
            <a:lvl1pPr marL="0" indent="0" algn="ctr">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4</a:t>
            </a:r>
          </a:p>
        </p:txBody>
      </p:sp>
      <p:sp>
        <p:nvSpPr>
          <p:cNvPr id="69" name="Text Placeholder 2">
            <a:extLst>
              <a:ext uri="{FF2B5EF4-FFF2-40B4-BE49-F238E27FC236}">
                <a16:creationId xmlns:a16="http://schemas.microsoft.com/office/drawing/2014/main" id="{7FDBDFB6-A02E-CB3E-3EDE-0519BFB54A7C}"/>
              </a:ext>
            </a:extLst>
          </p:cNvPr>
          <p:cNvSpPr>
            <a:spLocks noGrp="1"/>
          </p:cNvSpPr>
          <p:nvPr>
            <p:ph type="body" idx="26" hasCustomPrompt="1"/>
          </p:nvPr>
        </p:nvSpPr>
        <p:spPr>
          <a:xfrm>
            <a:off x="7284937" y="4471160"/>
            <a:ext cx="1765410" cy="735762"/>
          </a:xfrm>
        </p:spPr>
        <p:txBody>
          <a:bodyPr>
            <a:normAutofit/>
          </a:bodyPr>
          <a:lstStyle>
            <a:lvl1pPr marL="0" indent="0" algn="ctr">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70" name="Text Placeholder 35">
            <a:extLst>
              <a:ext uri="{FF2B5EF4-FFF2-40B4-BE49-F238E27FC236}">
                <a16:creationId xmlns:a16="http://schemas.microsoft.com/office/drawing/2014/main" id="{12396EDF-2CD4-0526-B486-E4AF336AD94B}"/>
              </a:ext>
            </a:extLst>
          </p:cNvPr>
          <p:cNvSpPr>
            <a:spLocks noGrp="1"/>
          </p:cNvSpPr>
          <p:nvPr>
            <p:ph type="body" sz="quarter" idx="27" hasCustomPrompt="1"/>
          </p:nvPr>
        </p:nvSpPr>
        <p:spPr>
          <a:xfrm>
            <a:off x="9431789" y="3854927"/>
            <a:ext cx="1765410" cy="495301"/>
          </a:xfrm>
        </p:spPr>
        <p:txBody>
          <a:bodyPr anchor="b">
            <a:noAutofit/>
          </a:bodyPr>
          <a:lstStyle>
            <a:lvl1pPr marL="0" indent="0" algn="ctr">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5</a:t>
            </a:r>
          </a:p>
        </p:txBody>
      </p:sp>
      <p:sp>
        <p:nvSpPr>
          <p:cNvPr id="71" name="Text Placeholder 2">
            <a:extLst>
              <a:ext uri="{FF2B5EF4-FFF2-40B4-BE49-F238E27FC236}">
                <a16:creationId xmlns:a16="http://schemas.microsoft.com/office/drawing/2014/main" id="{2356186B-09E5-BC4C-09C7-30F08B06DF2B}"/>
              </a:ext>
            </a:extLst>
          </p:cNvPr>
          <p:cNvSpPr>
            <a:spLocks noGrp="1"/>
          </p:cNvSpPr>
          <p:nvPr>
            <p:ph type="body" idx="28" hasCustomPrompt="1"/>
          </p:nvPr>
        </p:nvSpPr>
        <p:spPr>
          <a:xfrm>
            <a:off x="9431789" y="4471160"/>
            <a:ext cx="1765410" cy="735762"/>
          </a:xfrm>
        </p:spPr>
        <p:txBody>
          <a:bodyPr>
            <a:normAutofit/>
          </a:bodyPr>
          <a:lstStyle>
            <a:lvl1pPr marL="0" indent="0" algn="ctr">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Tree>
    <p:extLst>
      <p:ext uri="{BB962C8B-B14F-4D97-AF65-F5344CB8AC3E}">
        <p14:creationId xmlns:p14="http://schemas.microsoft.com/office/powerpoint/2010/main" val="7468201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06AA12FB-9C44-3248-0C54-126859B79B24}"/>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triped Right Arrow 21">
            <a:extLst>
              <a:ext uri="{FF2B5EF4-FFF2-40B4-BE49-F238E27FC236}">
                <a16:creationId xmlns:a16="http://schemas.microsoft.com/office/drawing/2014/main" id="{E8EC028D-8373-1CBF-2D10-21DE12C0FC9E}"/>
              </a:ext>
            </a:extLst>
          </p:cNvPr>
          <p:cNvSpPr/>
          <p:nvPr userDrawn="1"/>
        </p:nvSpPr>
        <p:spPr>
          <a:xfrm>
            <a:off x="762000" y="1548338"/>
            <a:ext cx="1426734" cy="1112013"/>
          </a:xfrm>
          <a:prstGeom prst="stripedRightArrow">
            <a:avLst>
              <a:gd name="adj1" fmla="val 68868"/>
              <a:gd name="adj2" fmla="val 4056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32" name="Striped Right Arrow 31">
            <a:extLst>
              <a:ext uri="{FF2B5EF4-FFF2-40B4-BE49-F238E27FC236}">
                <a16:creationId xmlns:a16="http://schemas.microsoft.com/office/drawing/2014/main" id="{87055C42-0CB6-4954-CFA5-59B1EA090795}"/>
              </a:ext>
            </a:extLst>
          </p:cNvPr>
          <p:cNvSpPr/>
          <p:nvPr userDrawn="1"/>
        </p:nvSpPr>
        <p:spPr>
          <a:xfrm>
            <a:off x="762000" y="3414233"/>
            <a:ext cx="1426734" cy="1112013"/>
          </a:xfrm>
          <a:prstGeom prst="stripedRightArrow">
            <a:avLst>
              <a:gd name="adj1" fmla="val 68868"/>
              <a:gd name="adj2" fmla="val 4056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38" name="Striped Right Arrow 37">
            <a:extLst>
              <a:ext uri="{FF2B5EF4-FFF2-40B4-BE49-F238E27FC236}">
                <a16:creationId xmlns:a16="http://schemas.microsoft.com/office/drawing/2014/main" id="{61E8B302-9E5B-3194-FB5B-7667D55C10EF}"/>
              </a:ext>
            </a:extLst>
          </p:cNvPr>
          <p:cNvSpPr/>
          <p:nvPr userDrawn="1"/>
        </p:nvSpPr>
        <p:spPr>
          <a:xfrm>
            <a:off x="762000" y="5280127"/>
            <a:ext cx="1426734" cy="1112013"/>
          </a:xfrm>
          <a:prstGeom prst="stripedRightArrow">
            <a:avLst>
              <a:gd name="adj1" fmla="val 68868"/>
              <a:gd name="adj2" fmla="val 4056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46" name="Striped Right Arrow 45">
            <a:extLst>
              <a:ext uri="{FF2B5EF4-FFF2-40B4-BE49-F238E27FC236}">
                <a16:creationId xmlns:a16="http://schemas.microsoft.com/office/drawing/2014/main" id="{C38FD693-4439-E1AE-B389-6D84DED28550}"/>
              </a:ext>
            </a:extLst>
          </p:cNvPr>
          <p:cNvSpPr/>
          <p:nvPr userDrawn="1"/>
        </p:nvSpPr>
        <p:spPr>
          <a:xfrm>
            <a:off x="4511482" y="1548338"/>
            <a:ext cx="1426734" cy="1112013"/>
          </a:xfrm>
          <a:prstGeom prst="stripedRightArrow">
            <a:avLst>
              <a:gd name="adj1" fmla="val 68868"/>
              <a:gd name="adj2" fmla="val 4056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52" name="Striped Right Arrow 51">
            <a:extLst>
              <a:ext uri="{FF2B5EF4-FFF2-40B4-BE49-F238E27FC236}">
                <a16:creationId xmlns:a16="http://schemas.microsoft.com/office/drawing/2014/main" id="{C27D6C5A-17A9-1113-F223-0A85C80E24FD}"/>
              </a:ext>
            </a:extLst>
          </p:cNvPr>
          <p:cNvSpPr/>
          <p:nvPr userDrawn="1"/>
        </p:nvSpPr>
        <p:spPr>
          <a:xfrm>
            <a:off x="4511482" y="3414233"/>
            <a:ext cx="1426734" cy="1112013"/>
          </a:xfrm>
          <a:prstGeom prst="stripedRightArrow">
            <a:avLst>
              <a:gd name="adj1" fmla="val 68868"/>
              <a:gd name="adj2" fmla="val 4056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56" name="Striped Right Arrow 55">
            <a:extLst>
              <a:ext uri="{FF2B5EF4-FFF2-40B4-BE49-F238E27FC236}">
                <a16:creationId xmlns:a16="http://schemas.microsoft.com/office/drawing/2014/main" id="{3516BA3D-DE36-5855-2375-42036B26795F}"/>
              </a:ext>
            </a:extLst>
          </p:cNvPr>
          <p:cNvSpPr/>
          <p:nvPr userDrawn="1"/>
        </p:nvSpPr>
        <p:spPr>
          <a:xfrm>
            <a:off x="4511482" y="5280127"/>
            <a:ext cx="1426734" cy="1112013"/>
          </a:xfrm>
          <a:prstGeom prst="stripedRightArrow">
            <a:avLst>
              <a:gd name="adj1" fmla="val 68868"/>
              <a:gd name="adj2" fmla="val 4056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60" name="Striped Right Arrow 59">
            <a:extLst>
              <a:ext uri="{FF2B5EF4-FFF2-40B4-BE49-F238E27FC236}">
                <a16:creationId xmlns:a16="http://schemas.microsoft.com/office/drawing/2014/main" id="{9CD77E65-8CC0-5B31-D2B2-670FE598B814}"/>
              </a:ext>
            </a:extLst>
          </p:cNvPr>
          <p:cNvSpPr/>
          <p:nvPr userDrawn="1"/>
        </p:nvSpPr>
        <p:spPr>
          <a:xfrm>
            <a:off x="8260965" y="1548338"/>
            <a:ext cx="1426734" cy="1112013"/>
          </a:xfrm>
          <a:prstGeom prst="stripedRightArrow">
            <a:avLst>
              <a:gd name="adj1" fmla="val 68868"/>
              <a:gd name="adj2" fmla="val 4056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64" name="Striped Right Arrow 63">
            <a:extLst>
              <a:ext uri="{FF2B5EF4-FFF2-40B4-BE49-F238E27FC236}">
                <a16:creationId xmlns:a16="http://schemas.microsoft.com/office/drawing/2014/main" id="{726C1380-8269-AAB8-6F8A-CA0671DD4C8E}"/>
              </a:ext>
            </a:extLst>
          </p:cNvPr>
          <p:cNvSpPr/>
          <p:nvPr userDrawn="1"/>
        </p:nvSpPr>
        <p:spPr>
          <a:xfrm>
            <a:off x="8260965" y="3414233"/>
            <a:ext cx="1426734" cy="1112013"/>
          </a:xfrm>
          <a:prstGeom prst="stripedRightArrow">
            <a:avLst>
              <a:gd name="adj1" fmla="val 68868"/>
              <a:gd name="adj2" fmla="val 4056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68" name="Striped Right Arrow 67">
            <a:extLst>
              <a:ext uri="{FF2B5EF4-FFF2-40B4-BE49-F238E27FC236}">
                <a16:creationId xmlns:a16="http://schemas.microsoft.com/office/drawing/2014/main" id="{8B438914-5BC9-ABE1-0D84-951175AE7950}"/>
              </a:ext>
            </a:extLst>
          </p:cNvPr>
          <p:cNvSpPr/>
          <p:nvPr userDrawn="1"/>
        </p:nvSpPr>
        <p:spPr>
          <a:xfrm>
            <a:off x="8260965" y="5280127"/>
            <a:ext cx="1426734" cy="1112013"/>
          </a:xfrm>
          <a:prstGeom prst="stripedRightArrow">
            <a:avLst>
              <a:gd name="adj1" fmla="val 68868"/>
              <a:gd name="adj2" fmla="val 4056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72" name="Title 1">
            <a:extLst>
              <a:ext uri="{FF2B5EF4-FFF2-40B4-BE49-F238E27FC236}">
                <a16:creationId xmlns:a16="http://schemas.microsoft.com/office/drawing/2014/main" id="{F617B065-8A61-D9E2-8B22-04EFD9AC429F}"/>
              </a:ext>
            </a:extLst>
          </p:cNvPr>
          <p:cNvSpPr>
            <a:spLocks noGrp="1"/>
          </p:cNvSpPr>
          <p:nvPr>
            <p:ph type="title"/>
          </p:nvPr>
        </p:nvSpPr>
        <p:spPr>
          <a:xfrm>
            <a:off x="838200" y="483241"/>
            <a:ext cx="10515600" cy="735762"/>
          </a:xfrm>
        </p:spPr>
        <p:txBody>
          <a:bodyPr>
            <a:normAutofit/>
          </a:bodyPr>
          <a:lstStyle>
            <a:lvl1pPr algn="ctr">
              <a:defRPr sz="3600"/>
            </a:lvl1pPr>
          </a:lstStyle>
          <a:p>
            <a:r>
              <a:rPr lang="en-US"/>
              <a:t>Click to edit Master title style</a:t>
            </a:r>
          </a:p>
        </p:txBody>
      </p:sp>
      <p:sp>
        <p:nvSpPr>
          <p:cNvPr id="73" name="Text Placeholder 41">
            <a:extLst>
              <a:ext uri="{FF2B5EF4-FFF2-40B4-BE49-F238E27FC236}">
                <a16:creationId xmlns:a16="http://schemas.microsoft.com/office/drawing/2014/main" id="{400A16FB-5AD3-2F5C-4293-F32AA60CED96}"/>
              </a:ext>
            </a:extLst>
          </p:cNvPr>
          <p:cNvSpPr>
            <a:spLocks noGrp="1"/>
          </p:cNvSpPr>
          <p:nvPr>
            <p:ph type="body" sz="quarter" idx="14" hasCustomPrompt="1"/>
          </p:nvPr>
        </p:nvSpPr>
        <p:spPr>
          <a:xfrm>
            <a:off x="959736" y="1744026"/>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1</a:t>
            </a:r>
          </a:p>
        </p:txBody>
      </p:sp>
      <p:sp>
        <p:nvSpPr>
          <p:cNvPr id="74" name="Text Placeholder 35">
            <a:extLst>
              <a:ext uri="{FF2B5EF4-FFF2-40B4-BE49-F238E27FC236}">
                <a16:creationId xmlns:a16="http://schemas.microsoft.com/office/drawing/2014/main" id="{5E1ECAFF-CC31-816E-AB4C-FEFE9235550D}"/>
              </a:ext>
            </a:extLst>
          </p:cNvPr>
          <p:cNvSpPr>
            <a:spLocks noGrp="1"/>
          </p:cNvSpPr>
          <p:nvPr>
            <p:ph type="body" sz="quarter" idx="19" hasCustomPrompt="1"/>
          </p:nvPr>
        </p:nvSpPr>
        <p:spPr>
          <a:xfrm>
            <a:off x="2272928" y="1548338"/>
            <a:ext cx="1765410" cy="331694"/>
          </a:xfrm>
        </p:spPr>
        <p:txBody>
          <a:bodyPr anchor="b">
            <a:noAutofit/>
          </a:bodyPr>
          <a:lstStyle>
            <a:lvl1pPr marL="0" indent="0" algn="l">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1</a:t>
            </a:r>
          </a:p>
        </p:txBody>
      </p:sp>
      <p:sp>
        <p:nvSpPr>
          <p:cNvPr id="75" name="Text Placeholder 2">
            <a:extLst>
              <a:ext uri="{FF2B5EF4-FFF2-40B4-BE49-F238E27FC236}">
                <a16:creationId xmlns:a16="http://schemas.microsoft.com/office/drawing/2014/main" id="{917310C4-FD47-FD86-EE45-C6DCBF8C1551}"/>
              </a:ext>
            </a:extLst>
          </p:cNvPr>
          <p:cNvSpPr>
            <a:spLocks noGrp="1"/>
          </p:cNvSpPr>
          <p:nvPr>
            <p:ph type="body" idx="20" hasCustomPrompt="1"/>
          </p:nvPr>
        </p:nvSpPr>
        <p:spPr>
          <a:xfrm>
            <a:off x="2272928" y="2000964"/>
            <a:ext cx="1765410" cy="659387"/>
          </a:xfrm>
        </p:spPr>
        <p:txBody>
          <a:bodyPr>
            <a:normAutofit/>
          </a:bodyPr>
          <a:lstStyle>
            <a:lvl1pPr marL="0" indent="0" algn="l">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76" name="Text Placeholder 41">
            <a:extLst>
              <a:ext uri="{FF2B5EF4-FFF2-40B4-BE49-F238E27FC236}">
                <a16:creationId xmlns:a16="http://schemas.microsoft.com/office/drawing/2014/main" id="{7FB6855D-055B-8CE3-59D4-9CAD54B66B7C}"/>
              </a:ext>
            </a:extLst>
          </p:cNvPr>
          <p:cNvSpPr>
            <a:spLocks noGrp="1"/>
          </p:cNvSpPr>
          <p:nvPr>
            <p:ph type="body" sz="quarter" idx="21" hasCustomPrompt="1"/>
          </p:nvPr>
        </p:nvSpPr>
        <p:spPr>
          <a:xfrm>
            <a:off x="4706788" y="1744026"/>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2</a:t>
            </a:r>
          </a:p>
        </p:txBody>
      </p:sp>
      <p:sp>
        <p:nvSpPr>
          <p:cNvPr id="78" name="Text Placeholder 41">
            <a:extLst>
              <a:ext uri="{FF2B5EF4-FFF2-40B4-BE49-F238E27FC236}">
                <a16:creationId xmlns:a16="http://schemas.microsoft.com/office/drawing/2014/main" id="{FD793A20-A2D2-6D85-A11E-2D3FC327A99F}"/>
              </a:ext>
            </a:extLst>
          </p:cNvPr>
          <p:cNvSpPr>
            <a:spLocks noGrp="1"/>
          </p:cNvSpPr>
          <p:nvPr>
            <p:ph type="body" sz="quarter" idx="22" hasCustomPrompt="1"/>
          </p:nvPr>
        </p:nvSpPr>
        <p:spPr>
          <a:xfrm>
            <a:off x="8443901" y="1744026"/>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3</a:t>
            </a:r>
          </a:p>
        </p:txBody>
      </p:sp>
      <p:sp>
        <p:nvSpPr>
          <p:cNvPr id="80" name="Text Placeholder 41">
            <a:extLst>
              <a:ext uri="{FF2B5EF4-FFF2-40B4-BE49-F238E27FC236}">
                <a16:creationId xmlns:a16="http://schemas.microsoft.com/office/drawing/2014/main" id="{9D19FB16-C79B-9B76-7584-378FA48C8BEE}"/>
              </a:ext>
            </a:extLst>
          </p:cNvPr>
          <p:cNvSpPr>
            <a:spLocks noGrp="1"/>
          </p:cNvSpPr>
          <p:nvPr>
            <p:ph type="body" sz="quarter" idx="23" hasCustomPrompt="1"/>
          </p:nvPr>
        </p:nvSpPr>
        <p:spPr>
          <a:xfrm>
            <a:off x="959736" y="3612583"/>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4</a:t>
            </a:r>
          </a:p>
        </p:txBody>
      </p:sp>
      <p:sp>
        <p:nvSpPr>
          <p:cNvPr id="81" name="Text Placeholder 41">
            <a:extLst>
              <a:ext uri="{FF2B5EF4-FFF2-40B4-BE49-F238E27FC236}">
                <a16:creationId xmlns:a16="http://schemas.microsoft.com/office/drawing/2014/main" id="{08526D6B-2F78-7CF5-AA14-D7BB4AE81223}"/>
              </a:ext>
            </a:extLst>
          </p:cNvPr>
          <p:cNvSpPr>
            <a:spLocks noGrp="1"/>
          </p:cNvSpPr>
          <p:nvPr>
            <p:ph type="body" sz="quarter" idx="24" hasCustomPrompt="1"/>
          </p:nvPr>
        </p:nvSpPr>
        <p:spPr>
          <a:xfrm>
            <a:off x="4706788" y="3612583"/>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5</a:t>
            </a:r>
          </a:p>
        </p:txBody>
      </p:sp>
      <p:sp>
        <p:nvSpPr>
          <p:cNvPr id="82" name="Text Placeholder 41">
            <a:extLst>
              <a:ext uri="{FF2B5EF4-FFF2-40B4-BE49-F238E27FC236}">
                <a16:creationId xmlns:a16="http://schemas.microsoft.com/office/drawing/2014/main" id="{287A651A-9E7F-8885-3229-D586D0741B26}"/>
              </a:ext>
            </a:extLst>
          </p:cNvPr>
          <p:cNvSpPr>
            <a:spLocks noGrp="1"/>
          </p:cNvSpPr>
          <p:nvPr>
            <p:ph type="body" sz="quarter" idx="25" hasCustomPrompt="1"/>
          </p:nvPr>
        </p:nvSpPr>
        <p:spPr>
          <a:xfrm>
            <a:off x="8443901" y="3612583"/>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6</a:t>
            </a:r>
          </a:p>
        </p:txBody>
      </p:sp>
      <p:sp>
        <p:nvSpPr>
          <p:cNvPr id="83" name="Text Placeholder 41">
            <a:extLst>
              <a:ext uri="{FF2B5EF4-FFF2-40B4-BE49-F238E27FC236}">
                <a16:creationId xmlns:a16="http://schemas.microsoft.com/office/drawing/2014/main" id="{6C178592-AC3A-77F7-593F-4DC667ECA511}"/>
              </a:ext>
            </a:extLst>
          </p:cNvPr>
          <p:cNvSpPr>
            <a:spLocks noGrp="1"/>
          </p:cNvSpPr>
          <p:nvPr>
            <p:ph type="body" sz="quarter" idx="26" hasCustomPrompt="1"/>
          </p:nvPr>
        </p:nvSpPr>
        <p:spPr>
          <a:xfrm>
            <a:off x="959736" y="5471200"/>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7</a:t>
            </a:r>
          </a:p>
        </p:txBody>
      </p:sp>
      <p:sp>
        <p:nvSpPr>
          <p:cNvPr id="84" name="Text Placeholder 41">
            <a:extLst>
              <a:ext uri="{FF2B5EF4-FFF2-40B4-BE49-F238E27FC236}">
                <a16:creationId xmlns:a16="http://schemas.microsoft.com/office/drawing/2014/main" id="{096AA39D-797A-2897-E082-521FA83E4439}"/>
              </a:ext>
            </a:extLst>
          </p:cNvPr>
          <p:cNvSpPr>
            <a:spLocks noGrp="1"/>
          </p:cNvSpPr>
          <p:nvPr>
            <p:ph type="body" sz="quarter" idx="27" hasCustomPrompt="1"/>
          </p:nvPr>
        </p:nvSpPr>
        <p:spPr>
          <a:xfrm>
            <a:off x="4706788" y="5471200"/>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8</a:t>
            </a:r>
          </a:p>
        </p:txBody>
      </p:sp>
      <p:sp>
        <p:nvSpPr>
          <p:cNvPr id="85" name="Text Placeholder 41">
            <a:extLst>
              <a:ext uri="{FF2B5EF4-FFF2-40B4-BE49-F238E27FC236}">
                <a16:creationId xmlns:a16="http://schemas.microsoft.com/office/drawing/2014/main" id="{EC50A69D-CF25-94A4-B6DB-F430BD3F9C95}"/>
              </a:ext>
            </a:extLst>
          </p:cNvPr>
          <p:cNvSpPr>
            <a:spLocks noGrp="1"/>
          </p:cNvSpPr>
          <p:nvPr>
            <p:ph type="body" sz="quarter" idx="28" hasCustomPrompt="1"/>
          </p:nvPr>
        </p:nvSpPr>
        <p:spPr>
          <a:xfrm>
            <a:off x="8443901" y="5471200"/>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09</a:t>
            </a:r>
          </a:p>
        </p:txBody>
      </p:sp>
      <p:sp>
        <p:nvSpPr>
          <p:cNvPr id="86" name="Text Placeholder 35">
            <a:extLst>
              <a:ext uri="{FF2B5EF4-FFF2-40B4-BE49-F238E27FC236}">
                <a16:creationId xmlns:a16="http://schemas.microsoft.com/office/drawing/2014/main" id="{325A126E-16FD-5D5F-F945-7EF60EE94F17}"/>
              </a:ext>
            </a:extLst>
          </p:cNvPr>
          <p:cNvSpPr>
            <a:spLocks noGrp="1"/>
          </p:cNvSpPr>
          <p:nvPr>
            <p:ph type="body" sz="quarter" idx="29" hasCustomPrompt="1"/>
          </p:nvPr>
        </p:nvSpPr>
        <p:spPr>
          <a:xfrm>
            <a:off x="6019980" y="1548338"/>
            <a:ext cx="1765410" cy="331694"/>
          </a:xfrm>
        </p:spPr>
        <p:txBody>
          <a:bodyPr anchor="b">
            <a:noAutofit/>
          </a:bodyPr>
          <a:lstStyle>
            <a:lvl1pPr marL="0" indent="0" algn="l">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2</a:t>
            </a:r>
          </a:p>
        </p:txBody>
      </p:sp>
      <p:sp>
        <p:nvSpPr>
          <p:cNvPr id="87" name="Text Placeholder 2">
            <a:extLst>
              <a:ext uri="{FF2B5EF4-FFF2-40B4-BE49-F238E27FC236}">
                <a16:creationId xmlns:a16="http://schemas.microsoft.com/office/drawing/2014/main" id="{2FAB025D-FEB1-E7AE-5EEA-5AA8466FADA2}"/>
              </a:ext>
            </a:extLst>
          </p:cNvPr>
          <p:cNvSpPr>
            <a:spLocks noGrp="1"/>
          </p:cNvSpPr>
          <p:nvPr>
            <p:ph type="body" idx="30" hasCustomPrompt="1"/>
          </p:nvPr>
        </p:nvSpPr>
        <p:spPr>
          <a:xfrm>
            <a:off x="6019980" y="2000964"/>
            <a:ext cx="1765410" cy="659387"/>
          </a:xfrm>
        </p:spPr>
        <p:txBody>
          <a:bodyPr>
            <a:normAutofit/>
          </a:bodyPr>
          <a:lstStyle>
            <a:lvl1pPr marL="0" indent="0" algn="l">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88" name="Text Placeholder 35">
            <a:extLst>
              <a:ext uri="{FF2B5EF4-FFF2-40B4-BE49-F238E27FC236}">
                <a16:creationId xmlns:a16="http://schemas.microsoft.com/office/drawing/2014/main" id="{A66AEF8C-4CC0-F0AB-DD0B-041737D499C6}"/>
              </a:ext>
            </a:extLst>
          </p:cNvPr>
          <p:cNvSpPr>
            <a:spLocks noGrp="1"/>
          </p:cNvSpPr>
          <p:nvPr>
            <p:ph type="body" sz="quarter" idx="31" hasCustomPrompt="1"/>
          </p:nvPr>
        </p:nvSpPr>
        <p:spPr>
          <a:xfrm>
            <a:off x="9767032" y="1548338"/>
            <a:ext cx="1765410" cy="331694"/>
          </a:xfrm>
        </p:spPr>
        <p:txBody>
          <a:bodyPr anchor="b">
            <a:noAutofit/>
          </a:bodyPr>
          <a:lstStyle>
            <a:lvl1pPr marL="0" indent="0" algn="l">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3</a:t>
            </a:r>
          </a:p>
        </p:txBody>
      </p:sp>
      <p:sp>
        <p:nvSpPr>
          <p:cNvPr id="89" name="Text Placeholder 2">
            <a:extLst>
              <a:ext uri="{FF2B5EF4-FFF2-40B4-BE49-F238E27FC236}">
                <a16:creationId xmlns:a16="http://schemas.microsoft.com/office/drawing/2014/main" id="{5109EEDB-FA02-A490-F275-BA21D0D96F55}"/>
              </a:ext>
            </a:extLst>
          </p:cNvPr>
          <p:cNvSpPr>
            <a:spLocks noGrp="1"/>
          </p:cNvSpPr>
          <p:nvPr>
            <p:ph type="body" idx="32" hasCustomPrompt="1"/>
          </p:nvPr>
        </p:nvSpPr>
        <p:spPr>
          <a:xfrm>
            <a:off x="9767032" y="2000964"/>
            <a:ext cx="1765410" cy="659387"/>
          </a:xfrm>
        </p:spPr>
        <p:txBody>
          <a:bodyPr>
            <a:normAutofit/>
          </a:bodyPr>
          <a:lstStyle>
            <a:lvl1pPr marL="0" indent="0" algn="l">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0" name="Text Placeholder 35">
            <a:extLst>
              <a:ext uri="{FF2B5EF4-FFF2-40B4-BE49-F238E27FC236}">
                <a16:creationId xmlns:a16="http://schemas.microsoft.com/office/drawing/2014/main" id="{37C73BE0-D161-4D6F-EC58-445CAD694416}"/>
              </a:ext>
            </a:extLst>
          </p:cNvPr>
          <p:cNvSpPr>
            <a:spLocks noGrp="1"/>
          </p:cNvSpPr>
          <p:nvPr>
            <p:ph type="body" sz="quarter" idx="33" hasCustomPrompt="1"/>
          </p:nvPr>
        </p:nvSpPr>
        <p:spPr>
          <a:xfrm>
            <a:off x="2272928" y="3446712"/>
            <a:ext cx="1765410" cy="331694"/>
          </a:xfrm>
        </p:spPr>
        <p:txBody>
          <a:bodyPr anchor="b">
            <a:noAutofit/>
          </a:bodyPr>
          <a:lstStyle>
            <a:lvl1pPr marL="0" indent="0" algn="l">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4</a:t>
            </a:r>
          </a:p>
        </p:txBody>
      </p:sp>
      <p:sp>
        <p:nvSpPr>
          <p:cNvPr id="91" name="Text Placeholder 2">
            <a:extLst>
              <a:ext uri="{FF2B5EF4-FFF2-40B4-BE49-F238E27FC236}">
                <a16:creationId xmlns:a16="http://schemas.microsoft.com/office/drawing/2014/main" id="{6F47A158-DACE-0E92-010C-6DE134A793DC}"/>
              </a:ext>
            </a:extLst>
          </p:cNvPr>
          <p:cNvSpPr>
            <a:spLocks noGrp="1"/>
          </p:cNvSpPr>
          <p:nvPr>
            <p:ph type="body" idx="34" hasCustomPrompt="1"/>
          </p:nvPr>
        </p:nvSpPr>
        <p:spPr>
          <a:xfrm>
            <a:off x="2272928" y="3899338"/>
            <a:ext cx="1765410" cy="659387"/>
          </a:xfrm>
        </p:spPr>
        <p:txBody>
          <a:bodyPr>
            <a:normAutofit/>
          </a:bodyPr>
          <a:lstStyle>
            <a:lvl1pPr marL="0" indent="0" algn="l">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2" name="Text Placeholder 35">
            <a:extLst>
              <a:ext uri="{FF2B5EF4-FFF2-40B4-BE49-F238E27FC236}">
                <a16:creationId xmlns:a16="http://schemas.microsoft.com/office/drawing/2014/main" id="{19F9FB68-8C17-D5C2-2146-2E7F477333BC}"/>
              </a:ext>
            </a:extLst>
          </p:cNvPr>
          <p:cNvSpPr>
            <a:spLocks noGrp="1"/>
          </p:cNvSpPr>
          <p:nvPr>
            <p:ph type="body" sz="quarter" idx="35" hasCustomPrompt="1"/>
          </p:nvPr>
        </p:nvSpPr>
        <p:spPr>
          <a:xfrm>
            <a:off x="6019980" y="3446712"/>
            <a:ext cx="1765410" cy="331694"/>
          </a:xfrm>
        </p:spPr>
        <p:txBody>
          <a:bodyPr anchor="b">
            <a:noAutofit/>
          </a:bodyPr>
          <a:lstStyle>
            <a:lvl1pPr marL="0" indent="0" algn="l">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5</a:t>
            </a:r>
          </a:p>
        </p:txBody>
      </p:sp>
      <p:sp>
        <p:nvSpPr>
          <p:cNvPr id="93" name="Text Placeholder 2">
            <a:extLst>
              <a:ext uri="{FF2B5EF4-FFF2-40B4-BE49-F238E27FC236}">
                <a16:creationId xmlns:a16="http://schemas.microsoft.com/office/drawing/2014/main" id="{754660A6-4985-120A-FEEB-6F5F625E408F}"/>
              </a:ext>
            </a:extLst>
          </p:cNvPr>
          <p:cNvSpPr>
            <a:spLocks noGrp="1"/>
          </p:cNvSpPr>
          <p:nvPr>
            <p:ph type="body" idx="36" hasCustomPrompt="1"/>
          </p:nvPr>
        </p:nvSpPr>
        <p:spPr>
          <a:xfrm>
            <a:off x="6019980" y="3899338"/>
            <a:ext cx="1765410" cy="659387"/>
          </a:xfrm>
        </p:spPr>
        <p:txBody>
          <a:bodyPr>
            <a:normAutofit/>
          </a:bodyPr>
          <a:lstStyle>
            <a:lvl1pPr marL="0" indent="0" algn="l">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4" name="Text Placeholder 35">
            <a:extLst>
              <a:ext uri="{FF2B5EF4-FFF2-40B4-BE49-F238E27FC236}">
                <a16:creationId xmlns:a16="http://schemas.microsoft.com/office/drawing/2014/main" id="{5707950D-3BEF-A4E0-CB2F-43B520A5850E}"/>
              </a:ext>
            </a:extLst>
          </p:cNvPr>
          <p:cNvSpPr>
            <a:spLocks noGrp="1"/>
          </p:cNvSpPr>
          <p:nvPr>
            <p:ph type="body" sz="quarter" idx="37" hasCustomPrompt="1"/>
          </p:nvPr>
        </p:nvSpPr>
        <p:spPr>
          <a:xfrm>
            <a:off x="9767032" y="3446712"/>
            <a:ext cx="1765410" cy="331694"/>
          </a:xfrm>
        </p:spPr>
        <p:txBody>
          <a:bodyPr anchor="b">
            <a:noAutofit/>
          </a:bodyPr>
          <a:lstStyle>
            <a:lvl1pPr marL="0" indent="0" algn="l">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6</a:t>
            </a:r>
          </a:p>
        </p:txBody>
      </p:sp>
      <p:sp>
        <p:nvSpPr>
          <p:cNvPr id="95" name="Text Placeholder 2">
            <a:extLst>
              <a:ext uri="{FF2B5EF4-FFF2-40B4-BE49-F238E27FC236}">
                <a16:creationId xmlns:a16="http://schemas.microsoft.com/office/drawing/2014/main" id="{B031C87D-D7D8-41D0-BD38-9D76CFF847C6}"/>
              </a:ext>
            </a:extLst>
          </p:cNvPr>
          <p:cNvSpPr>
            <a:spLocks noGrp="1"/>
          </p:cNvSpPr>
          <p:nvPr>
            <p:ph type="body" idx="38" hasCustomPrompt="1"/>
          </p:nvPr>
        </p:nvSpPr>
        <p:spPr>
          <a:xfrm>
            <a:off x="9767032" y="3899338"/>
            <a:ext cx="1765410" cy="659387"/>
          </a:xfrm>
        </p:spPr>
        <p:txBody>
          <a:bodyPr>
            <a:normAutofit/>
          </a:bodyPr>
          <a:lstStyle>
            <a:lvl1pPr marL="0" indent="0" algn="l">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6" name="Text Placeholder 35">
            <a:extLst>
              <a:ext uri="{FF2B5EF4-FFF2-40B4-BE49-F238E27FC236}">
                <a16:creationId xmlns:a16="http://schemas.microsoft.com/office/drawing/2014/main" id="{FA68DA5E-3489-538F-059A-4864F098ED24}"/>
              </a:ext>
            </a:extLst>
          </p:cNvPr>
          <p:cNvSpPr>
            <a:spLocks noGrp="1"/>
          </p:cNvSpPr>
          <p:nvPr>
            <p:ph type="body" sz="quarter" idx="39" hasCustomPrompt="1"/>
          </p:nvPr>
        </p:nvSpPr>
        <p:spPr>
          <a:xfrm>
            <a:off x="2272928" y="5265573"/>
            <a:ext cx="1765410" cy="331694"/>
          </a:xfrm>
        </p:spPr>
        <p:txBody>
          <a:bodyPr anchor="b">
            <a:noAutofit/>
          </a:bodyPr>
          <a:lstStyle>
            <a:lvl1pPr marL="0" indent="0" algn="l">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7</a:t>
            </a:r>
          </a:p>
        </p:txBody>
      </p:sp>
      <p:sp>
        <p:nvSpPr>
          <p:cNvPr id="97" name="Text Placeholder 2">
            <a:extLst>
              <a:ext uri="{FF2B5EF4-FFF2-40B4-BE49-F238E27FC236}">
                <a16:creationId xmlns:a16="http://schemas.microsoft.com/office/drawing/2014/main" id="{F2815D90-1C5A-F661-9424-AF0FD6A7CDBB}"/>
              </a:ext>
            </a:extLst>
          </p:cNvPr>
          <p:cNvSpPr>
            <a:spLocks noGrp="1"/>
          </p:cNvSpPr>
          <p:nvPr>
            <p:ph type="body" idx="40" hasCustomPrompt="1"/>
          </p:nvPr>
        </p:nvSpPr>
        <p:spPr>
          <a:xfrm>
            <a:off x="2272928" y="5718199"/>
            <a:ext cx="1765410" cy="659387"/>
          </a:xfrm>
        </p:spPr>
        <p:txBody>
          <a:bodyPr>
            <a:normAutofit/>
          </a:bodyPr>
          <a:lstStyle>
            <a:lvl1pPr marL="0" indent="0" algn="l">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8" name="Text Placeholder 35">
            <a:extLst>
              <a:ext uri="{FF2B5EF4-FFF2-40B4-BE49-F238E27FC236}">
                <a16:creationId xmlns:a16="http://schemas.microsoft.com/office/drawing/2014/main" id="{52833FAA-F77D-EEDC-203B-5B408CA72C23}"/>
              </a:ext>
            </a:extLst>
          </p:cNvPr>
          <p:cNvSpPr>
            <a:spLocks noGrp="1"/>
          </p:cNvSpPr>
          <p:nvPr>
            <p:ph type="body" sz="quarter" idx="41" hasCustomPrompt="1"/>
          </p:nvPr>
        </p:nvSpPr>
        <p:spPr>
          <a:xfrm>
            <a:off x="6019980" y="5265573"/>
            <a:ext cx="1765410" cy="331694"/>
          </a:xfrm>
        </p:spPr>
        <p:txBody>
          <a:bodyPr anchor="b">
            <a:noAutofit/>
          </a:bodyPr>
          <a:lstStyle>
            <a:lvl1pPr marL="0" indent="0" algn="l">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8</a:t>
            </a:r>
          </a:p>
        </p:txBody>
      </p:sp>
      <p:sp>
        <p:nvSpPr>
          <p:cNvPr id="99" name="Text Placeholder 2">
            <a:extLst>
              <a:ext uri="{FF2B5EF4-FFF2-40B4-BE49-F238E27FC236}">
                <a16:creationId xmlns:a16="http://schemas.microsoft.com/office/drawing/2014/main" id="{EF5FF96D-E2AE-03B9-6C58-67B346F85D55}"/>
              </a:ext>
            </a:extLst>
          </p:cNvPr>
          <p:cNvSpPr>
            <a:spLocks noGrp="1"/>
          </p:cNvSpPr>
          <p:nvPr>
            <p:ph type="body" idx="42" hasCustomPrompt="1"/>
          </p:nvPr>
        </p:nvSpPr>
        <p:spPr>
          <a:xfrm>
            <a:off x="6019980" y="5718199"/>
            <a:ext cx="1765410" cy="659387"/>
          </a:xfrm>
        </p:spPr>
        <p:txBody>
          <a:bodyPr>
            <a:normAutofit/>
          </a:bodyPr>
          <a:lstStyle>
            <a:lvl1pPr marL="0" indent="0" algn="l">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100" name="Text Placeholder 35">
            <a:extLst>
              <a:ext uri="{FF2B5EF4-FFF2-40B4-BE49-F238E27FC236}">
                <a16:creationId xmlns:a16="http://schemas.microsoft.com/office/drawing/2014/main" id="{C7BF35C7-9339-2C64-FF25-59590F39242F}"/>
              </a:ext>
            </a:extLst>
          </p:cNvPr>
          <p:cNvSpPr>
            <a:spLocks noGrp="1"/>
          </p:cNvSpPr>
          <p:nvPr>
            <p:ph type="body" sz="quarter" idx="43" hasCustomPrompt="1"/>
          </p:nvPr>
        </p:nvSpPr>
        <p:spPr>
          <a:xfrm>
            <a:off x="9767032" y="5265573"/>
            <a:ext cx="1765410" cy="331694"/>
          </a:xfrm>
        </p:spPr>
        <p:txBody>
          <a:bodyPr anchor="b">
            <a:noAutofit/>
          </a:bodyPr>
          <a:lstStyle>
            <a:lvl1pPr marL="0" indent="0" algn="l">
              <a:buNone/>
              <a:defRPr sz="16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9</a:t>
            </a:r>
          </a:p>
        </p:txBody>
      </p:sp>
      <p:sp>
        <p:nvSpPr>
          <p:cNvPr id="101" name="Text Placeholder 2">
            <a:extLst>
              <a:ext uri="{FF2B5EF4-FFF2-40B4-BE49-F238E27FC236}">
                <a16:creationId xmlns:a16="http://schemas.microsoft.com/office/drawing/2014/main" id="{71A66697-D459-8F90-965B-B21DCF610D67}"/>
              </a:ext>
            </a:extLst>
          </p:cNvPr>
          <p:cNvSpPr>
            <a:spLocks noGrp="1"/>
          </p:cNvSpPr>
          <p:nvPr>
            <p:ph type="body" idx="44" hasCustomPrompt="1"/>
          </p:nvPr>
        </p:nvSpPr>
        <p:spPr>
          <a:xfrm>
            <a:off x="9767032" y="5718199"/>
            <a:ext cx="1765410" cy="659387"/>
          </a:xfrm>
        </p:spPr>
        <p:txBody>
          <a:bodyPr>
            <a:normAutofit/>
          </a:bodyPr>
          <a:lstStyle>
            <a:lvl1pPr marL="0" indent="0" algn="l">
              <a:lnSpc>
                <a:spcPct val="100000"/>
              </a:lnSpc>
              <a:buNone/>
              <a:defRPr sz="9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Tree>
    <p:extLst>
      <p:ext uri="{BB962C8B-B14F-4D97-AF65-F5344CB8AC3E}">
        <p14:creationId xmlns:p14="http://schemas.microsoft.com/office/powerpoint/2010/main" val="349412954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ABFBE34-2614-1561-2698-01D86871189A}"/>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lded Corner 2">
            <a:extLst>
              <a:ext uri="{FF2B5EF4-FFF2-40B4-BE49-F238E27FC236}">
                <a16:creationId xmlns:a16="http://schemas.microsoft.com/office/drawing/2014/main" id="{22C7200A-9D9C-D686-98CF-1BEF4514EB21}"/>
              </a:ext>
            </a:extLst>
          </p:cNvPr>
          <p:cNvSpPr/>
          <p:nvPr userDrawn="1"/>
        </p:nvSpPr>
        <p:spPr>
          <a:xfrm>
            <a:off x="762000" y="1580606"/>
            <a:ext cx="3289074" cy="1306286"/>
          </a:xfrm>
          <a:prstGeom prst="foldedCorner">
            <a:avLst>
              <a:gd name="adj" fmla="val 2575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4" name="Folded Corner 3">
            <a:extLst>
              <a:ext uri="{FF2B5EF4-FFF2-40B4-BE49-F238E27FC236}">
                <a16:creationId xmlns:a16="http://schemas.microsoft.com/office/drawing/2014/main" id="{605420D3-D288-0702-0EAF-85972A619083}"/>
              </a:ext>
            </a:extLst>
          </p:cNvPr>
          <p:cNvSpPr/>
          <p:nvPr userDrawn="1"/>
        </p:nvSpPr>
        <p:spPr>
          <a:xfrm>
            <a:off x="4451463" y="1580606"/>
            <a:ext cx="3289074" cy="1306286"/>
          </a:xfrm>
          <a:prstGeom prst="foldedCorner">
            <a:avLst>
              <a:gd name="adj" fmla="val 2575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8" name="Folded Corner 7">
            <a:extLst>
              <a:ext uri="{FF2B5EF4-FFF2-40B4-BE49-F238E27FC236}">
                <a16:creationId xmlns:a16="http://schemas.microsoft.com/office/drawing/2014/main" id="{174FE8EC-48A8-44A1-C45E-F9113FCB5A3B}"/>
              </a:ext>
            </a:extLst>
          </p:cNvPr>
          <p:cNvSpPr/>
          <p:nvPr userDrawn="1"/>
        </p:nvSpPr>
        <p:spPr>
          <a:xfrm>
            <a:off x="8140928" y="1580606"/>
            <a:ext cx="3289074" cy="1306286"/>
          </a:xfrm>
          <a:prstGeom prst="foldedCorner">
            <a:avLst>
              <a:gd name="adj" fmla="val 2575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9" name="Folded Corner 8">
            <a:extLst>
              <a:ext uri="{FF2B5EF4-FFF2-40B4-BE49-F238E27FC236}">
                <a16:creationId xmlns:a16="http://schemas.microsoft.com/office/drawing/2014/main" id="{A83970DB-C69E-C0E7-66B9-EC0B188D37BC}"/>
              </a:ext>
            </a:extLst>
          </p:cNvPr>
          <p:cNvSpPr/>
          <p:nvPr userDrawn="1"/>
        </p:nvSpPr>
        <p:spPr>
          <a:xfrm>
            <a:off x="762000" y="3375660"/>
            <a:ext cx="3289074" cy="1306286"/>
          </a:xfrm>
          <a:prstGeom prst="foldedCorner">
            <a:avLst>
              <a:gd name="adj" fmla="val 2575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13" name="Folded Corner 12">
            <a:extLst>
              <a:ext uri="{FF2B5EF4-FFF2-40B4-BE49-F238E27FC236}">
                <a16:creationId xmlns:a16="http://schemas.microsoft.com/office/drawing/2014/main" id="{0B4753DF-C0AD-834C-C30C-19D1FFC121F6}"/>
              </a:ext>
            </a:extLst>
          </p:cNvPr>
          <p:cNvSpPr/>
          <p:nvPr userDrawn="1"/>
        </p:nvSpPr>
        <p:spPr>
          <a:xfrm>
            <a:off x="4451463" y="3375660"/>
            <a:ext cx="3289074" cy="1306286"/>
          </a:xfrm>
          <a:prstGeom prst="foldedCorner">
            <a:avLst>
              <a:gd name="adj" fmla="val 2575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14" name="Folded Corner 13">
            <a:extLst>
              <a:ext uri="{FF2B5EF4-FFF2-40B4-BE49-F238E27FC236}">
                <a16:creationId xmlns:a16="http://schemas.microsoft.com/office/drawing/2014/main" id="{CE44B8AF-0966-C31F-6F4E-560FA8742C6B}"/>
              </a:ext>
            </a:extLst>
          </p:cNvPr>
          <p:cNvSpPr/>
          <p:nvPr userDrawn="1"/>
        </p:nvSpPr>
        <p:spPr>
          <a:xfrm>
            <a:off x="8140928" y="3375660"/>
            <a:ext cx="3289074" cy="1306286"/>
          </a:xfrm>
          <a:prstGeom prst="foldedCorner">
            <a:avLst>
              <a:gd name="adj" fmla="val 2575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18" name="Folded Corner 17">
            <a:extLst>
              <a:ext uri="{FF2B5EF4-FFF2-40B4-BE49-F238E27FC236}">
                <a16:creationId xmlns:a16="http://schemas.microsoft.com/office/drawing/2014/main" id="{A227957A-5C67-AEE2-F809-C25FDA8C3BB1}"/>
              </a:ext>
            </a:extLst>
          </p:cNvPr>
          <p:cNvSpPr/>
          <p:nvPr userDrawn="1"/>
        </p:nvSpPr>
        <p:spPr>
          <a:xfrm>
            <a:off x="762000" y="5170715"/>
            <a:ext cx="3289074" cy="1306286"/>
          </a:xfrm>
          <a:prstGeom prst="foldedCorner">
            <a:avLst>
              <a:gd name="adj" fmla="val 2575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19" name="Folded Corner 18">
            <a:extLst>
              <a:ext uri="{FF2B5EF4-FFF2-40B4-BE49-F238E27FC236}">
                <a16:creationId xmlns:a16="http://schemas.microsoft.com/office/drawing/2014/main" id="{B256DE92-9998-BECD-2851-81BD98A77CB4}"/>
              </a:ext>
            </a:extLst>
          </p:cNvPr>
          <p:cNvSpPr/>
          <p:nvPr userDrawn="1"/>
        </p:nvSpPr>
        <p:spPr>
          <a:xfrm>
            <a:off x="4451463" y="5170715"/>
            <a:ext cx="3289074" cy="1306286"/>
          </a:xfrm>
          <a:prstGeom prst="foldedCorner">
            <a:avLst>
              <a:gd name="adj" fmla="val 2575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26" name="Folded Corner 25">
            <a:extLst>
              <a:ext uri="{FF2B5EF4-FFF2-40B4-BE49-F238E27FC236}">
                <a16:creationId xmlns:a16="http://schemas.microsoft.com/office/drawing/2014/main" id="{D92F0BAE-CCB6-2332-201F-07B67F79D5C9}"/>
              </a:ext>
            </a:extLst>
          </p:cNvPr>
          <p:cNvSpPr/>
          <p:nvPr userDrawn="1"/>
        </p:nvSpPr>
        <p:spPr>
          <a:xfrm>
            <a:off x="8140928" y="5170715"/>
            <a:ext cx="3289074" cy="1306286"/>
          </a:xfrm>
          <a:prstGeom prst="foldedCorner">
            <a:avLst>
              <a:gd name="adj" fmla="val 2575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70" name="Title 1">
            <a:extLst>
              <a:ext uri="{FF2B5EF4-FFF2-40B4-BE49-F238E27FC236}">
                <a16:creationId xmlns:a16="http://schemas.microsoft.com/office/drawing/2014/main" id="{C07AB3D1-DE1D-5631-AE1B-1DB8D773FB0B}"/>
              </a:ext>
            </a:extLst>
          </p:cNvPr>
          <p:cNvSpPr>
            <a:spLocks noGrp="1"/>
          </p:cNvSpPr>
          <p:nvPr>
            <p:ph type="title"/>
          </p:nvPr>
        </p:nvSpPr>
        <p:spPr>
          <a:xfrm>
            <a:off x="838200" y="483241"/>
            <a:ext cx="10515600" cy="735762"/>
          </a:xfrm>
        </p:spPr>
        <p:txBody>
          <a:bodyPr>
            <a:normAutofit/>
          </a:bodyPr>
          <a:lstStyle>
            <a:lvl1pPr algn="ctr">
              <a:defRPr sz="3600"/>
            </a:lvl1pPr>
          </a:lstStyle>
          <a:p>
            <a:r>
              <a:rPr lang="en-US"/>
              <a:t>Click to edit Master title style</a:t>
            </a:r>
          </a:p>
        </p:txBody>
      </p:sp>
      <p:sp>
        <p:nvSpPr>
          <p:cNvPr id="71" name="Text Placeholder 41">
            <a:extLst>
              <a:ext uri="{FF2B5EF4-FFF2-40B4-BE49-F238E27FC236}">
                <a16:creationId xmlns:a16="http://schemas.microsoft.com/office/drawing/2014/main" id="{B1C8A2B5-9BAA-C1A4-3A5B-CB2BBE26F4A1}"/>
              </a:ext>
            </a:extLst>
          </p:cNvPr>
          <p:cNvSpPr>
            <a:spLocks noGrp="1"/>
          </p:cNvSpPr>
          <p:nvPr>
            <p:ph type="body" sz="quarter" idx="14" hasCustomPrompt="1"/>
          </p:nvPr>
        </p:nvSpPr>
        <p:spPr>
          <a:xfrm>
            <a:off x="794383" y="1859280"/>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1.</a:t>
            </a:r>
          </a:p>
        </p:txBody>
      </p:sp>
      <p:sp>
        <p:nvSpPr>
          <p:cNvPr id="72" name="Text Placeholder 41">
            <a:extLst>
              <a:ext uri="{FF2B5EF4-FFF2-40B4-BE49-F238E27FC236}">
                <a16:creationId xmlns:a16="http://schemas.microsoft.com/office/drawing/2014/main" id="{8E8AE779-3A58-D52C-F14D-6D5CF1F34BF2}"/>
              </a:ext>
            </a:extLst>
          </p:cNvPr>
          <p:cNvSpPr>
            <a:spLocks noGrp="1"/>
          </p:cNvSpPr>
          <p:nvPr>
            <p:ph type="body" sz="quarter" idx="21" hasCustomPrompt="1"/>
          </p:nvPr>
        </p:nvSpPr>
        <p:spPr>
          <a:xfrm>
            <a:off x="4477591" y="1859280"/>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2.</a:t>
            </a:r>
          </a:p>
        </p:txBody>
      </p:sp>
      <p:sp>
        <p:nvSpPr>
          <p:cNvPr id="73" name="Text Placeholder 41">
            <a:extLst>
              <a:ext uri="{FF2B5EF4-FFF2-40B4-BE49-F238E27FC236}">
                <a16:creationId xmlns:a16="http://schemas.microsoft.com/office/drawing/2014/main" id="{C608B8AB-35FD-137F-1852-AD8CE4CCCECE}"/>
              </a:ext>
            </a:extLst>
          </p:cNvPr>
          <p:cNvSpPr>
            <a:spLocks noGrp="1"/>
          </p:cNvSpPr>
          <p:nvPr>
            <p:ph type="body" sz="quarter" idx="22" hasCustomPrompt="1"/>
          </p:nvPr>
        </p:nvSpPr>
        <p:spPr>
          <a:xfrm>
            <a:off x="8173496" y="1859280"/>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3.</a:t>
            </a:r>
          </a:p>
        </p:txBody>
      </p:sp>
      <p:sp>
        <p:nvSpPr>
          <p:cNvPr id="74" name="Text Placeholder 41">
            <a:extLst>
              <a:ext uri="{FF2B5EF4-FFF2-40B4-BE49-F238E27FC236}">
                <a16:creationId xmlns:a16="http://schemas.microsoft.com/office/drawing/2014/main" id="{DE992F7A-F2B4-A492-9420-069ACDBD4397}"/>
              </a:ext>
            </a:extLst>
          </p:cNvPr>
          <p:cNvSpPr>
            <a:spLocks noGrp="1"/>
          </p:cNvSpPr>
          <p:nvPr>
            <p:ph type="body" sz="quarter" idx="23" hasCustomPrompt="1"/>
          </p:nvPr>
        </p:nvSpPr>
        <p:spPr>
          <a:xfrm>
            <a:off x="794383" y="3668364"/>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4.</a:t>
            </a:r>
          </a:p>
        </p:txBody>
      </p:sp>
      <p:sp>
        <p:nvSpPr>
          <p:cNvPr id="75" name="Text Placeholder 41">
            <a:extLst>
              <a:ext uri="{FF2B5EF4-FFF2-40B4-BE49-F238E27FC236}">
                <a16:creationId xmlns:a16="http://schemas.microsoft.com/office/drawing/2014/main" id="{AD3545DC-8B48-5572-FA00-56813105B2D5}"/>
              </a:ext>
            </a:extLst>
          </p:cNvPr>
          <p:cNvSpPr>
            <a:spLocks noGrp="1"/>
          </p:cNvSpPr>
          <p:nvPr>
            <p:ph type="body" sz="quarter" idx="24" hasCustomPrompt="1"/>
          </p:nvPr>
        </p:nvSpPr>
        <p:spPr>
          <a:xfrm>
            <a:off x="4477591" y="3668364"/>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5.</a:t>
            </a:r>
          </a:p>
        </p:txBody>
      </p:sp>
      <p:sp>
        <p:nvSpPr>
          <p:cNvPr id="76" name="Text Placeholder 41">
            <a:extLst>
              <a:ext uri="{FF2B5EF4-FFF2-40B4-BE49-F238E27FC236}">
                <a16:creationId xmlns:a16="http://schemas.microsoft.com/office/drawing/2014/main" id="{B20B858E-A65B-213E-B073-7D308BE938FE}"/>
              </a:ext>
            </a:extLst>
          </p:cNvPr>
          <p:cNvSpPr>
            <a:spLocks noGrp="1"/>
          </p:cNvSpPr>
          <p:nvPr>
            <p:ph type="body" sz="quarter" idx="25" hasCustomPrompt="1"/>
          </p:nvPr>
        </p:nvSpPr>
        <p:spPr>
          <a:xfrm>
            <a:off x="8167055" y="3668364"/>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6.</a:t>
            </a:r>
          </a:p>
        </p:txBody>
      </p:sp>
      <p:sp>
        <p:nvSpPr>
          <p:cNvPr id="77" name="Text Placeholder 41">
            <a:extLst>
              <a:ext uri="{FF2B5EF4-FFF2-40B4-BE49-F238E27FC236}">
                <a16:creationId xmlns:a16="http://schemas.microsoft.com/office/drawing/2014/main" id="{7792AD9A-5993-23E7-5C0F-9B22E178FDC9}"/>
              </a:ext>
            </a:extLst>
          </p:cNvPr>
          <p:cNvSpPr>
            <a:spLocks noGrp="1"/>
          </p:cNvSpPr>
          <p:nvPr>
            <p:ph type="body" sz="quarter" idx="26" hasCustomPrompt="1"/>
          </p:nvPr>
        </p:nvSpPr>
        <p:spPr>
          <a:xfrm>
            <a:off x="794383" y="5463419"/>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7.</a:t>
            </a:r>
          </a:p>
        </p:txBody>
      </p:sp>
      <p:sp>
        <p:nvSpPr>
          <p:cNvPr id="78" name="Text Placeholder 41">
            <a:extLst>
              <a:ext uri="{FF2B5EF4-FFF2-40B4-BE49-F238E27FC236}">
                <a16:creationId xmlns:a16="http://schemas.microsoft.com/office/drawing/2014/main" id="{4F1F28CC-E191-033B-F103-E941511216B8}"/>
              </a:ext>
            </a:extLst>
          </p:cNvPr>
          <p:cNvSpPr>
            <a:spLocks noGrp="1"/>
          </p:cNvSpPr>
          <p:nvPr>
            <p:ph type="body" sz="quarter" idx="27" hasCustomPrompt="1"/>
          </p:nvPr>
        </p:nvSpPr>
        <p:spPr>
          <a:xfrm>
            <a:off x="4477591" y="5463419"/>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8.</a:t>
            </a:r>
          </a:p>
        </p:txBody>
      </p:sp>
      <p:sp>
        <p:nvSpPr>
          <p:cNvPr id="79" name="Text Placeholder 41">
            <a:extLst>
              <a:ext uri="{FF2B5EF4-FFF2-40B4-BE49-F238E27FC236}">
                <a16:creationId xmlns:a16="http://schemas.microsoft.com/office/drawing/2014/main" id="{B31CF86C-AB67-941F-CDBA-ECB9246701F3}"/>
              </a:ext>
            </a:extLst>
          </p:cNvPr>
          <p:cNvSpPr>
            <a:spLocks noGrp="1"/>
          </p:cNvSpPr>
          <p:nvPr>
            <p:ph type="body" sz="quarter" idx="28" hasCustomPrompt="1"/>
          </p:nvPr>
        </p:nvSpPr>
        <p:spPr>
          <a:xfrm>
            <a:off x="8173496" y="5463419"/>
            <a:ext cx="732745" cy="720878"/>
          </a:xfrm>
        </p:spPr>
        <p:txBody>
          <a:bodyPr anchor="ctr">
            <a:noAutofit/>
          </a:bodyPr>
          <a:lstStyle>
            <a:lvl1pPr marL="0" indent="0" algn="ctr">
              <a:buNone/>
              <a:defRPr sz="28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9.</a:t>
            </a:r>
          </a:p>
        </p:txBody>
      </p:sp>
      <p:sp>
        <p:nvSpPr>
          <p:cNvPr id="80" name="Text Placeholder 35">
            <a:extLst>
              <a:ext uri="{FF2B5EF4-FFF2-40B4-BE49-F238E27FC236}">
                <a16:creationId xmlns:a16="http://schemas.microsoft.com/office/drawing/2014/main" id="{93CCB1EA-47DE-F0B3-E0CB-8DAD6DEBE699}"/>
              </a:ext>
            </a:extLst>
          </p:cNvPr>
          <p:cNvSpPr>
            <a:spLocks noGrp="1"/>
          </p:cNvSpPr>
          <p:nvPr>
            <p:ph type="body" sz="quarter" idx="19" hasCustomPrompt="1"/>
          </p:nvPr>
        </p:nvSpPr>
        <p:spPr>
          <a:xfrm>
            <a:off x="1787064" y="1707771"/>
            <a:ext cx="1765410" cy="331694"/>
          </a:xfrm>
        </p:spPr>
        <p:txBody>
          <a:bodyPr anchor="b">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1</a:t>
            </a:r>
          </a:p>
        </p:txBody>
      </p:sp>
      <p:sp>
        <p:nvSpPr>
          <p:cNvPr id="81" name="Text Placeholder 2">
            <a:extLst>
              <a:ext uri="{FF2B5EF4-FFF2-40B4-BE49-F238E27FC236}">
                <a16:creationId xmlns:a16="http://schemas.microsoft.com/office/drawing/2014/main" id="{ECB453C6-9BA2-5410-948A-B03682E78FCF}"/>
              </a:ext>
            </a:extLst>
          </p:cNvPr>
          <p:cNvSpPr>
            <a:spLocks noGrp="1"/>
          </p:cNvSpPr>
          <p:nvPr>
            <p:ph type="body" idx="20" hasCustomPrompt="1"/>
          </p:nvPr>
        </p:nvSpPr>
        <p:spPr>
          <a:xfrm>
            <a:off x="1787064" y="2160397"/>
            <a:ext cx="1765410" cy="659387"/>
          </a:xfrm>
        </p:spPr>
        <p:txBody>
          <a:bodyPr>
            <a:normAutofit/>
          </a:bodyPr>
          <a:lstStyle>
            <a:lvl1pPr marL="0" indent="0" algn="l">
              <a:lnSpc>
                <a:spcPct val="10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82" name="Text Placeholder 35">
            <a:extLst>
              <a:ext uri="{FF2B5EF4-FFF2-40B4-BE49-F238E27FC236}">
                <a16:creationId xmlns:a16="http://schemas.microsoft.com/office/drawing/2014/main" id="{A48E5011-7D0B-3999-44F3-927F9D504348}"/>
              </a:ext>
            </a:extLst>
          </p:cNvPr>
          <p:cNvSpPr>
            <a:spLocks noGrp="1"/>
          </p:cNvSpPr>
          <p:nvPr>
            <p:ph type="body" sz="quarter" idx="29" hasCustomPrompt="1"/>
          </p:nvPr>
        </p:nvSpPr>
        <p:spPr>
          <a:xfrm>
            <a:off x="5484420" y="1707771"/>
            <a:ext cx="1765410" cy="331694"/>
          </a:xfrm>
        </p:spPr>
        <p:txBody>
          <a:bodyPr anchor="b">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2</a:t>
            </a:r>
          </a:p>
        </p:txBody>
      </p:sp>
      <p:sp>
        <p:nvSpPr>
          <p:cNvPr id="83" name="Text Placeholder 2">
            <a:extLst>
              <a:ext uri="{FF2B5EF4-FFF2-40B4-BE49-F238E27FC236}">
                <a16:creationId xmlns:a16="http://schemas.microsoft.com/office/drawing/2014/main" id="{56475F9D-D30D-0F2C-46A9-E877C3C2D4BF}"/>
              </a:ext>
            </a:extLst>
          </p:cNvPr>
          <p:cNvSpPr>
            <a:spLocks noGrp="1"/>
          </p:cNvSpPr>
          <p:nvPr>
            <p:ph type="body" idx="30" hasCustomPrompt="1"/>
          </p:nvPr>
        </p:nvSpPr>
        <p:spPr>
          <a:xfrm>
            <a:off x="5484420" y="2160397"/>
            <a:ext cx="1765410" cy="659387"/>
          </a:xfrm>
        </p:spPr>
        <p:txBody>
          <a:bodyPr>
            <a:normAutofit/>
          </a:bodyPr>
          <a:lstStyle>
            <a:lvl1pPr marL="0" indent="0" algn="l">
              <a:lnSpc>
                <a:spcPct val="10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84" name="Text Placeholder 35">
            <a:extLst>
              <a:ext uri="{FF2B5EF4-FFF2-40B4-BE49-F238E27FC236}">
                <a16:creationId xmlns:a16="http://schemas.microsoft.com/office/drawing/2014/main" id="{0A514116-707B-5040-6AB3-FB041C5BD425}"/>
              </a:ext>
            </a:extLst>
          </p:cNvPr>
          <p:cNvSpPr>
            <a:spLocks noGrp="1"/>
          </p:cNvSpPr>
          <p:nvPr>
            <p:ph type="body" sz="quarter" idx="31" hasCustomPrompt="1"/>
          </p:nvPr>
        </p:nvSpPr>
        <p:spPr>
          <a:xfrm>
            <a:off x="9161898" y="1707771"/>
            <a:ext cx="1765410" cy="331694"/>
          </a:xfrm>
        </p:spPr>
        <p:txBody>
          <a:bodyPr anchor="b">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3</a:t>
            </a:r>
          </a:p>
        </p:txBody>
      </p:sp>
      <p:sp>
        <p:nvSpPr>
          <p:cNvPr id="85" name="Text Placeholder 2">
            <a:extLst>
              <a:ext uri="{FF2B5EF4-FFF2-40B4-BE49-F238E27FC236}">
                <a16:creationId xmlns:a16="http://schemas.microsoft.com/office/drawing/2014/main" id="{00A02028-EA44-1471-1B0D-27D990EB941C}"/>
              </a:ext>
            </a:extLst>
          </p:cNvPr>
          <p:cNvSpPr>
            <a:spLocks noGrp="1"/>
          </p:cNvSpPr>
          <p:nvPr>
            <p:ph type="body" idx="32" hasCustomPrompt="1"/>
          </p:nvPr>
        </p:nvSpPr>
        <p:spPr>
          <a:xfrm>
            <a:off x="9161898" y="2160397"/>
            <a:ext cx="1765410" cy="659387"/>
          </a:xfrm>
        </p:spPr>
        <p:txBody>
          <a:bodyPr>
            <a:normAutofit/>
          </a:bodyPr>
          <a:lstStyle>
            <a:lvl1pPr marL="0" indent="0" algn="l">
              <a:lnSpc>
                <a:spcPct val="10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86" name="Text Placeholder 35">
            <a:extLst>
              <a:ext uri="{FF2B5EF4-FFF2-40B4-BE49-F238E27FC236}">
                <a16:creationId xmlns:a16="http://schemas.microsoft.com/office/drawing/2014/main" id="{CC89CC7F-3C69-6759-1532-C64F3D6B0915}"/>
              </a:ext>
            </a:extLst>
          </p:cNvPr>
          <p:cNvSpPr>
            <a:spLocks noGrp="1"/>
          </p:cNvSpPr>
          <p:nvPr>
            <p:ph type="body" sz="quarter" idx="33" hasCustomPrompt="1"/>
          </p:nvPr>
        </p:nvSpPr>
        <p:spPr>
          <a:xfrm>
            <a:off x="1787064" y="3476936"/>
            <a:ext cx="1765410" cy="331694"/>
          </a:xfrm>
        </p:spPr>
        <p:txBody>
          <a:bodyPr anchor="b">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4</a:t>
            </a:r>
          </a:p>
        </p:txBody>
      </p:sp>
      <p:sp>
        <p:nvSpPr>
          <p:cNvPr id="87" name="Text Placeholder 2">
            <a:extLst>
              <a:ext uri="{FF2B5EF4-FFF2-40B4-BE49-F238E27FC236}">
                <a16:creationId xmlns:a16="http://schemas.microsoft.com/office/drawing/2014/main" id="{37A26AE4-7C90-7909-4753-C37A1912701A}"/>
              </a:ext>
            </a:extLst>
          </p:cNvPr>
          <p:cNvSpPr>
            <a:spLocks noGrp="1"/>
          </p:cNvSpPr>
          <p:nvPr>
            <p:ph type="body" idx="34" hasCustomPrompt="1"/>
          </p:nvPr>
        </p:nvSpPr>
        <p:spPr>
          <a:xfrm>
            <a:off x="1787064" y="3929562"/>
            <a:ext cx="1765410" cy="659387"/>
          </a:xfrm>
        </p:spPr>
        <p:txBody>
          <a:bodyPr>
            <a:normAutofit/>
          </a:bodyPr>
          <a:lstStyle>
            <a:lvl1pPr marL="0" indent="0" algn="l">
              <a:lnSpc>
                <a:spcPct val="10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88" name="Text Placeholder 35">
            <a:extLst>
              <a:ext uri="{FF2B5EF4-FFF2-40B4-BE49-F238E27FC236}">
                <a16:creationId xmlns:a16="http://schemas.microsoft.com/office/drawing/2014/main" id="{7E09514C-D063-AF35-B6D7-C29697C7C5E4}"/>
              </a:ext>
            </a:extLst>
          </p:cNvPr>
          <p:cNvSpPr>
            <a:spLocks noGrp="1"/>
          </p:cNvSpPr>
          <p:nvPr>
            <p:ph type="body" sz="quarter" idx="35" hasCustomPrompt="1"/>
          </p:nvPr>
        </p:nvSpPr>
        <p:spPr>
          <a:xfrm>
            <a:off x="5484420" y="3476936"/>
            <a:ext cx="1765410" cy="331694"/>
          </a:xfrm>
        </p:spPr>
        <p:txBody>
          <a:bodyPr anchor="b">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5</a:t>
            </a:r>
          </a:p>
        </p:txBody>
      </p:sp>
      <p:sp>
        <p:nvSpPr>
          <p:cNvPr id="89" name="Text Placeholder 2">
            <a:extLst>
              <a:ext uri="{FF2B5EF4-FFF2-40B4-BE49-F238E27FC236}">
                <a16:creationId xmlns:a16="http://schemas.microsoft.com/office/drawing/2014/main" id="{62F22A9A-2442-E037-E188-6314554A5992}"/>
              </a:ext>
            </a:extLst>
          </p:cNvPr>
          <p:cNvSpPr>
            <a:spLocks noGrp="1"/>
          </p:cNvSpPr>
          <p:nvPr>
            <p:ph type="body" idx="36" hasCustomPrompt="1"/>
          </p:nvPr>
        </p:nvSpPr>
        <p:spPr>
          <a:xfrm>
            <a:off x="5484420" y="3929562"/>
            <a:ext cx="1765410" cy="659387"/>
          </a:xfrm>
        </p:spPr>
        <p:txBody>
          <a:bodyPr>
            <a:normAutofit/>
          </a:bodyPr>
          <a:lstStyle>
            <a:lvl1pPr marL="0" indent="0" algn="l">
              <a:lnSpc>
                <a:spcPct val="10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0" name="Text Placeholder 35">
            <a:extLst>
              <a:ext uri="{FF2B5EF4-FFF2-40B4-BE49-F238E27FC236}">
                <a16:creationId xmlns:a16="http://schemas.microsoft.com/office/drawing/2014/main" id="{F2823A68-2FCA-57BE-27D9-EE2234A4DA6E}"/>
              </a:ext>
            </a:extLst>
          </p:cNvPr>
          <p:cNvSpPr>
            <a:spLocks noGrp="1"/>
          </p:cNvSpPr>
          <p:nvPr>
            <p:ph type="body" sz="quarter" idx="37" hasCustomPrompt="1"/>
          </p:nvPr>
        </p:nvSpPr>
        <p:spPr>
          <a:xfrm>
            <a:off x="9161898" y="3476936"/>
            <a:ext cx="1765410" cy="331694"/>
          </a:xfrm>
        </p:spPr>
        <p:txBody>
          <a:bodyPr anchor="b">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6</a:t>
            </a:r>
          </a:p>
        </p:txBody>
      </p:sp>
      <p:sp>
        <p:nvSpPr>
          <p:cNvPr id="91" name="Text Placeholder 2">
            <a:extLst>
              <a:ext uri="{FF2B5EF4-FFF2-40B4-BE49-F238E27FC236}">
                <a16:creationId xmlns:a16="http://schemas.microsoft.com/office/drawing/2014/main" id="{9FFBC8F8-192C-E322-518A-DF895DB28AFB}"/>
              </a:ext>
            </a:extLst>
          </p:cNvPr>
          <p:cNvSpPr>
            <a:spLocks noGrp="1"/>
          </p:cNvSpPr>
          <p:nvPr>
            <p:ph type="body" idx="38" hasCustomPrompt="1"/>
          </p:nvPr>
        </p:nvSpPr>
        <p:spPr>
          <a:xfrm>
            <a:off x="9161898" y="3929562"/>
            <a:ext cx="1765410" cy="659387"/>
          </a:xfrm>
        </p:spPr>
        <p:txBody>
          <a:bodyPr>
            <a:normAutofit/>
          </a:bodyPr>
          <a:lstStyle>
            <a:lvl1pPr marL="0" indent="0" algn="l">
              <a:lnSpc>
                <a:spcPct val="10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2" name="Text Placeholder 35">
            <a:extLst>
              <a:ext uri="{FF2B5EF4-FFF2-40B4-BE49-F238E27FC236}">
                <a16:creationId xmlns:a16="http://schemas.microsoft.com/office/drawing/2014/main" id="{55A1BB57-674D-EDB5-A8AB-5BDDA9A3F0CA}"/>
              </a:ext>
            </a:extLst>
          </p:cNvPr>
          <p:cNvSpPr>
            <a:spLocks noGrp="1"/>
          </p:cNvSpPr>
          <p:nvPr>
            <p:ph type="body" sz="quarter" idx="39" hasCustomPrompt="1"/>
          </p:nvPr>
        </p:nvSpPr>
        <p:spPr>
          <a:xfrm>
            <a:off x="1787064" y="5265980"/>
            <a:ext cx="1765410" cy="331694"/>
          </a:xfrm>
        </p:spPr>
        <p:txBody>
          <a:bodyPr anchor="b">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7</a:t>
            </a:r>
          </a:p>
        </p:txBody>
      </p:sp>
      <p:sp>
        <p:nvSpPr>
          <p:cNvPr id="93" name="Text Placeholder 2">
            <a:extLst>
              <a:ext uri="{FF2B5EF4-FFF2-40B4-BE49-F238E27FC236}">
                <a16:creationId xmlns:a16="http://schemas.microsoft.com/office/drawing/2014/main" id="{5D663029-1680-23F5-FDB2-30B8989E4668}"/>
              </a:ext>
            </a:extLst>
          </p:cNvPr>
          <p:cNvSpPr>
            <a:spLocks noGrp="1"/>
          </p:cNvSpPr>
          <p:nvPr>
            <p:ph type="body" idx="40" hasCustomPrompt="1"/>
          </p:nvPr>
        </p:nvSpPr>
        <p:spPr>
          <a:xfrm>
            <a:off x="1787064" y="5718606"/>
            <a:ext cx="1765410" cy="659387"/>
          </a:xfrm>
        </p:spPr>
        <p:txBody>
          <a:bodyPr>
            <a:normAutofit/>
          </a:bodyPr>
          <a:lstStyle>
            <a:lvl1pPr marL="0" indent="0" algn="l">
              <a:lnSpc>
                <a:spcPct val="10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4" name="Text Placeholder 35">
            <a:extLst>
              <a:ext uri="{FF2B5EF4-FFF2-40B4-BE49-F238E27FC236}">
                <a16:creationId xmlns:a16="http://schemas.microsoft.com/office/drawing/2014/main" id="{BABC109F-0923-7722-E665-85B6099947AE}"/>
              </a:ext>
            </a:extLst>
          </p:cNvPr>
          <p:cNvSpPr>
            <a:spLocks noGrp="1"/>
          </p:cNvSpPr>
          <p:nvPr>
            <p:ph type="body" sz="quarter" idx="41" hasCustomPrompt="1"/>
          </p:nvPr>
        </p:nvSpPr>
        <p:spPr>
          <a:xfrm>
            <a:off x="5484420" y="5265980"/>
            <a:ext cx="1765410" cy="331694"/>
          </a:xfrm>
        </p:spPr>
        <p:txBody>
          <a:bodyPr anchor="b">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8</a:t>
            </a:r>
          </a:p>
        </p:txBody>
      </p:sp>
      <p:sp>
        <p:nvSpPr>
          <p:cNvPr id="95" name="Text Placeholder 2">
            <a:extLst>
              <a:ext uri="{FF2B5EF4-FFF2-40B4-BE49-F238E27FC236}">
                <a16:creationId xmlns:a16="http://schemas.microsoft.com/office/drawing/2014/main" id="{C3DBA78B-E7C9-E5E1-194A-3129B781AA79}"/>
              </a:ext>
            </a:extLst>
          </p:cNvPr>
          <p:cNvSpPr>
            <a:spLocks noGrp="1"/>
          </p:cNvSpPr>
          <p:nvPr>
            <p:ph type="body" idx="42" hasCustomPrompt="1"/>
          </p:nvPr>
        </p:nvSpPr>
        <p:spPr>
          <a:xfrm>
            <a:off x="5484420" y="5718606"/>
            <a:ext cx="1765410" cy="659387"/>
          </a:xfrm>
        </p:spPr>
        <p:txBody>
          <a:bodyPr>
            <a:normAutofit/>
          </a:bodyPr>
          <a:lstStyle>
            <a:lvl1pPr marL="0" indent="0" algn="l">
              <a:lnSpc>
                <a:spcPct val="10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6" name="Text Placeholder 35">
            <a:extLst>
              <a:ext uri="{FF2B5EF4-FFF2-40B4-BE49-F238E27FC236}">
                <a16:creationId xmlns:a16="http://schemas.microsoft.com/office/drawing/2014/main" id="{E7534E8F-1D86-2C9A-7EB0-13103B28ED4D}"/>
              </a:ext>
            </a:extLst>
          </p:cNvPr>
          <p:cNvSpPr>
            <a:spLocks noGrp="1"/>
          </p:cNvSpPr>
          <p:nvPr>
            <p:ph type="body" sz="quarter" idx="43" hasCustomPrompt="1"/>
          </p:nvPr>
        </p:nvSpPr>
        <p:spPr>
          <a:xfrm>
            <a:off x="9161898" y="5265980"/>
            <a:ext cx="1765410" cy="331694"/>
          </a:xfrm>
        </p:spPr>
        <p:txBody>
          <a:bodyPr anchor="b">
            <a:noAutofit/>
          </a:bodyPr>
          <a:lstStyle>
            <a:lvl1pPr marL="0" indent="0" algn="l">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9</a:t>
            </a:r>
          </a:p>
        </p:txBody>
      </p:sp>
      <p:sp>
        <p:nvSpPr>
          <p:cNvPr id="97" name="Text Placeholder 2">
            <a:extLst>
              <a:ext uri="{FF2B5EF4-FFF2-40B4-BE49-F238E27FC236}">
                <a16:creationId xmlns:a16="http://schemas.microsoft.com/office/drawing/2014/main" id="{926EA74D-AC41-25CA-A0E9-4F73067ED146}"/>
              </a:ext>
            </a:extLst>
          </p:cNvPr>
          <p:cNvSpPr>
            <a:spLocks noGrp="1"/>
          </p:cNvSpPr>
          <p:nvPr>
            <p:ph type="body" idx="44" hasCustomPrompt="1"/>
          </p:nvPr>
        </p:nvSpPr>
        <p:spPr>
          <a:xfrm>
            <a:off x="9161898" y="5718606"/>
            <a:ext cx="1765410" cy="659387"/>
          </a:xfrm>
        </p:spPr>
        <p:txBody>
          <a:bodyPr>
            <a:normAutofit/>
          </a:bodyPr>
          <a:lstStyle>
            <a:lvl1pPr marL="0" indent="0" algn="l">
              <a:lnSpc>
                <a:spcPct val="10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Tree>
    <p:extLst>
      <p:ext uri="{BB962C8B-B14F-4D97-AF65-F5344CB8AC3E}">
        <p14:creationId xmlns:p14="http://schemas.microsoft.com/office/powerpoint/2010/main" val="10114762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BDFE19E6-72B4-E0AF-DF0A-D031F3C1F219}"/>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reeform 9">
            <a:extLst>
              <a:ext uri="{FF2B5EF4-FFF2-40B4-BE49-F238E27FC236}">
                <a16:creationId xmlns:a16="http://schemas.microsoft.com/office/drawing/2014/main" id="{11B100F8-FB81-7187-A2A0-C0C7F5B1A70B}"/>
              </a:ext>
            </a:extLst>
          </p:cNvPr>
          <p:cNvSpPr>
            <a:spLocks/>
          </p:cNvSpPr>
          <p:nvPr userDrawn="1"/>
        </p:nvSpPr>
        <p:spPr bwMode="auto">
          <a:xfrm>
            <a:off x="11203740" y="3156694"/>
            <a:ext cx="559357" cy="2725692"/>
          </a:xfrm>
          <a:custGeom>
            <a:avLst/>
            <a:gdLst>
              <a:gd name="T0" fmla="*/ 299 w 299"/>
              <a:gd name="T1" fmla="*/ 1290 h 1457"/>
              <a:gd name="T2" fmla="*/ 299 w 299"/>
              <a:gd name="T3" fmla="*/ 88 h 1457"/>
              <a:gd name="T4" fmla="*/ 237 w 299"/>
              <a:gd name="T5" fmla="*/ 122 h 1457"/>
              <a:gd name="T6" fmla="*/ 0 w 299"/>
              <a:gd name="T7" fmla="*/ 0 h 1457"/>
              <a:gd name="T8" fmla="*/ 0 w 299"/>
              <a:gd name="T9" fmla="*/ 1457 h 1457"/>
              <a:gd name="T10" fmla="*/ 299 w 299"/>
              <a:gd name="T11" fmla="*/ 1290 h 1457"/>
              <a:gd name="T12" fmla="*/ 299 w 299"/>
              <a:gd name="T13" fmla="*/ 1290 h 1457"/>
            </a:gdLst>
            <a:ahLst/>
            <a:cxnLst>
              <a:cxn ang="0">
                <a:pos x="T0" y="T1"/>
              </a:cxn>
              <a:cxn ang="0">
                <a:pos x="T2" y="T3"/>
              </a:cxn>
              <a:cxn ang="0">
                <a:pos x="T4" y="T5"/>
              </a:cxn>
              <a:cxn ang="0">
                <a:pos x="T6" y="T7"/>
              </a:cxn>
              <a:cxn ang="0">
                <a:pos x="T8" y="T9"/>
              </a:cxn>
              <a:cxn ang="0">
                <a:pos x="T10" y="T11"/>
              </a:cxn>
              <a:cxn ang="0">
                <a:pos x="T12" y="T13"/>
              </a:cxn>
            </a:cxnLst>
            <a:rect l="0" t="0" r="r" b="b"/>
            <a:pathLst>
              <a:path w="299" h="1457">
                <a:moveTo>
                  <a:pt x="299" y="1290"/>
                </a:moveTo>
                <a:lnTo>
                  <a:pt x="299" y="88"/>
                </a:lnTo>
                <a:lnTo>
                  <a:pt x="237" y="122"/>
                </a:lnTo>
                <a:lnTo>
                  <a:pt x="0" y="0"/>
                </a:lnTo>
                <a:lnTo>
                  <a:pt x="0" y="1457"/>
                </a:lnTo>
                <a:lnTo>
                  <a:pt x="299" y="1290"/>
                </a:lnTo>
                <a:lnTo>
                  <a:pt x="299" y="1290"/>
                </a:lnTo>
                <a:close/>
              </a:path>
            </a:pathLst>
          </a:custGeom>
          <a:solidFill>
            <a:srgbClr val="014D63"/>
          </a:solidFill>
          <a:ln>
            <a:noFill/>
          </a:ln>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20" name="Freeform 10">
            <a:extLst>
              <a:ext uri="{FF2B5EF4-FFF2-40B4-BE49-F238E27FC236}">
                <a16:creationId xmlns:a16="http://schemas.microsoft.com/office/drawing/2014/main" id="{2CC064A1-6EED-32F8-4FCD-F90B8D4E8154}"/>
              </a:ext>
            </a:extLst>
          </p:cNvPr>
          <p:cNvSpPr>
            <a:spLocks/>
          </p:cNvSpPr>
          <p:nvPr userDrawn="1"/>
        </p:nvSpPr>
        <p:spPr bwMode="auto">
          <a:xfrm>
            <a:off x="10809011" y="1168079"/>
            <a:ext cx="1307660" cy="2216847"/>
          </a:xfrm>
          <a:custGeom>
            <a:avLst/>
            <a:gdLst>
              <a:gd name="T0" fmla="*/ 245 w 699"/>
              <a:gd name="T1" fmla="*/ 0 h 1185"/>
              <a:gd name="T2" fmla="*/ 0 w 699"/>
              <a:gd name="T3" fmla="*/ 135 h 1185"/>
              <a:gd name="T4" fmla="*/ 448 w 699"/>
              <a:gd name="T5" fmla="*/ 1185 h 1185"/>
              <a:gd name="T6" fmla="*/ 699 w 699"/>
              <a:gd name="T7" fmla="*/ 1049 h 1185"/>
              <a:gd name="T8" fmla="*/ 245 w 699"/>
              <a:gd name="T9" fmla="*/ 0 h 1185"/>
              <a:gd name="T10" fmla="*/ 245 w 699"/>
              <a:gd name="T11" fmla="*/ 0 h 1185"/>
            </a:gdLst>
            <a:ahLst/>
            <a:cxnLst>
              <a:cxn ang="0">
                <a:pos x="T0" y="T1"/>
              </a:cxn>
              <a:cxn ang="0">
                <a:pos x="T2" y="T3"/>
              </a:cxn>
              <a:cxn ang="0">
                <a:pos x="T4" y="T5"/>
              </a:cxn>
              <a:cxn ang="0">
                <a:pos x="T6" y="T7"/>
              </a:cxn>
              <a:cxn ang="0">
                <a:pos x="T8" y="T9"/>
              </a:cxn>
              <a:cxn ang="0">
                <a:pos x="T10" y="T11"/>
              </a:cxn>
            </a:cxnLst>
            <a:rect l="0" t="0" r="r" b="b"/>
            <a:pathLst>
              <a:path w="699" h="1185">
                <a:moveTo>
                  <a:pt x="245" y="0"/>
                </a:moveTo>
                <a:lnTo>
                  <a:pt x="0" y="135"/>
                </a:lnTo>
                <a:lnTo>
                  <a:pt x="448" y="1185"/>
                </a:lnTo>
                <a:lnTo>
                  <a:pt x="699" y="1049"/>
                </a:lnTo>
                <a:lnTo>
                  <a:pt x="245" y="0"/>
                </a:lnTo>
                <a:lnTo>
                  <a:pt x="245" y="0"/>
                </a:lnTo>
                <a:close/>
              </a:path>
            </a:pathLst>
          </a:custGeom>
          <a:solidFill>
            <a:srgbClr val="014D63"/>
          </a:solidFill>
          <a:ln>
            <a:noFill/>
          </a:ln>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21" name="Freeform 11">
            <a:extLst>
              <a:ext uri="{FF2B5EF4-FFF2-40B4-BE49-F238E27FC236}">
                <a16:creationId xmlns:a16="http://schemas.microsoft.com/office/drawing/2014/main" id="{383B60B9-3031-C3C6-2D91-5BC375CE706B}"/>
              </a:ext>
            </a:extLst>
          </p:cNvPr>
          <p:cNvSpPr>
            <a:spLocks/>
          </p:cNvSpPr>
          <p:nvPr userDrawn="1"/>
        </p:nvSpPr>
        <p:spPr bwMode="auto">
          <a:xfrm>
            <a:off x="9748292" y="1420633"/>
            <a:ext cx="1898819" cy="4461754"/>
          </a:xfrm>
          <a:custGeom>
            <a:avLst/>
            <a:gdLst>
              <a:gd name="T0" fmla="*/ 778 w 1015"/>
              <a:gd name="T1" fmla="*/ 2385 h 2385"/>
              <a:gd name="T2" fmla="*/ 778 w 1015"/>
              <a:gd name="T3" fmla="*/ 928 h 2385"/>
              <a:gd name="T4" fmla="*/ 1015 w 1015"/>
              <a:gd name="T5" fmla="*/ 1050 h 2385"/>
              <a:gd name="T6" fmla="*/ 567 w 1015"/>
              <a:gd name="T7" fmla="*/ 0 h 2385"/>
              <a:gd name="T8" fmla="*/ 0 w 1015"/>
              <a:gd name="T9" fmla="*/ 532 h 2385"/>
              <a:gd name="T10" fmla="*/ 225 w 1015"/>
              <a:gd name="T11" fmla="*/ 645 h 2385"/>
              <a:gd name="T12" fmla="*/ 225 w 1015"/>
              <a:gd name="T13" fmla="*/ 2103 h 2385"/>
              <a:gd name="T14" fmla="*/ 778 w 1015"/>
              <a:gd name="T15" fmla="*/ 2385 h 2385"/>
              <a:gd name="T16" fmla="*/ 778 w 1015"/>
              <a:gd name="T17" fmla="*/ 2385 h 2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5" h="2385">
                <a:moveTo>
                  <a:pt x="778" y="2385"/>
                </a:moveTo>
                <a:lnTo>
                  <a:pt x="778" y="928"/>
                </a:lnTo>
                <a:lnTo>
                  <a:pt x="1015" y="1050"/>
                </a:lnTo>
                <a:lnTo>
                  <a:pt x="567" y="0"/>
                </a:lnTo>
                <a:lnTo>
                  <a:pt x="0" y="532"/>
                </a:lnTo>
                <a:lnTo>
                  <a:pt x="225" y="645"/>
                </a:lnTo>
                <a:lnTo>
                  <a:pt x="225" y="2103"/>
                </a:lnTo>
                <a:lnTo>
                  <a:pt x="778" y="2385"/>
                </a:lnTo>
                <a:lnTo>
                  <a:pt x="778" y="2385"/>
                </a:lnTo>
                <a:close/>
              </a:path>
            </a:pathLst>
          </a:custGeom>
          <a:solidFill>
            <a:srgbClr val="03617B"/>
          </a:solidFill>
          <a:ln>
            <a:noFill/>
          </a:ln>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22" name="Freeform 5">
            <a:extLst>
              <a:ext uri="{FF2B5EF4-FFF2-40B4-BE49-F238E27FC236}">
                <a16:creationId xmlns:a16="http://schemas.microsoft.com/office/drawing/2014/main" id="{5411A2FB-8FBF-D5E5-DCEE-8BDEBE18D756}"/>
              </a:ext>
            </a:extLst>
          </p:cNvPr>
          <p:cNvSpPr>
            <a:spLocks/>
          </p:cNvSpPr>
          <p:nvPr userDrawn="1"/>
        </p:nvSpPr>
        <p:spPr bwMode="auto">
          <a:xfrm>
            <a:off x="6717667" y="2999549"/>
            <a:ext cx="3402906" cy="772623"/>
          </a:xfrm>
          <a:custGeom>
            <a:avLst/>
            <a:gdLst>
              <a:gd name="T0" fmla="*/ 0 w 1819"/>
              <a:gd name="T1" fmla="*/ 413 h 413"/>
              <a:gd name="T2" fmla="*/ 0 w 1819"/>
              <a:gd name="T3" fmla="*/ 0 h 413"/>
              <a:gd name="T4" fmla="*/ 1819 w 1819"/>
              <a:gd name="T5" fmla="*/ 0 h 413"/>
              <a:gd name="T6" fmla="*/ 1819 w 1819"/>
              <a:gd name="T7" fmla="*/ 229 h 413"/>
              <a:gd name="T8" fmla="*/ 1519 w 1819"/>
              <a:gd name="T9" fmla="*/ 393 h 413"/>
              <a:gd name="T10" fmla="*/ 1519 w 1819"/>
              <a:gd name="T11" fmla="*/ 413 h 413"/>
              <a:gd name="T12" fmla="*/ 0 w 1819"/>
              <a:gd name="T13" fmla="*/ 413 h 413"/>
              <a:gd name="T14" fmla="*/ 0 w 1819"/>
              <a:gd name="T15" fmla="*/ 413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3">
                <a:moveTo>
                  <a:pt x="0" y="413"/>
                </a:moveTo>
                <a:lnTo>
                  <a:pt x="0" y="0"/>
                </a:lnTo>
                <a:lnTo>
                  <a:pt x="1819" y="0"/>
                </a:lnTo>
                <a:lnTo>
                  <a:pt x="1819" y="229"/>
                </a:lnTo>
                <a:lnTo>
                  <a:pt x="1519" y="393"/>
                </a:lnTo>
                <a:lnTo>
                  <a:pt x="1519" y="413"/>
                </a:lnTo>
                <a:lnTo>
                  <a:pt x="0" y="413"/>
                </a:lnTo>
                <a:lnTo>
                  <a:pt x="0" y="413"/>
                </a:lnTo>
                <a:close/>
              </a:path>
            </a:pathLst>
          </a:custGeom>
          <a:solidFill>
            <a:srgbClr val="04617B"/>
          </a:solidFill>
          <a:ln>
            <a:noFill/>
          </a:ln>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23" name="Freeform 6">
            <a:extLst>
              <a:ext uri="{FF2B5EF4-FFF2-40B4-BE49-F238E27FC236}">
                <a16:creationId xmlns:a16="http://schemas.microsoft.com/office/drawing/2014/main" id="{484C8963-58D1-CAD9-B9A5-8136D7EFB808}"/>
              </a:ext>
            </a:extLst>
          </p:cNvPr>
          <p:cNvSpPr>
            <a:spLocks/>
          </p:cNvSpPr>
          <p:nvPr userDrawn="1"/>
        </p:nvSpPr>
        <p:spPr bwMode="auto">
          <a:xfrm>
            <a:off x="6158311" y="3772175"/>
            <a:ext cx="3402906" cy="763270"/>
          </a:xfrm>
          <a:custGeom>
            <a:avLst/>
            <a:gdLst>
              <a:gd name="T0" fmla="*/ 0 w 1819"/>
              <a:gd name="T1" fmla="*/ 408 h 408"/>
              <a:gd name="T2" fmla="*/ 0 w 1819"/>
              <a:gd name="T3" fmla="*/ 0 h 408"/>
              <a:gd name="T4" fmla="*/ 1818 w 1819"/>
              <a:gd name="T5" fmla="*/ 0 h 408"/>
              <a:gd name="T6" fmla="*/ 1819 w 1819"/>
              <a:gd name="T7" fmla="*/ 225 h 408"/>
              <a:gd name="T8" fmla="*/ 1521 w 1819"/>
              <a:gd name="T9" fmla="*/ 392 h 408"/>
              <a:gd name="T10" fmla="*/ 1521 w 1819"/>
              <a:gd name="T11" fmla="*/ 408 h 408"/>
              <a:gd name="T12" fmla="*/ 0 w 1819"/>
              <a:gd name="T13" fmla="*/ 408 h 408"/>
              <a:gd name="T14" fmla="*/ 0 w 1819"/>
              <a:gd name="T15" fmla="*/ 408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08">
                <a:moveTo>
                  <a:pt x="0" y="408"/>
                </a:moveTo>
                <a:lnTo>
                  <a:pt x="0" y="0"/>
                </a:lnTo>
                <a:lnTo>
                  <a:pt x="1818" y="0"/>
                </a:lnTo>
                <a:lnTo>
                  <a:pt x="1819" y="225"/>
                </a:lnTo>
                <a:lnTo>
                  <a:pt x="1521" y="392"/>
                </a:lnTo>
                <a:lnTo>
                  <a:pt x="1521" y="408"/>
                </a:lnTo>
                <a:lnTo>
                  <a:pt x="0" y="408"/>
                </a:lnTo>
                <a:lnTo>
                  <a:pt x="0" y="408"/>
                </a:lnTo>
                <a:close/>
              </a:path>
            </a:pathLst>
          </a:custGeom>
          <a:solidFill>
            <a:schemeClr val="accent3"/>
          </a:solidFill>
          <a:ln>
            <a:noFill/>
          </a:ln>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24" name="Freeform 7">
            <a:extLst>
              <a:ext uri="{FF2B5EF4-FFF2-40B4-BE49-F238E27FC236}">
                <a16:creationId xmlns:a16="http://schemas.microsoft.com/office/drawing/2014/main" id="{1E44DEAA-0F07-80FC-B2B7-96173CAE8BEF}"/>
              </a:ext>
            </a:extLst>
          </p:cNvPr>
          <p:cNvSpPr>
            <a:spLocks/>
          </p:cNvSpPr>
          <p:nvPr userDrawn="1"/>
        </p:nvSpPr>
        <p:spPr bwMode="auto">
          <a:xfrm>
            <a:off x="5600826" y="4535442"/>
            <a:ext cx="3402906" cy="767010"/>
          </a:xfrm>
          <a:custGeom>
            <a:avLst/>
            <a:gdLst>
              <a:gd name="T0" fmla="*/ 0 w 1819"/>
              <a:gd name="T1" fmla="*/ 410 h 410"/>
              <a:gd name="T2" fmla="*/ 0 w 1819"/>
              <a:gd name="T3" fmla="*/ 0 h 410"/>
              <a:gd name="T4" fmla="*/ 1819 w 1819"/>
              <a:gd name="T5" fmla="*/ 0 h 410"/>
              <a:gd name="T6" fmla="*/ 1819 w 1819"/>
              <a:gd name="T7" fmla="*/ 231 h 410"/>
              <a:gd name="T8" fmla="*/ 1518 w 1819"/>
              <a:gd name="T9" fmla="*/ 394 h 410"/>
              <a:gd name="T10" fmla="*/ 1518 w 1819"/>
              <a:gd name="T11" fmla="*/ 410 h 410"/>
              <a:gd name="T12" fmla="*/ 0 w 1819"/>
              <a:gd name="T13" fmla="*/ 410 h 410"/>
              <a:gd name="T14" fmla="*/ 0 w 1819"/>
              <a:gd name="T15" fmla="*/ 410 h 4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0">
                <a:moveTo>
                  <a:pt x="0" y="410"/>
                </a:moveTo>
                <a:lnTo>
                  <a:pt x="0" y="0"/>
                </a:lnTo>
                <a:lnTo>
                  <a:pt x="1819" y="0"/>
                </a:lnTo>
                <a:lnTo>
                  <a:pt x="1819" y="231"/>
                </a:lnTo>
                <a:lnTo>
                  <a:pt x="1518" y="394"/>
                </a:lnTo>
                <a:lnTo>
                  <a:pt x="1518" y="410"/>
                </a:lnTo>
                <a:lnTo>
                  <a:pt x="0" y="410"/>
                </a:lnTo>
                <a:lnTo>
                  <a:pt x="0" y="410"/>
                </a:lnTo>
                <a:close/>
              </a:path>
            </a:pathLst>
          </a:custGeom>
          <a:solidFill>
            <a:schemeClr val="accent2"/>
          </a:solidFill>
          <a:ln>
            <a:noFill/>
          </a:ln>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25" name="Freeform 8">
            <a:extLst>
              <a:ext uri="{FF2B5EF4-FFF2-40B4-BE49-F238E27FC236}">
                <a16:creationId xmlns:a16="http://schemas.microsoft.com/office/drawing/2014/main" id="{E897BF61-6D99-9803-839C-ED6C1874C320}"/>
              </a:ext>
            </a:extLst>
          </p:cNvPr>
          <p:cNvSpPr>
            <a:spLocks/>
          </p:cNvSpPr>
          <p:nvPr userDrawn="1"/>
        </p:nvSpPr>
        <p:spPr bwMode="auto">
          <a:xfrm>
            <a:off x="5037728" y="5302450"/>
            <a:ext cx="3402906" cy="982147"/>
          </a:xfrm>
          <a:custGeom>
            <a:avLst/>
            <a:gdLst>
              <a:gd name="T0" fmla="*/ 1819 w 1819"/>
              <a:gd name="T1" fmla="*/ 525 h 525"/>
              <a:gd name="T2" fmla="*/ 0 w 1819"/>
              <a:gd name="T3" fmla="*/ 525 h 525"/>
              <a:gd name="T4" fmla="*/ 0 w 1819"/>
              <a:gd name="T5" fmla="*/ 0 h 525"/>
              <a:gd name="T6" fmla="*/ 1819 w 1819"/>
              <a:gd name="T7" fmla="*/ 0 h 525"/>
              <a:gd name="T8" fmla="*/ 1819 w 1819"/>
              <a:gd name="T9" fmla="*/ 525 h 525"/>
              <a:gd name="T10" fmla="*/ 1819 w 1819"/>
              <a:gd name="T11" fmla="*/ 525 h 525"/>
            </a:gdLst>
            <a:ahLst/>
            <a:cxnLst>
              <a:cxn ang="0">
                <a:pos x="T0" y="T1"/>
              </a:cxn>
              <a:cxn ang="0">
                <a:pos x="T2" y="T3"/>
              </a:cxn>
              <a:cxn ang="0">
                <a:pos x="T4" y="T5"/>
              </a:cxn>
              <a:cxn ang="0">
                <a:pos x="T6" y="T7"/>
              </a:cxn>
              <a:cxn ang="0">
                <a:pos x="T8" y="T9"/>
              </a:cxn>
              <a:cxn ang="0">
                <a:pos x="T10" y="T11"/>
              </a:cxn>
            </a:cxnLst>
            <a:rect l="0" t="0" r="r" b="b"/>
            <a:pathLst>
              <a:path w="1819" h="525">
                <a:moveTo>
                  <a:pt x="1819" y="525"/>
                </a:moveTo>
                <a:lnTo>
                  <a:pt x="0" y="525"/>
                </a:lnTo>
                <a:lnTo>
                  <a:pt x="0" y="0"/>
                </a:lnTo>
                <a:lnTo>
                  <a:pt x="1819" y="0"/>
                </a:lnTo>
                <a:lnTo>
                  <a:pt x="1819" y="525"/>
                </a:lnTo>
                <a:lnTo>
                  <a:pt x="1819" y="525"/>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26" name="Freeform 12">
            <a:extLst>
              <a:ext uri="{FF2B5EF4-FFF2-40B4-BE49-F238E27FC236}">
                <a16:creationId xmlns:a16="http://schemas.microsoft.com/office/drawing/2014/main" id="{B69C412C-8EEC-83EB-A36F-218A037F78D7}"/>
              </a:ext>
            </a:extLst>
          </p:cNvPr>
          <p:cNvSpPr>
            <a:spLocks/>
          </p:cNvSpPr>
          <p:nvPr userDrawn="1"/>
        </p:nvSpPr>
        <p:spPr bwMode="auto">
          <a:xfrm>
            <a:off x="9609855" y="3457885"/>
            <a:ext cx="1593885" cy="834358"/>
          </a:xfrm>
          <a:custGeom>
            <a:avLst/>
            <a:gdLst>
              <a:gd name="T0" fmla="*/ 852 w 852"/>
              <a:gd name="T1" fmla="*/ 281 h 446"/>
              <a:gd name="T2" fmla="*/ 299 w 852"/>
              <a:gd name="T3" fmla="*/ 0 h 446"/>
              <a:gd name="T4" fmla="*/ 0 w 852"/>
              <a:gd name="T5" fmla="*/ 166 h 446"/>
              <a:gd name="T6" fmla="*/ 554 w 852"/>
              <a:gd name="T7" fmla="*/ 446 h 446"/>
              <a:gd name="T8" fmla="*/ 852 w 852"/>
              <a:gd name="T9" fmla="*/ 281 h 446"/>
              <a:gd name="T10" fmla="*/ 852 w 852"/>
              <a:gd name="T11" fmla="*/ 281 h 446"/>
            </a:gdLst>
            <a:ahLst/>
            <a:cxnLst>
              <a:cxn ang="0">
                <a:pos x="T0" y="T1"/>
              </a:cxn>
              <a:cxn ang="0">
                <a:pos x="T2" y="T3"/>
              </a:cxn>
              <a:cxn ang="0">
                <a:pos x="T4" y="T5"/>
              </a:cxn>
              <a:cxn ang="0">
                <a:pos x="T6" y="T7"/>
              </a:cxn>
              <a:cxn ang="0">
                <a:pos x="T8" y="T9"/>
              </a:cxn>
              <a:cxn ang="0">
                <a:pos x="T10" y="T11"/>
              </a:cxn>
            </a:cxnLst>
            <a:rect l="0" t="0" r="r" b="b"/>
            <a:pathLst>
              <a:path w="852" h="446">
                <a:moveTo>
                  <a:pt x="852" y="281"/>
                </a:moveTo>
                <a:lnTo>
                  <a:pt x="299" y="0"/>
                </a:lnTo>
                <a:lnTo>
                  <a:pt x="0" y="166"/>
                </a:lnTo>
                <a:lnTo>
                  <a:pt x="554" y="446"/>
                </a:lnTo>
                <a:lnTo>
                  <a:pt x="852" y="281"/>
                </a:lnTo>
                <a:lnTo>
                  <a:pt x="852" y="28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27" name="Freeform 13">
            <a:extLst>
              <a:ext uri="{FF2B5EF4-FFF2-40B4-BE49-F238E27FC236}">
                <a16:creationId xmlns:a16="http://schemas.microsoft.com/office/drawing/2014/main" id="{9A4A4F31-0195-8621-DA5C-5394BE48F4B9}"/>
              </a:ext>
            </a:extLst>
          </p:cNvPr>
          <p:cNvSpPr>
            <a:spLocks/>
          </p:cNvSpPr>
          <p:nvPr userDrawn="1"/>
        </p:nvSpPr>
        <p:spPr bwMode="auto">
          <a:xfrm>
            <a:off x="9609856" y="3768430"/>
            <a:ext cx="1036399" cy="2424500"/>
          </a:xfrm>
          <a:custGeom>
            <a:avLst/>
            <a:gdLst>
              <a:gd name="T0" fmla="*/ 554 w 554"/>
              <a:gd name="T1" fmla="*/ 1296 h 1296"/>
              <a:gd name="T2" fmla="*/ 554 w 554"/>
              <a:gd name="T3" fmla="*/ 280 h 1296"/>
              <a:gd name="T4" fmla="*/ 0 w 554"/>
              <a:gd name="T5" fmla="*/ 0 h 1296"/>
              <a:gd name="T6" fmla="*/ 0 w 554"/>
              <a:gd name="T7" fmla="*/ 1013 h 1296"/>
              <a:gd name="T8" fmla="*/ 554 w 554"/>
              <a:gd name="T9" fmla="*/ 1296 h 1296"/>
              <a:gd name="T10" fmla="*/ 554 w 554"/>
              <a:gd name="T11" fmla="*/ 1296 h 1296"/>
            </a:gdLst>
            <a:ahLst/>
            <a:cxnLst>
              <a:cxn ang="0">
                <a:pos x="T0" y="T1"/>
              </a:cxn>
              <a:cxn ang="0">
                <a:pos x="T2" y="T3"/>
              </a:cxn>
              <a:cxn ang="0">
                <a:pos x="T4" y="T5"/>
              </a:cxn>
              <a:cxn ang="0">
                <a:pos x="T6" y="T7"/>
              </a:cxn>
              <a:cxn ang="0">
                <a:pos x="T8" y="T9"/>
              </a:cxn>
              <a:cxn ang="0">
                <a:pos x="T10" y="T11"/>
              </a:cxn>
            </a:cxnLst>
            <a:rect l="0" t="0" r="r" b="b"/>
            <a:pathLst>
              <a:path w="554" h="1296">
                <a:moveTo>
                  <a:pt x="554" y="1296"/>
                </a:moveTo>
                <a:lnTo>
                  <a:pt x="554" y="280"/>
                </a:lnTo>
                <a:lnTo>
                  <a:pt x="0" y="0"/>
                </a:lnTo>
                <a:lnTo>
                  <a:pt x="0" y="1013"/>
                </a:lnTo>
                <a:lnTo>
                  <a:pt x="554" y="1296"/>
                </a:lnTo>
                <a:lnTo>
                  <a:pt x="554" y="1296"/>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39" name="Freeform 14">
            <a:extLst>
              <a:ext uri="{FF2B5EF4-FFF2-40B4-BE49-F238E27FC236}">
                <a16:creationId xmlns:a16="http://schemas.microsoft.com/office/drawing/2014/main" id="{36F58006-D8B3-D637-7C8A-3EB17F75A1E7}"/>
              </a:ext>
            </a:extLst>
          </p:cNvPr>
          <p:cNvSpPr>
            <a:spLocks/>
          </p:cNvSpPr>
          <p:nvPr userDrawn="1"/>
        </p:nvSpPr>
        <p:spPr bwMode="auto">
          <a:xfrm>
            <a:off x="10646255" y="3983569"/>
            <a:ext cx="557486" cy="2209363"/>
          </a:xfrm>
          <a:custGeom>
            <a:avLst/>
            <a:gdLst>
              <a:gd name="T0" fmla="*/ 298 w 298"/>
              <a:gd name="T1" fmla="*/ 1015 h 1181"/>
              <a:gd name="T2" fmla="*/ 298 w 298"/>
              <a:gd name="T3" fmla="*/ 0 h 1181"/>
              <a:gd name="T4" fmla="*/ 0 w 298"/>
              <a:gd name="T5" fmla="*/ 165 h 1181"/>
              <a:gd name="T6" fmla="*/ 0 w 298"/>
              <a:gd name="T7" fmla="*/ 1181 h 1181"/>
              <a:gd name="T8" fmla="*/ 298 w 298"/>
              <a:gd name="T9" fmla="*/ 1015 h 1181"/>
              <a:gd name="T10" fmla="*/ 298 w 298"/>
              <a:gd name="T11" fmla="*/ 1015 h 1181"/>
            </a:gdLst>
            <a:ahLst/>
            <a:cxnLst>
              <a:cxn ang="0">
                <a:pos x="T0" y="T1"/>
              </a:cxn>
              <a:cxn ang="0">
                <a:pos x="T2" y="T3"/>
              </a:cxn>
              <a:cxn ang="0">
                <a:pos x="T4" y="T5"/>
              </a:cxn>
              <a:cxn ang="0">
                <a:pos x="T6" y="T7"/>
              </a:cxn>
              <a:cxn ang="0">
                <a:pos x="T8" y="T9"/>
              </a:cxn>
              <a:cxn ang="0">
                <a:pos x="T10" y="T11"/>
              </a:cxn>
            </a:cxnLst>
            <a:rect l="0" t="0" r="r" b="b"/>
            <a:pathLst>
              <a:path w="298" h="1181">
                <a:moveTo>
                  <a:pt x="298" y="1015"/>
                </a:moveTo>
                <a:lnTo>
                  <a:pt x="298" y="0"/>
                </a:lnTo>
                <a:lnTo>
                  <a:pt x="0" y="165"/>
                </a:lnTo>
                <a:lnTo>
                  <a:pt x="0" y="1181"/>
                </a:lnTo>
                <a:lnTo>
                  <a:pt x="298" y="1015"/>
                </a:lnTo>
                <a:lnTo>
                  <a:pt x="298" y="1015"/>
                </a:lnTo>
                <a:close/>
              </a:path>
            </a:pathLst>
          </a:custGeom>
          <a:solidFill>
            <a:schemeClr val="accent3">
              <a:lumMod val="50000"/>
            </a:schemeClr>
          </a:solidFill>
          <a:ln>
            <a:noFill/>
          </a:ln>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40" name="Freeform 15">
            <a:extLst>
              <a:ext uri="{FF2B5EF4-FFF2-40B4-BE49-F238E27FC236}">
                <a16:creationId xmlns:a16="http://schemas.microsoft.com/office/drawing/2014/main" id="{255FF3DB-E8BA-3E2A-5215-C564A644EA89}"/>
              </a:ext>
            </a:extLst>
          </p:cNvPr>
          <p:cNvSpPr>
            <a:spLocks/>
          </p:cNvSpPr>
          <p:nvPr userDrawn="1"/>
        </p:nvSpPr>
        <p:spPr bwMode="auto">
          <a:xfrm>
            <a:off x="9052371" y="4221154"/>
            <a:ext cx="1593884" cy="834357"/>
          </a:xfrm>
          <a:custGeom>
            <a:avLst/>
            <a:gdLst>
              <a:gd name="T0" fmla="*/ 852 w 852"/>
              <a:gd name="T1" fmla="*/ 283 h 446"/>
              <a:gd name="T2" fmla="*/ 298 w 852"/>
              <a:gd name="T3" fmla="*/ 0 h 446"/>
              <a:gd name="T4" fmla="*/ 0 w 852"/>
              <a:gd name="T5" fmla="*/ 166 h 446"/>
              <a:gd name="T6" fmla="*/ 553 w 852"/>
              <a:gd name="T7" fmla="*/ 446 h 446"/>
              <a:gd name="T8" fmla="*/ 852 w 852"/>
              <a:gd name="T9" fmla="*/ 283 h 446"/>
              <a:gd name="T10" fmla="*/ 852 w 852"/>
              <a:gd name="T11" fmla="*/ 283 h 446"/>
            </a:gdLst>
            <a:ahLst/>
            <a:cxnLst>
              <a:cxn ang="0">
                <a:pos x="T0" y="T1"/>
              </a:cxn>
              <a:cxn ang="0">
                <a:pos x="T2" y="T3"/>
              </a:cxn>
              <a:cxn ang="0">
                <a:pos x="T4" y="T5"/>
              </a:cxn>
              <a:cxn ang="0">
                <a:pos x="T6" y="T7"/>
              </a:cxn>
              <a:cxn ang="0">
                <a:pos x="T8" y="T9"/>
              </a:cxn>
              <a:cxn ang="0">
                <a:pos x="T10" y="T11"/>
              </a:cxn>
            </a:cxnLst>
            <a:rect l="0" t="0" r="r" b="b"/>
            <a:pathLst>
              <a:path w="852" h="446">
                <a:moveTo>
                  <a:pt x="852" y="283"/>
                </a:moveTo>
                <a:lnTo>
                  <a:pt x="298" y="0"/>
                </a:lnTo>
                <a:lnTo>
                  <a:pt x="0" y="166"/>
                </a:lnTo>
                <a:lnTo>
                  <a:pt x="553" y="446"/>
                </a:lnTo>
                <a:lnTo>
                  <a:pt x="852" y="283"/>
                </a:lnTo>
                <a:lnTo>
                  <a:pt x="852" y="28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41" name="Freeform 16">
            <a:extLst>
              <a:ext uri="{FF2B5EF4-FFF2-40B4-BE49-F238E27FC236}">
                <a16:creationId xmlns:a16="http://schemas.microsoft.com/office/drawing/2014/main" id="{1E368029-CA5C-7A56-F345-5FCF2CC677BF}"/>
              </a:ext>
            </a:extLst>
          </p:cNvPr>
          <p:cNvSpPr>
            <a:spLocks/>
          </p:cNvSpPr>
          <p:nvPr userDrawn="1"/>
        </p:nvSpPr>
        <p:spPr bwMode="auto">
          <a:xfrm>
            <a:off x="10086898" y="4750579"/>
            <a:ext cx="559357" cy="1751029"/>
          </a:xfrm>
          <a:custGeom>
            <a:avLst/>
            <a:gdLst>
              <a:gd name="T0" fmla="*/ 299 w 299"/>
              <a:gd name="T1" fmla="*/ 771 h 936"/>
              <a:gd name="T2" fmla="*/ 299 w 299"/>
              <a:gd name="T3" fmla="*/ 0 h 936"/>
              <a:gd name="T4" fmla="*/ 0 w 299"/>
              <a:gd name="T5" fmla="*/ 163 h 936"/>
              <a:gd name="T6" fmla="*/ 0 w 299"/>
              <a:gd name="T7" fmla="*/ 936 h 936"/>
              <a:gd name="T8" fmla="*/ 299 w 299"/>
              <a:gd name="T9" fmla="*/ 771 h 936"/>
              <a:gd name="T10" fmla="*/ 299 w 299"/>
              <a:gd name="T11" fmla="*/ 771 h 936"/>
            </a:gdLst>
            <a:ahLst/>
            <a:cxnLst>
              <a:cxn ang="0">
                <a:pos x="T0" y="T1"/>
              </a:cxn>
              <a:cxn ang="0">
                <a:pos x="T2" y="T3"/>
              </a:cxn>
              <a:cxn ang="0">
                <a:pos x="T4" y="T5"/>
              </a:cxn>
              <a:cxn ang="0">
                <a:pos x="T6" y="T7"/>
              </a:cxn>
              <a:cxn ang="0">
                <a:pos x="T8" y="T9"/>
              </a:cxn>
              <a:cxn ang="0">
                <a:pos x="T10" y="T11"/>
              </a:cxn>
            </a:cxnLst>
            <a:rect l="0" t="0" r="r" b="b"/>
            <a:pathLst>
              <a:path w="299" h="936">
                <a:moveTo>
                  <a:pt x="299" y="771"/>
                </a:moveTo>
                <a:lnTo>
                  <a:pt x="299" y="0"/>
                </a:lnTo>
                <a:lnTo>
                  <a:pt x="0" y="163"/>
                </a:lnTo>
                <a:lnTo>
                  <a:pt x="0" y="936"/>
                </a:lnTo>
                <a:lnTo>
                  <a:pt x="299" y="771"/>
                </a:lnTo>
                <a:lnTo>
                  <a:pt x="299" y="771"/>
                </a:lnTo>
                <a:close/>
              </a:path>
            </a:pathLst>
          </a:custGeom>
          <a:solidFill>
            <a:schemeClr val="accent2">
              <a:lumMod val="50000"/>
            </a:schemeClr>
          </a:solidFill>
          <a:ln>
            <a:noFill/>
          </a:ln>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42" name="Freeform 17">
            <a:extLst>
              <a:ext uri="{FF2B5EF4-FFF2-40B4-BE49-F238E27FC236}">
                <a16:creationId xmlns:a16="http://schemas.microsoft.com/office/drawing/2014/main" id="{AB0E7058-CF3F-64F7-0467-D7CBBA601AFF}"/>
              </a:ext>
            </a:extLst>
          </p:cNvPr>
          <p:cNvSpPr>
            <a:spLocks/>
          </p:cNvSpPr>
          <p:nvPr userDrawn="1"/>
        </p:nvSpPr>
        <p:spPr bwMode="auto">
          <a:xfrm>
            <a:off x="9052367" y="4531700"/>
            <a:ext cx="1034528" cy="1969907"/>
          </a:xfrm>
          <a:custGeom>
            <a:avLst/>
            <a:gdLst>
              <a:gd name="T0" fmla="*/ 553 w 553"/>
              <a:gd name="T1" fmla="*/ 1053 h 1053"/>
              <a:gd name="T2" fmla="*/ 553 w 553"/>
              <a:gd name="T3" fmla="*/ 280 h 1053"/>
              <a:gd name="T4" fmla="*/ 0 w 553"/>
              <a:gd name="T5" fmla="*/ 0 h 1053"/>
              <a:gd name="T6" fmla="*/ 0 w 553"/>
              <a:gd name="T7" fmla="*/ 772 h 1053"/>
              <a:gd name="T8" fmla="*/ 553 w 553"/>
              <a:gd name="T9" fmla="*/ 1053 h 1053"/>
              <a:gd name="T10" fmla="*/ 553 w 553"/>
              <a:gd name="T11" fmla="*/ 1053 h 1053"/>
            </a:gdLst>
            <a:ahLst/>
            <a:cxnLst>
              <a:cxn ang="0">
                <a:pos x="T0" y="T1"/>
              </a:cxn>
              <a:cxn ang="0">
                <a:pos x="T2" y="T3"/>
              </a:cxn>
              <a:cxn ang="0">
                <a:pos x="T4" y="T5"/>
              </a:cxn>
              <a:cxn ang="0">
                <a:pos x="T6" y="T7"/>
              </a:cxn>
              <a:cxn ang="0">
                <a:pos x="T8" y="T9"/>
              </a:cxn>
              <a:cxn ang="0">
                <a:pos x="T10" y="T11"/>
              </a:cxn>
            </a:cxnLst>
            <a:rect l="0" t="0" r="r" b="b"/>
            <a:pathLst>
              <a:path w="553" h="1053">
                <a:moveTo>
                  <a:pt x="553" y="1053"/>
                </a:moveTo>
                <a:lnTo>
                  <a:pt x="553" y="280"/>
                </a:lnTo>
                <a:lnTo>
                  <a:pt x="0" y="0"/>
                </a:lnTo>
                <a:lnTo>
                  <a:pt x="0" y="772"/>
                </a:lnTo>
                <a:lnTo>
                  <a:pt x="553" y="1053"/>
                </a:lnTo>
                <a:lnTo>
                  <a:pt x="553" y="1053"/>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a:latin typeface="+mj-lt"/>
            </a:endParaRPr>
          </a:p>
        </p:txBody>
      </p:sp>
      <p:grpSp>
        <p:nvGrpSpPr>
          <p:cNvPr id="43" name="Group 42">
            <a:extLst>
              <a:ext uri="{FF2B5EF4-FFF2-40B4-BE49-F238E27FC236}">
                <a16:creationId xmlns:a16="http://schemas.microsoft.com/office/drawing/2014/main" id="{5E3A1DE2-C006-0C84-6DB8-C30B66986729}"/>
              </a:ext>
            </a:extLst>
          </p:cNvPr>
          <p:cNvGrpSpPr/>
          <p:nvPr userDrawn="1"/>
        </p:nvGrpSpPr>
        <p:grpSpPr>
          <a:xfrm>
            <a:off x="8493011" y="4993775"/>
            <a:ext cx="1593888" cy="1820247"/>
            <a:chOff x="8526457" y="4929184"/>
            <a:chExt cx="1352552" cy="1544637"/>
          </a:xfrm>
        </p:grpSpPr>
        <p:sp>
          <p:nvSpPr>
            <p:cNvPr id="44" name="Freeform 18">
              <a:extLst>
                <a:ext uri="{FF2B5EF4-FFF2-40B4-BE49-F238E27FC236}">
                  <a16:creationId xmlns:a16="http://schemas.microsoft.com/office/drawing/2014/main" id="{BDD96B16-B98D-C373-635B-5EBF01127DE5}"/>
                </a:ext>
              </a:extLst>
            </p:cNvPr>
            <p:cNvSpPr>
              <a:spLocks/>
            </p:cNvSpPr>
            <p:nvPr/>
          </p:nvSpPr>
          <p:spPr bwMode="auto">
            <a:xfrm>
              <a:off x="8526460" y="4929184"/>
              <a:ext cx="1352549" cy="709613"/>
            </a:xfrm>
            <a:custGeom>
              <a:avLst/>
              <a:gdLst>
                <a:gd name="T0" fmla="*/ 852 w 852"/>
                <a:gd name="T1" fmla="*/ 282 h 447"/>
                <a:gd name="T2" fmla="*/ 299 w 852"/>
                <a:gd name="T3" fmla="*/ 0 h 447"/>
                <a:gd name="T4" fmla="*/ 0 w 852"/>
                <a:gd name="T5" fmla="*/ 165 h 447"/>
                <a:gd name="T6" fmla="*/ 554 w 852"/>
                <a:gd name="T7" fmla="*/ 447 h 447"/>
                <a:gd name="T8" fmla="*/ 852 w 852"/>
                <a:gd name="T9" fmla="*/ 282 h 447"/>
                <a:gd name="T10" fmla="*/ 852 w 852"/>
                <a:gd name="T11" fmla="*/ 282 h 447"/>
              </a:gdLst>
              <a:ahLst/>
              <a:cxnLst>
                <a:cxn ang="0">
                  <a:pos x="T0" y="T1"/>
                </a:cxn>
                <a:cxn ang="0">
                  <a:pos x="T2" y="T3"/>
                </a:cxn>
                <a:cxn ang="0">
                  <a:pos x="T4" y="T5"/>
                </a:cxn>
                <a:cxn ang="0">
                  <a:pos x="T6" y="T7"/>
                </a:cxn>
                <a:cxn ang="0">
                  <a:pos x="T8" y="T9"/>
                </a:cxn>
                <a:cxn ang="0">
                  <a:pos x="T10" y="T11"/>
                </a:cxn>
              </a:cxnLst>
              <a:rect l="0" t="0" r="r" b="b"/>
              <a:pathLst>
                <a:path w="852" h="447">
                  <a:moveTo>
                    <a:pt x="852" y="282"/>
                  </a:moveTo>
                  <a:lnTo>
                    <a:pt x="299" y="0"/>
                  </a:lnTo>
                  <a:lnTo>
                    <a:pt x="0" y="165"/>
                  </a:lnTo>
                  <a:lnTo>
                    <a:pt x="554" y="447"/>
                  </a:lnTo>
                  <a:lnTo>
                    <a:pt x="852" y="282"/>
                  </a:lnTo>
                  <a:lnTo>
                    <a:pt x="852" y="2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45" name="Freeform 19">
              <a:extLst>
                <a:ext uri="{FF2B5EF4-FFF2-40B4-BE49-F238E27FC236}">
                  <a16:creationId xmlns:a16="http://schemas.microsoft.com/office/drawing/2014/main" id="{8B7C7AD5-C37A-DF78-1A88-4F7885023A7E}"/>
                </a:ext>
              </a:extLst>
            </p:cNvPr>
            <p:cNvSpPr>
              <a:spLocks/>
            </p:cNvSpPr>
            <p:nvPr/>
          </p:nvSpPr>
          <p:spPr bwMode="auto">
            <a:xfrm>
              <a:off x="9405934" y="5376859"/>
              <a:ext cx="473075" cy="1096962"/>
            </a:xfrm>
            <a:custGeom>
              <a:avLst/>
              <a:gdLst>
                <a:gd name="T0" fmla="*/ 298 w 298"/>
                <a:gd name="T1" fmla="*/ 524 h 691"/>
                <a:gd name="T2" fmla="*/ 298 w 298"/>
                <a:gd name="T3" fmla="*/ 0 h 691"/>
                <a:gd name="T4" fmla="*/ 0 w 298"/>
                <a:gd name="T5" fmla="*/ 165 h 691"/>
                <a:gd name="T6" fmla="*/ 0 w 298"/>
                <a:gd name="T7" fmla="*/ 691 h 691"/>
                <a:gd name="T8" fmla="*/ 298 w 298"/>
                <a:gd name="T9" fmla="*/ 524 h 691"/>
                <a:gd name="T10" fmla="*/ 298 w 298"/>
                <a:gd name="T11" fmla="*/ 524 h 691"/>
              </a:gdLst>
              <a:ahLst/>
              <a:cxnLst>
                <a:cxn ang="0">
                  <a:pos x="T0" y="T1"/>
                </a:cxn>
                <a:cxn ang="0">
                  <a:pos x="T2" y="T3"/>
                </a:cxn>
                <a:cxn ang="0">
                  <a:pos x="T4" y="T5"/>
                </a:cxn>
                <a:cxn ang="0">
                  <a:pos x="T6" y="T7"/>
                </a:cxn>
                <a:cxn ang="0">
                  <a:pos x="T8" y="T9"/>
                </a:cxn>
                <a:cxn ang="0">
                  <a:pos x="T10" y="T11"/>
                </a:cxn>
              </a:cxnLst>
              <a:rect l="0" t="0" r="r" b="b"/>
              <a:pathLst>
                <a:path w="298" h="691">
                  <a:moveTo>
                    <a:pt x="298" y="524"/>
                  </a:moveTo>
                  <a:lnTo>
                    <a:pt x="298" y="0"/>
                  </a:lnTo>
                  <a:lnTo>
                    <a:pt x="0" y="165"/>
                  </a:lnTo>
                  <a:lnTo>
                    <a:pt x="0" y="691"/>
                  </a:lnTo>
                  <a:lnTo>
                    <a:pt x="298" y="524"/>
                  </a:lnTo>
                  <a:lnTo>
                    <a:pt x="298" y="524"/>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46" name="Freeform 20">
              <a:extLst>
                <a:ext uri="{FF2B5EF4-FFF2-40B4-BE49-F238E27FC236}">
                  <a16:creationId xmlns:a16="http://schemas.microsoft.com/office/drawing/2014/main" id="{FF63F7A7-3088-CF57-5B89-FDE318B6A975}"/>
                </a:ext>
              </a:extLst>
            </p:cNvPr>
            <p:cNvSpPr>
              <a:spLocks/>
            </p:cNvSpPr>
            <p:nvPr/>
          </p:nvSpPr>
          <p:spPr bwMode="auto">
            <a:xfrm>
              <a:off x="8526457" y="5191122"/>
              <a:ext cx="879474" cy="1282699"/>
            </a:xfrm>
            <a:custGeom>
              <a:avLst/>
              <a:gdLst>
                <a:gd name="T0" fmla="*/ 554 w 554"/>
                <a:gd name="T1" fmla="*/ 808 h 808"/>
                <a:gd name="T2" fmla="*/ 554 w 554"/>
                <a:gd name="T3" fmla="*/ 282 h 808"/>
                <a:gd name="T4" fmla="*/ 0 w 554"/>
                <a:gd name="T5" fmla="*/ 0 h 808"/>
                <a:gd name="T6" fmla="*/ 0 w 554"/>
                <a:gd name="T7" fmla="*/ 525 h 808"/>
                <a:gd name="T8" fmla="*/ 554 w 554"/>
                <a:gd name="T9" fmla="*/ 808 h 808"/>
                <a:gd name="T10" fmla="*/ 554 w 554"/>
                <a:gd name="T11" fmla="*/ 808 h 808"/>
              </a:gdLst>
              <a:ahLst/>
              <a:cxnLst>
                <a:cxn ang="0">
                  <a:pos x="T0" y="T1"/>
                </a:cxn>
                <a:cxn ang="0">
                  <a:pos x="T2" y="T3"/>
                </a:cxn>
                <a:cxn ang="0">
                  <a:pos x="T4" y="T5"/>
                </a:cxn>
                <a:cxn ang="0">
                  <a:pos x="T6" y="T7"/>
                </a:cxn>
                <a:cxn ang="0">
                  <a:pos x="T8" y="T9"/>
                </a:cxn>
                <a:cxn ang="0">
                  <a:pos x="T10" y="T11"/>
                </a:cxn>
              </a:cxnLst>
              <a:rect l="0" t="0" r="r" b="b"/>
              <a:pathLst>
                <a:path w="554" h="808">
                  <a:moveTo>
                    <a:pt x="554" y="808"/>
                  </a:moveTo>
                  <a:lnTo>
                    <a:pt x="554" y="282"/>
                  </a:lnTo>
                  <a:lnTo>
                    <a:pt x="0" y="0"/>
                  </a:lnTo>
                  <a:lnTo>
                    <a:pt x="0" y="525"/>
                  </a:lnTo>
                  <a:lnTo>
                    <a:pt x="554" y="808"/>
                  </a:lnTo>
                  <a:lnTo>
                    <a:pt x="554" y="80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a:latin typeface="+mj-lt"/>
              </a:endParaRPr>
            </a:p>
          </p:txBody>
        </p:sp>
      </p:grpSp>
      <p:sp>
        <p:nvSpPr>
          <p:cNvPr id="49" name="Freeform 973">
            <a:extLst>
              <a:ext uri="{FF2B5EF4-FFF2-40B4-BE49-F238E27FC236}">
                <a16:creationId xmlns:a16="http://schemas.microsoft.com/office/drawing/2014/main" id="{D9A6FEC6-F05C-7201-5DCB-098030C1649F}"/>
              </a:ext>
            </a:extLst>
          </p:cNvPr>
          <p:cNvSpPr>
            <a:spLocks noChangeAspect="1" noChangeArrowheads="1"/>
          </p:cNvSpPr>
          <p:nvPr userDrawn="1"/>
        </p:nvSpPr>
        <p:spPr bwMode="auto">
          <a:xfrm>
            <a:off x="10555524" y="2715193"/>
            <a:ext cx="284356" cy="284356"/>
          </a:xfrm>
          <a:custGeom>
            <a:avLst/>
            <a:gdLst>
              <a:gd name="T0" fmla="*/ 8681 w 285391"/>
              <a:gd name="T1" fmla="*/ 264986 h 285388"/>
              <a:gd name="T2" fmla="*/ 150468 w 285391"/>
              <a:gd name="T3" fmla="*/ 278097 h 285388"/>
              <a:gd name="T4" fmla="*/ 143233 w 285391"/>
              <a:gd name="T5" fmla="*/ 257702 h 285388"/>
              <a:gd name="T6" fmla="*/ 39064 w 285391"/>
              <a:gd name="T7" fmla="*/ 228566 h 285388"/>
              <a:gd name="T8" fmla="*/ 31830 w 285391"/>
              <a:gd name="T9" fmla="*/ 248961 h 285388"/>
              <a:gd name="T10" fmla="*/ 127319 w 285391"/>
              <a:gd name="T11" fmla="*/ 236213 h 285388"/>
              <a:gd name="T12" fmla="*/ 39064 w 285391"/>
              <a:gd name="T13" fmla="*/ 228566 h 285388"/>
              <a:gd name="T14" fmla="*/ 164029 w 285391"/>
              <a:gd name="T15" fmla="*/ 221993 h 285388"/>
              <a:gd name="T16" fmla="*/ 184847 w 285391"/>
              <a:gd name="T17" fmla="*/ 248700 h 285388"/>
              <a:gd name="T18" fmla="*/ 178639 w 285391"/>
              <a:gd name="T19" fmla="*/ 248700 h 285388"/>
              <a:gd name="T20" fmla="*/ 157820 w 285391"/>
              <a:gd name="T21" fmla="*/ 221993 h 285388"/>
              <a:gd name="T22" fmla="*/ 120084 w 285391"/>
              <a:gd name="T23" fmla="*/ 220189 h 285388"/>
              <a:gd name="T24" fmla="*/ 135999 w 285391"/>
              <a:gd name="T25" fmla="*/ 248961 h 285388"/>
              <a:gd name="T26" fmla="*/ 159148 w 285391"/>
              <a:gd name="T27" fmla="*/ 264986 h 285388"/>
              <a:gd name="T28" fmla="*/ 282489 w 285391"/>
              <a:gd name="T29" fmla="*/ 278097 h 285388"/>
              <a:gd name="T30" fmla="*/ 282489 w 285391"/>
              <a:gd name="T31" fmla="*/ 286838 h 285388"/>
              <a:gd name="T32" fmla="*/ 0 w 285391"/>
              <a:gd name="T33" fmla="*/ 282832 h 285388"/>
              <a:gd name="T34" fmla="*/ 15915 w 285391"/>
              <a:gd name="T35" fmla="*/ 248961 h 285388"/>
              <a:gd name="T36" fmla="*/ 23148 w 285391"/>
              <a:gd name="T37" fmla="*/ 236213 h 285388"/>
              <a:gd name="T38" fmla="*/ 168276 w 285391"/>
              <a:gd name="T39" fmla="*/ 201042 h 285388"/>
              <a:gd name="T40" fmla="*/ 199079 w 285391"/>
              <a:gd name="T41" fmla="*/ 205638 h 285388"/>
              <a:gd name="T42" fmla="*/ 168276 w 285391"/>
              <a:gd name="T43" fmla="*/ 210232 h 285388"/>
              <a:gd name="T44" fmla="*/ 168276 w 285391"/>
              <a:gd name="T45" fmla="*/ 201042 h 285388"/>
              <a:gd name="T46" fmla="*/ 184847 w 285391"/>
              <a:gd name="T47" fmla="*/ 162978 h 285388"/>
              <a:gd name="T48" fmla="*/ 164029 w 285391"/>
              <a:gd name="T49" fmla="*/ 189642 h 285388"/>
              <a:gd name="T50" fmla="*/ 157820 w 285391"/>
              <a:gd name="T51" fmla="*/ 189642 h 285388"/>
              <a:gd name="T52" fmla="*/ 178639 w 285391"/>
              <a:gd name="T53" fmla="*/ 162978 h 285388"/>
              <a:gd name="T54" fmla="*/ 26225 w 285391"/>
              <a:gd name="T55" fmla="*/ 155513 h 285388"/>
              <a:gd name="T56" fmla="*/ 27672 w 285391"/>
              <a:gd name="T57" fmla="*/ 174406 h 285388"/>
              <a:gd name="T58" fmla="*/ 133213 w 285391"/>
              <a:gd name="T59" fmla="*/ 172953 h 285388"/>
              <a:gd name="T60" fmla="*/ 131768 w 285391"/>
              <a:gd name="T61" fmla="*/ 154059 h 285388"/>
              <a:gd name="T62" fmla="*/ 147671 w 285391"/>
              <a:gd name="T63" fmla="*/ 78482 h 285388"/>
              <a:gd name="T64" fmla="*/ 270926 w 285391"/>
              <a:gd name="T65" fmla="*/ 104643 h 285388"/>
              <a:gd name="T66" fmla="*/ 277794 w 285391"/>
              <a:gd name="T67" fmla="*/ 85749 h 285388"/>
              <a:gd name="T68" fmla="*/ 147671 w 285391"/>
              <a:gd name="T69" fmla="*/ 78482 h 285388"/>
              <a:gd name="T70" fmla="*/ 118756 w 285391"/>
              <a:gd name="T71" fmla="*/ 119178 h 285388"/>
              <a:gd name="T72" fmla="*/ 138996 w 285391"/>
              <a:gd name="T73" fmla="*/ 63949 h 285388"/>
              <a:gd name="T74" fmla="*/ 49358 w 285391"/>
              <a:gd name="T75" fmla="*/ 37423 h 285388"/>
              <a:gd name="T76" fmla="*/ 110080 w 285391"/>
              <a:gd name="T77" fmla="*/ 145338 h 285388"/>
              <a:gd name="T78" fmla="*/ 72490 w 285391"/>
              <a:gd name="T79" fmla="*/ 37423 h 285388"/>
              <a:gd name="T80" fmla="*/ 68153 w 285391"/>
              <a:gd name="T81" fmla="*/ 130804 h 285388"/>
              <a:gd name="T82" fmla="*/ 63815 w 285391"/>
              <a:gd name="T83" fmla="*/ 37423 h 285388"/>
              <a:gd name="T84" fmla="*/ 27672 w 285391"/>
              <a:gd name="T85" fmla="*/ 8720 h 285388"/>
              <a:gd name="T86" fmla="*/ 26225 w 285391"/>
              <a:gd name="T87" fmla="*/ 27250 h 285388"/>
              <a:gd name="T88" fmla="*/ 131768 w 285391"/>
              <a:gd name="T89" fmla="*/ 28703 h 285388"/>
              <a:gd name="T90" fmla="*/ 133213 w 285391"/>
              <a:gd name="T91" fmla="*/ 10174 h 285388"/>
              <a:gd name="T92" fmla="*/ 27672 w 285391"/>
              <a:gd name="T93" fmla="*/ 8720 h 285388"/>
              <a:gd name="T94" fmla="*/ 131768 w 285391"/>
              <a:gd name="T95" fmla="*/ 0 h 285388"/>
              <a:gd name="T96" fmla="*/ 141888 w 285391"/>
              <a:gd name="T97" fmla="*/ 27250 h 285388"/>
              <a:gd name="T98" fmla="*/ 118756 w 285391"/>
              <a:gd name="T99" fmla="*/ 37423 h 285388"/>
              <a:gd name="T100" fmla="*/ 143334 w 285391"/>
              <a:gd name="T101" fmla="*/ 55229 h 285388"/>
              <a:gd name="T102" fmla="*/ 147671 w 285391"/>
              <a:gd name="T103" fmla="*/ 69762 h 285388"/>
              <a:gd name="T104" fmla="*/ 286829 w 285391"/>
              <a:gd name="T105" fmla="*/ 85749 h 285388"/>
              <a:gd name="T106" fmla="*/ 270926 w 285391"/>
              <a:gd name="T107" fmla="*/ 113364 h 285388"/>
              <a:gd name="T108" fmla="*/ 147671 w 285391"/>
              <a:gd name="T109" fmla="*/ 123538 h 285388"/>
              <a:gd name="T110" fmla="*/ 118756 w 285391"/>
              <a:gd name="T111" fmla="*/ 127898 h 285388"/>
              <a:gd name="T112" fmla="*/ 131768 w 285391"/>
              <a:gd name="T113" fmla="*/ 145338 h 285388"/>
              <a:gd name="T114" fmla="*/ 141888 w 285391"/>
              <a:gd name="T115" fmla="*/ 172953 h 285388"/>
              <a:gd name="T116" fmla="*/ 27672 w 285391"/>
              <a:gd name="T117" fmla="*/ 183126 h 285388"/>
              <a:gd name="T118" fmla="*/ 17550 w 285391"/>
              <a:gd name="T119" fmla="*/ 155513 h 285388"/>
              <a:gd name="T120" fmla="*/ 40682 w 285391"/>
              <a:gd name="T121" fmla="*/ 145338 h 285388"/>
              <a:gd name="T122" fmla="*/ 27672 w 285391"/>
              <a:gd name="T123" fmla="*/ 37423 h 285388"/>
              <a:gd name="T124" fmla="*/ 17550 w 285391"/>
              <a:gd name="T125" fmla="*/ 10174 h 28538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85391" h="285388">
                <a:moveTo>
                  <a:pt x="15835" y="256399"/>
                </a:moveTo>
                <a:cubicBezTo>
                  <a:pt x="11876" y="256399"/>
                  <a:pt x="8637" y="259660"/>
                  <a:pt x="8637" y="263646"/>
                </a:cubicBezTo>
                <a:lnTo>
                  <a:pt x="8637" y="276691"/>
                </a:lnTo>
                <a:lnTo>
                  <a:pt x="149713" y="276691"/>
                </a:lnTo>
                <a:lnTo>
                  <a:pt x="149713" y="263646"/>
                </a:lnTo>
                <a:cubicBezTo>
                  <a:pt x="149713" y="259660"/>
                  <a:pt x="146474" y="256399"/>
                  <a:pt x="142515" y="256399"/>
                </a:cubicBezTo>
                <a:lnTo>
                  <a:pt x="15835" y="256399"/>
                </a:lnTo>
                <a:close/>
                <a:moveTo>
                  <a:pt x="38868" y="227410"/>
                </a:moveTo>
                <a:cubicBezTo>
                  <a:pt x="34909" y="227410"/>
                  <a:pt x="31670" y="230671"/>
                  <a:pt x="31670" y="235019"/>
                </a:cubicBezTo>
                <a:lnTo>
                  <a:pt x="31670" y="247702"/>
                </a:lnTo>
                <a:lnTo>
                  <a:pt x="126680" y="247702"/>
                </a:lnTo>
                <a:lnTo>
                  <a:pt x="126680" y="235019"/>
                </a:lnTo>
                <a:cubicBezTo>
                  <a:pt x="126680" y="230671"/>
                  <a:pt x="123441" y="227410"/>
                  <a:pt x="119482" y="227410"/>
                </a:cubicBezTo>
                <a:lnTo>
                  <a:pt x="38868" y="227410"/>
                </a:lnTo>
                <a:close/>
                <a:moveTo>
                  <a:pt x="157028" y="220870"/>
                </a:moveTo>
                <a:cubicBezTo>
                  <a:pt x="158845" y="219075"/>
                  <a:pt x="161753" y="219075"/>
                  <a:pt x="163206" y="220870"/>
                </a:cubicBezTo>
                <a:lnTo>
                  <a:pt x="183920" y="241338"/>
                </a:lnTo>
                <a:cubicBezTo>
                  <a:pt x="185374" y="243133"/>
                  <a:pt x="185374" y="245646"/>
                  <a:pt x="183920" y="247442"/>
                </a:cubicBezTo>
                <a:cubicBezTo>
                  <a:pt x="183193" y="248160"/>
                  <a:pt x="181740" y="248878"/>
                  <a:pt x="181013" y="248878"/>
                </a:cubicBezTo>
                <a:cubicBezTo>
                  <a:pt x="179559" y="248878"/>
                  <a:pt x="178469" y="248160"/>
                  <a:pt x="177743" y="247442"/>
                </a:cubicBezTo>
                <a:lnTo>
                  <a:pt x="157028" y="226975"/>
                </a:lnTo>
                <a:cubicBezTo>
                  <a:pt x="155575" y="225538"/>
                  <a:pt x="155575" y="222666"/>
                  <a:pt x="157028" y="220870"/>
                </a:cubicBezTo>
                <a:close/>
                <a:moveTo>
                  <a:pt x="38868" y="219075"/>
                </a:moveTo>
                <a:lnTo>
                  <a:pt x="119482" y="219075"/>
                </a:lnTo>
                <a:cubicBezTo>
                  <a:pt x="128119" y="219075"/>
                  <a:pt x="135317" y="225960"/>
                  <a:pt x="135317" y="235019"/>
                </a:cubicBezTo>
                <a:lnTo>
                  <a:pt x="135317" y="247702"/>
                </a:lnTo>
                <a:lnTo>
                  <a:pt x="142515" y="247702"/>
                </a:lnTo>
                <a:cubicBezTo>
                  <a:pt x="151152" y="247702"/>
                  <a:pt x="158350" y="254949"/>
                  <a:pt x="158350" y="263646"/>
                </a:cubicBezTo>
                <a:lnTo>
                  <a:pt x="158350" y="276691"/>
                </a:lnTo>
                <a:lnTo>
                  <a:pt x="281072" y="276691"/>
                </a:lnTo>
                <a:cubicBezTo>
                  <a:pt x="283231" y="276691"/>
                  <a:pt x="285390" y="278865"/>
                  <a:pt x="285390" y="281402"/>
                </a:cubicBezTo>
                <a:cubicBezTo>
                  <a:pt x="285390" y="283576"/>
                  <a:pt x="283231" y="285388"/>
                  <a:pt x="281072" y="285388"/>
                </a:cubicBezTo>
                <a:lnTo>
                  <a:pt x="4318" y="285388"/>
                </a:lnTo>
                <a:cubicBezTo>
                  <a:pt x="1799" y="285388"/>
                  <a:pt x="0" y="283576"/>
                  <a:pt x="0" y="281402"/>
                </a:cubicBezTo>
                <a:lnTo>
                  <a:pt x="0" y="263646"/>
                </a:lnTo>
                <a:cubicBezTo>
                  <a:pt x="0" y="254949"/>
                  <a:pt x="6838" y="247702"/>
                  <a:pt x="15835" y="247702"/>
                </a:cubicBezTo>
                <a:lnTo>
                  <a:pt x="23032" y="247702"/>
                </a:lnTo>
                <a:lnTo>
                  <a:pt x="23032" y="235019"/>
                </a:lnTo>
                <a:cubicBezTo>
                  <a:pt x="23032" y="225960"/>
                  <a:pt x="30230" y="219075"/>
                  <a:pt x="38868" y="219075"/>
                </a:cubicBezTo>
                <a:close/>
                <a:moveTo>
                  <a:pt x="167432" y="200025"/>
                </a:moveTo>
                <a:lnTo>
                  <a:pt x="193804" y="200025"/>
                </a:lnTo>
                <a:cubicBezTo>
                  <a:pt x="195943" y="200025"/>
                  <a:pt x="198081" y="201930"/>
                  <a:pt x="198081" y="204597"/>
                </a:cubicBezTo>
                <a:cubicBezTo>
                  <a:pt x="198081" y="207264"/>
                  <a:pt x="195943" y="209169"/>
                  <a:pt x="193804" y="209169"/>
                </a:cubicBezTo>
                <a:lnTo>
                  <a:pt x="167432" y="209169"/>
                </a:lnTo>
                <a:cubicBezTo>
                  <a:pt x="165294" y="209169"/>
                  <a:pt x="163512" y="207264"/>
                  <a:pt x="163512" y="204597"/>
                </a:cubicBezTo>
                <a:cubicBezTo>
                  <a:pt x="163512" y="201930"/>
                  <a:pt x="165294" y="200025"/>
                  <a:pt x="167432" y="200025"/>
                </a:cubicBezTo>
                <a:close/>
                <a:moveTo>
                  <a:pt x="177743" y="162154"/>
                </a:moveTo>
                <a:cubicBezTo>
                  <a:pt x="179559" y="160337"/>
                  <a:pt x="182103" y="160337"/>
                  <a:pt x="183920" y="162154"/>
                </a:cubicBezTo>
                <a:cubicBezTo>
                  <a:pt x="185374" y="163608"/>
                  <a:pt x="185374" y="166515"/>
                  <a:pt x="183920" y="168332"/>
                </a:cubicBezTo>
                <a:lnTo>
                  <a:pt x="163206" y="188683"/>
                </a:lnTo>
                <a:cubicBezTo>
                  <a:pt x="162479" y="189410"/>
                  <a:pt x="161389" y="190136"/>
                  <a:pt x="160299" y="190136"/>
                </a:cubicBezTo>
                <a:cubicBezTo>
                  <a:pt x="159209" y="190136"/>
                  <a:pt x="158119" y="189410"/>
                  <a:pt x="157028" y="188683"/>
                </a:cubicBezTo>
                <a:cubicBezTo>
                  <a:pt x="155575" y="186866"/>
                  <a:pt x="155575" y="184322"/>
                  <a:pt x="157028" y="182505"/>
                </a:cubicBezTo>
                <a:lnTo>
                  <a:pt x="177743" y="162154"/>
                </a:lnTo>
                <a:close/>
                <a:moveTo>
                  <a:pt x="27532" y="153280"/>
                </a:moveTo>
                <a:cubicBezTo>
                  <a:pt x="26812" y="153280"/>
                  <a:pt x="26093" y="154003"/>
                  <a:pt x="26093" y="154726"/>
                </a:cubicBezTo>
                <a:lnTo>
                  <a:pt x="26093" y="172078"/>
                </a:lnTo>
                <a:cubicBezTo>
                  <a:pt x="26093" y="172801"/>
                  <a:pt x="26812" y="173524"/>
                  <a:pt x="27532" y="173524"/>
                </a:cubicBezTo>
                <a:lnTo>
                  <a:pt x="131107" y="173524"/>
                </a:lnTo>
                <a:cubicBezTo>
                  <a:pt x="131826" y="173524"/>
                  <a:pt x="132545" y="172801"/>
                  <a:pt x="132545" y="172078"/>
                </a:cubicBezTo>
                <a:lnTo>
                  <a:pt x="132545" y="154726"/>
                </a:lnTo>
                <a:cubicBezTo>
                  <a:pt x="132545" y="154003"/>
                  <a:pt x="131826" y="153280"/>
                  <a:pt x="131107" y="153280"/>
                </a:cubicBezTo>
                <a:lnTo>
                  <a:pt x="27532" y="153280"/>
                </a:lnTo>
                <a:close/>
                <a:moveTo>
                  <a:pt x="146930" y="78086"/>
                </a:moveTo>
                <a:lnTo>
                  <a:pt x="146930" y="104114"/>
                </a:lnTo>
                <a:lnTo>
                  <a:pt x="269567" y="104114"/>
                </a:lnTo>
                <a:cubicBezTo>
                  <a:pt x="273523" y="104114"/>
                  <a:pt x="276400" y="100861"/>
                  <a:pt x="276400" y="96884"/>
                </a:cubicBezTo>
                <a:lnTo>
                  <a:pt x="276400" y="85316"/>
                </a:lnTo>
                <a:cubicBezTo>
                  <a:pt x="276400" y="80978"/>
                  <a:pt x="273523" y="78086"/>
                  <a:pt x="269567" y="78086"/>
                </a:cubicBezTo>
                <a:lnTo>
                  <a:pt x="146930" y="78086"/>
                </a:lnTo>
                <a:close/>
                <a:moveTo>
                  <a:pt x="118160" y="63625"/>
                </a:moveTo>
                <a:lnTo>
                  <a:pt x="118160" y="118575"/>
                </a:lnTo>
                <a:lnTo>
                  <a:pt x="138299" y="118575"/>
                </a:lnTo>
                <a:lnTo>
                  <a:pt x="138299" y="63625"/>
                </a:lnTo>
                <a:lnTo>
                  <a:pt x="118160" y="63625"/>
                </a:lnTo>
                <a:close/>
                <a:moveTo>
                  <a:pt x="49110" y="37235"/>
                </a:moveTo>
                <a:lnTo>
                  <a:pt x="49110" y="144603"/>
                </a:lnTo>
                <a:lnTo>
                  <a:pt x="109528" y="144603"/>
                </a:lnTo>
                <a:lnTo>
                  <a:pt x="109528" y="37235"/>
                </a:lnTo>
                <a:lnTo>
                  <a:pt x="72126" y="37235"/>
                </a:lnTo>
                <a:lnTo>
                  <a:pt x="72126" y="125805"/>
                </a:lnTo>
                <a:cubicBezTo>
                  <a:pt x="72126" y="128336"/>
                  <a:pt x="70328" y="130143"/>
                  <a:pt x="67811" y="130143"/>
                </a:cubicBezTo>
                <a:cubicBezTo>
                  <a:pt x="65293" y="130143"/>
                  <a:pt x="63495" y="128336"/>
                  <a:pt x="63495" y="125805"/>
                </a:cubicBezTo>
                <a:lnTo>
                  <a:pt x="63495" y="37235"/>
                </a:lnTo>
                <a:lnTo>
                  <a:pt x="49110" y="37235"/>
                </a:lnTo>
                <a:close/>
                <a:moveTo>
                  <a:pt x="27532" y="8676"/>
                </a:moveTo>
                <a:cubicBezTo>
                  <a:pt x="26812" y="8676"/>
                  <a:pt x="26093" y="9038"/>
                  <a:pt x="26093" y="10122"/>
                </a:cubicBezTo>
                <a:lnTo>
                  <a:pt x="26093" y="27113"/>
                </a:lnTo>
                <a:cubicBezTo>
                  <a:pt x="26093" y="28198"/>
                  <a:pt x="26812" y="28559"/>
                  <a:pt x="27532" y="28559"/>
                </a:cubicBezTo>
                <a:lnTo>
                  <a:pt x="131107" y="28559"/>
                </a:lnTo>
                <a:cubicBezTo>
                  <a:pt x="131826" y="28559"/>
                  <a:pt x="132545" y="28198"/>
                  <a:pt x="132545" y="27113"/>
                </a:cubicBezTo>
                <a:lnTo>
                  <a:pt x="132545" y="10122"/>
                </a:lnTo>
                <a:cubicBezTo>
                  <a:pt x="132545" y="9038"/>
                  <a:pt x="131826" y="8676"/>
                  <a:pt x="131107" y="8676"/>
                </a:cubicBezTo>
                <a:lnTo>
                  <a:pt x="27532" y="8676"/>
                </a:lnTo>
                <a:close/>
                <a:moveTo>
                  <a:pt x="27532" y="0"/>
                </a:moveTo>
                <a:lnTo>
                  <a:pt x="131107" y="0"/>
                </a:lnTo>
                <a:cubicBezTo>
                  <a:pt x="136861" y="0"/>
                  <a:pt x="141176" y="4338"/>
                  <a:pt x="141176" y="10122"/>
                </a:cubicBezTo>
                <a:lnTo>
                  <a:pt x="141176" y="27113"/>
                </a:lnTo>
                <a:cubicBezTo>
                  <a:pt x="141176" y="32897"/>
                  <a:pt x="136861" y="37235"/>
                  <a:pt x="131107" y="37235"/>
                </a:cubicBezTo>
                <a:lnTo>
                  <a:pt x="118160" y="37235"/>
                </a:lnTo>
                <a:lnTo>
                  <a:pt x="118160" y="54949"/>
                </a:lnTo>
                <a:lnTo>
                  <a:pt x="142615" y="54949"/>
                </a:lnTo>
                <a:cubicBezTo>
                  <a:pt x="145132" y="54949"/>
                  <a:pt x="146930" y="56757"/>
                  <a:pt x="146930" y="58926"/>
                </a:cubicBezTo>
                <a:lnTo>
                  <a:pt x="146930" y="69410"/>
                </a:lnTo>
                <a:lnTo>
                  <a:pt x="269567" y="69410"/>
                </a:lnTo>
                <a:cubicBezTo>
                  <a:pt x="278198" y="69410"/>
                  <a:pt x="285391" y="76640"/>
                  <a:pt x="285391" y="85316"/>
                </a:cubicBezTo>
                <a:lnTo>
                  <a:pt x="285391" y="96884"/>
                </a:lnTo>
                <a:cubicBezTo>
                  <a:pt x="285391" y="105560"/>
                  <a:pt x="278198" y="112791"/>
                  <a:pt x="269567" y="112791"/>
                </a:cubicBezTo>
                <a:lnTo>
                  <a:pt x="146930" y="112791"/>
                </a:lnTo>
                <a:lnTo>
                  <a:pt x="146930" y="122913"/>
                </a:lnTo>
                <a:cubicBezTo>
                  <a:pt x="146930" y="125443"/>
                  <a:pt x="145132" y="127251"/>
                  <a:pt x="142615" y="127251"/>
                </a:cubicBezTo>
                <a:lnTo>
                  <a:pt x="118160" y="127251"/>
                </a:lnTo>
                <a:lnTo>
                  <a:pt x="118160" y="144603"/>
                </a:lnTo>
                <a:lnTo>
                  <a:pt x="131107" y="144603"/>
                </a:lnTo>
                <a:cubicBezTo>
                  <a:pt x="136861" y="144603"/>
                  <a:pt x="141176" y="149303"/>
                  <a:pt x="141176" y="154726"/>
                </a:cubicBezTo>
                <a:lnTo>
                  <a:pt x="141176" y="172078"/>
                </a:lnTo>
                <a:cubicBezTo>
                  <a:pt x="141176" y="177862"/>
                  <a:pt x="136861" y="182200"/>
                  <a:pt x="131107" y="182200"/>
                </a:cubicBezTo>
                <a:lnTo>
                  <a:pt x="27532" y="182200"/>
                </a:lnTo>
                <a:cubicBezTo>
                  <a:pt x="21777" y="182200"/>
                  <a:pt x="17462" y="177862"/>
                  <a:pt x="17462" y="172078"/>
                </a:cubicBezTo>
                <a:lnTo>
                  <a:pt x="17462" y="154726"/>
                </a:lnTo>
                <a:cubicBezTo>
                  <a:pt x="17462" y="149303"/>
                  <a:pt x="21777" y="144603"/>
                  <a:pt x="27532" y="144603"/>
                </a:cubicBezTo>
                <a:lnTo>
                  <a:pt x="40478" y="144603"/>
                </a:lnTo>
                <a:lnTo>
                  <a:pt x="40478" y="37235"/>
                </a:lnTo>
                <a:lnTo>
                  <a:pt x="27532" y="37235"/>
                </a:lnTo>
                <a:cubicBezTo>
                  <a:pt x="21777" y="37235"/>
                  <a:pt x="17462" y="32897"/>
                  <a:pt x="17462" y="27113"/>
                </a:cubicBezTo>
                <a:lnTo>
                  <a:pt x="17462" y="10122"/>
                </a:lnTo>
                <a:cubicBezTo>
                  <a:pt x="17462" y="4338"/>
                  <a:pt x="21777" y="0"/>
                  <a:pt x="27532" y="0"/>
                </a:cubicBezTo>
                <a:close/>
              </a:path>
            </a:pathLst>
          </a:custGeom>
          <a:solidFill>
            <a:schemeClr val="bg1"/>
          </a:solidFill>
          <a:ln>
            <a:noFill/>
          </a:ln>
          <a:effectLst/>
        </p:spPr>
        <p:txBody>
          <a:bodyPr anchor="ctr"/>
          <a:lstStyle/>
          <a:p>
            <a:endParaRPr lang="en-US" sz="900">
              <a:latin typeface="+mj-lt"/>
            </a:endParaRPr>
          </a:p>
        </p:txBody>
      </p:sp>
      <p:sp>
        <p:nvSpPr>
          <p:cNvPr id="50" name="Freeform 972">
            <a:extLst>
              <a:ext uri="{FF2B5EF4-FFF2-40B4-BE49-F238E27FC236}">
                <a16:creationId xmlns:a16="http://schemas.microsoft.com/office/drawing/2014/main" id="{390FFC50-95DE-7325-923E-1AFE3F42D370}"/>
              </a:ext>
            </a:extLst>
          </p:cNvPr>
          <p:cNvSpPr>
            <a:spLocks noChangeAspect="1" noChangeArrowheads="1"/>
          </p:cNvSpPr>
          <p:nvPr userDrawn="1"/>
        </p:nvSpPr>
        <p:spPr bwMode="auto">
          <a:xfrm>
            <a:off x="10292681" y="3729505"/>
            <a:ext cx="249601" cy="284356"/>
          </a:xfrm>
          <a:custGeom>
            <a:avLst/>
            <a:gdLst>
              <a:gd name="T0" fmla="*/ 172052 w 250466"/>
              <a:gd name="T1" fmla="*/ 125855 h 285390"/>
              <a:gd name="T2" fmla="*/ 162855 w 250466"/>
              <a:gd name="T3" fmla="*/ 125855 h 285390"/>
              <a:gd name="T4" fmla="*/ 86027 w 250466"/>
              <a:gd name="T5" fmla="*/ 121260 h 285390"/>
              <a:gd name="T6" fmla="*/ 86027 w 250466"/>
              <a:gd name="T7" fmla="*/ 130450 h 285390"/>
              <a:gd name="T8" fmla="*/ 86027 w 250466"/>
              <a:gd name="T9" fmla="*/ 121260 h 285390"/>
              <a:gd name="T10" fmla="*/ 173787 w 250466"/>
              <a:gd name="T11" fmla="*/ 78407 h 285390"/>
              <a:gd name="T12" fmla="*/ 173787 w 250466"/>
              <a:gd name="T13" fmla="*/ 175282 h 285390"/>
              <a:gd name="T14" fmla="*/ 167523 w 250466"/>
              <a:gd name="T15" fmla="*/ 175282 h 285390"/>
              <a:gd name="T16" fmla="*/ 185577 w 250466"/>
              <a:gd name="T17" fmla="*/ 126844 h 285390"/>
              <a:gd name="T18" fmla="*/ 167523 w 250466"/>
              <a:gd name="T19" fmla="*/ 78407 h 285390"/>
              <a:gd name="T20" fmla="*/ 84022 w 250466"/>
              <a:gd name="T21" fmla="*/ 78407 h 285390"/>
              <a:gd name="T22" fmla="*/ 84022 w 250466"/>
              <a:gd name="T23" fmla="*/ 169090 h 285390"/>
              <a:gd name="T24" fmla="*/ 81096 w 250466"/>
              <a:gd name="T25" fmla="*/ 176739 h 285390"/>
              <a:gd name="T26" fmla="*/ 78168 w 250466"/>
              <a:gd name="T27" fmla="*/ 78407 h 285390"/>
              <a:gd name="T28" fmla="*/ 129338 w 250466"/>
              <a:gd name="T29" fmla="*/ 79351 h 285390"/>
              <a:gd name="T30" fmla="*/ 147899 w 250466"/>
              <a:gd name="T31" fmla="*/ 99337 h 285390"/>
              <a:gd name="T32" fmla="*/ 139892 w 250466"/>
              <a:gd name="T33" fmla="*/ 102607 h 285390"/>
              <a:gd name="T34" fmla="*/ 109321 w 250466"/>
              <a:gd name="T35" fmla="*/ 107695 h 285390"/>
              <a:gd name="T36" fmla="*/ 149718 w 250466"/>
              <a:gd name="T37" fmla="*/ 144034 h 285390"/>
              <a:gd name="T38" fmla="*/ 129338 w 250466"/>
              <a:gd name="T39" fmla="*/ 172379 h 285390"/>
              <a:gd name="T40" fmla="*/ 120968 w 250466"/>
              <a:gd name="T41" fmla="*/ 172379 h 285390"/>
              <a:gd name="T42" fmla="*/ 102407 w 250466"/>
              <a:gd name="T43" fmla="*/ 152393 h 285390"/>
              <a:gd name="T44" fmla="*/ 110414 w 250466"/>
              <a:gd name="T45" fmla="*/ 148758 h 285390"/>
              <a:gd name="T46" fmla="*/ 140983 w 250466"/>
              <a:gd name="T47" fmla="*/ 144034 h 285390"/>
              <a:gd name="T48" fmla="*/ 100588 w 250466"/>
              <a:gd name="T49" fmla="*/ 107695 h 285390"/>
              <a:gd name="T50" fmla="*/ 120968 w 250466"/>
              <a:gd name="T51" fmla="*/ 79351 h 285390"/>
              <a:gd name="T52" fmla="*/ 124972 w 250466"/>
              <a:gd name="T53" fmla="*/ 43460 h 285390"/>
              <a:gd name="T54" fmla="*/ 124972 w 250466"/>
              <a:gd name="T55" fmla="*/ 209503 h 285390"/>
              <a:gd name="T56" fmla="*/ 124972 w 250466"/>
              <a:gd name="T57" fmla="*/ 43460 h 285390"/>
              <a:gd name="T58" fmla="*/ 216777 w 250466"/>
              <a:gd name="T59" fmla="*/ 126662 h 285390"/>
              <a:gd name="T60" fmla="*/ 33530 w 250466"/>
              <a:gd name="T61" fmla="*/ 126662 h 285390"/>
              <a:gd name="T62" fmla="*/ 125771 w 250466"/>
              <a:gd name="T63" fmla="*/ 8692 h 285390"/>
              <a:gd name="T64" fmla="*/ 125771 w 250466"/>
              <a:gd name="T65" fmla="*/ 243735 h 285390"/>
              <a:gd name="T66" fmla="*/ 192634 w 250466"/>
              <a:gd name="T67" fmla="*/ 223454 h 285390"/>
              <a:gd name="T68" fmla="*/ 243232 w 250466"/>
              <a:gd name="T69" fmla="*/ 271984 h 285390"/>
              <a:gd name="T70" fmla="*/ 125771 w 250466"/>
              <a:gd name="T71" fmla="*/ 8692 h 285390"/>
              <a:gd name="T72" fmla="*/ 251906 w 250466"/>
              <a:gd name="T73" fmla="*/ 126033 h 285390"/>
              <a:gd name="T74" fmla="*/ 249013 w 250466"/>
              <a:gd name="T75" fmla="*/ 286832 h 285390"/>
              <a:gd name="T76" fmla="*/ 244316 w 250466"/>
              <a:gd name="T77" fmla="*/ 285747 h 285390"/>
              <a:gd name="T78" fmla="*/ 125771 w 250466"/>
              <a:gd name="T79" fmla="*/ 252427 h 285390"/>
              <a:gd name="T80" fmla="*/ 125771 w 250466"/>
              <a:gd name="T81" fmla="*/ 0 h 28539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50466" h="285390">
                <a:moveTo>
                  <a:pt x="166116" y="120650"/>
                </a:moveTo>
                <a:cubicBezTo>
                  <a:pt x="168783" y="120650"/>
                  <a:pt x="171069" y="122555"/>
                  <a:pt x="171069" y="125222"/>
                </a:cubicBezTo>
                <a:cubicBezTo>
                  <a:pt x="171069" y="127889"/>
                  <a:pt x="168783" y="129794"/>
                  <a:pt x="166116" y="129794"/>
                </a:cubicBezTo>
                <a:cubicBezTo>
                  <a:pt x="163830" y="129794"/>
                  <a:pt x="161925" y="127889"/>
                  <a:pt x="161925" y="125222"/>
                </a:cubicBezTo>
                <a:cubicBezTo>
                  <a:pt x="161925" y="122555"/>
                  <a:pt x="163830" y="120650"/>
                  <a:pt x="166116" y="120650"/>
                </a:cubicBezTo>
                <a:close/>
                <a:moveTo>
                  <a:pt x="85535" y="120650"/>
                </a:moveTo>
                <a:cubicBezTo>
                  <a:pt x="87821" y="120650"/>
                  <a:pt x="90107" y="122555"/>
                  <a:pt x="90107" y="125222"/>
                </a:cubicBezTo>
                <a:cubicBezTo>
                  <a:pt x="90107" y="127889"/>
                  <a:pt x="87821" y="129794"/>
                  <a:pt x="85535" y="129794"/>
                </a:cubicBezTo>
                <a:cubicBezTo>
                  <a:pt x="82868" y="129794"/>
                  <a:pt x="80963" y="127889"/>
                  <a:pt x="80963" y="125222"/>
                </a:cubicBezTo>
                <a:cubicBezTo>
                  <a:pt x="80963" y="122555"/>
                  <a:pt x="82868" y="120650"/>
                  <a:pt x="85535" y="120650"/>
                </a:cubicBezTo>
                <a:close/>
                <a:moveTo>
                  <a:pt x="166566" y="78012"/>
                </a:moveTo>
                <a:cubicBezTo>
                  <a:pt x="168397" y="76200"/>
                  <a:pt x="171328" y="76200"/>
                  <a:pt x="172794" y="78012"/>
                </a:cubicBezTo>
                <a:cubicBezTo>
                  <a:pt x="185982" y="90694"/>
                  <a:pt x="193309" y="108088"/>
                  <a:pt x="193309" y="126206"/>
                </a:cubicBezTo>
                <a:cubicBezTo>
                  <a:pt x="193309" y="144324"/>
                  <a:pt x="185982" y="161355"/>
                  <a:pt x="172794" y="174400"/>
                </a:cubicBezTo>
                <a:cubicBezTo>
                  <a:pt x="172061" y="175487"/>
                  <a:pt x="170962" y="175850"/>
                  <a:pt x="169863" y="175850"/>
                </a:cubicBezTo>
                <a:cubicBezTo>
                  <a:pt x="168764" y="175850"/>
                  <a:pt x="167665" y="175487"/>
                  <a:pt x="166566" y="174400"/>
                </a:cubicBezTo>
                <a:cubicBezTo>
                  <a:pt x="165100" y="172589"/>
                  <a:pt x="165100" y="170052"/>
                  <a:pt x="166566" y="168240"/>
                </a:cubicBezTo>
                <a:cubicBezTo>
                  <a:pt x="178289" y="157007"/>
                  <a:pt x="184517" y="142150"/>
                  <a:pt x="184517" y="126206"/>
                </a:cubicBezTo>
                <a:cubicBezTo>
                  <a:pt x="184517" y="110262"/>
                  <a:pt x="178289" y="95405"/>
                  <a:pt x="166566" y="84172"/>
                </a:cubicBezTo>
                <a:cubicBezTo>
                  <a:pt x="165100" y="82360"/>
                  <a:pt x="165100" y="79823"/>
                  <a:pt x="166566" y="78012"/>
                </a:cubicBezTo>
                <a:close/>
                <a:moveTo>
                  <a:pt x="77721" y="78012"/>
                </a:moveTo>
                <a:cubicBezTo>
                  <a:pt x="79176" y="76200"/>
                  <a:pt x="82087" y="76200"/>
                  <a:pt x="83542" y="78012"/>
                </a:cubicBezTo>
                <a:cubicBezTo>
                  <a:pt x="85361" y="79823"/>
                  <a:pt x="85361" y="82360"/>
                  <a:pt x="83542" y="84172"/>
                </a:cubicBezTo>
                <a:cubicBezTo>
                  <a:pt x="60259" y="107363"/>
                  <a:pt x="60259" y="145049"/>
                  <a:pt x="83542" y="168240"/>
                </a:cubicBezTo>
                <a:cubicBezTo>
                  <a:pt x="85361" y="170052"/>
                  <a:pt x="85361" y="172589"/>
                  <a:pt x="83542" y="174400"/>
                </a:cubicBezTo>
                <a:cubicBezTo>
                  <a:pt x="82814" y="175487"/>
                  <a:pt x="81723" y="175850"/>
                  <a:pt x="80632" y="175850"/>
                </a:cubicBezTo>
                <a:cubicBezTo>
                  <a:pt x="79540" y="175850"/>
                  <a:pt x="78449" y="175487"/>
                  <a:pt x="77721" y="174400"/>
                </a:cubicBezTo>
                <a:cubicBezTo>
                  <a:pt x="50800" y="147948"/>
                  <a:pt x="50800" y="104826"/>
                  <a:pt x="77721" y="78012"/>
                </a:cubicBezTo>
                <a:close/>
                <a:moveTo>
                  <a:pt x="124257" y="74612"/>
                </a:moveTo>
                <a:cubicBezTo>
                  <a:pt x="126790" y="74612"/>
                  <a:pt x="128599" y="76420"/>
                  <a:pt x="128599" y="78951"/>
                </a:cubicBezTo>
                <a:lnTo>
                  <a:pt x="128599" y="84736"/>
                </a:lnTo>
                <a:cubicBezTo>
                  <a:pt x="136922" y="86182"/>
                  <a:pt x="143797" y="91244"/>
                  <a:pt x="147054" y="98837"/>
                </a:cubicBezTo>
                <a:cubicBezTo>
                  <a:pt x="147777" y="101368"/>
                  <a:pt x="147054" y="103899"/>
                  <a:pt x="144521" y="104622"/>
                </a:cubicBezTo>
                <a:cubicBezTo>
                  <a:pt x="142711" y="105345"/>
                  <a:pt x="140178" y="104260"/>
                  <a:pt x="139093" y="102091"/>
                </a:cubicBezTo>
                <a:cubicBezTo>
                  <a:pt x="136922" y="97029"/>
                  <a:pt x="130770" y="93413"/>
                  <a:pt x="124257" y="93413"/>
                </a:cubicBezTo>
                <a:cubicBezTo>
                  <a:pt x="115572" y="93413"/>
                  <a:pt x="108697" y="99560"/>
                  <a:pt x="108697" y="107153"/>
                </a:cubicBezTo>
                <a:cubicBezTo>
                  <a:pt x="108697" y="113299"/>
                  <a:pt x="111230" y="120893"/>
                  <a:pt x="124257" y="120893"/>
                </a:cubicBezTo>
                <a:cubicBezTo>
                  <a:pt x="142350" y="120893"/>
                  <a:pt x="148863" y="132463"/>
                  <a:pt x="148863" y="143310"/>
                </a:cubicBezTo>
                <a:cubicBezTo>
                  <a:pt x="148863" y="154518"/>
                  <a:pt x="140178" y="163557"/>
                  <a:pt x="128599" y="165365"/>
                </a:cubicBezTo>
                <a:lnTo>
                  <a:pt x="128599" y="171512"/>
                </a:lnTo>
                <a:cubicBezTo>
                  <a:pt x="128599" y="174043"/>
                  <a:pt x="126790" y="175851"/>
                  <a:pt x="124257" y="175851"/>
                </a:cubicBezTo>
                <a:cubicBezTo>
                  <a:pt x="122086" y="175851"/>
                  <a:pt x="120277" y="174043"/>
                  <a:pt x="120277" y="171512"/>
                </a:cubicBezTo>
                <a:lnTo>
                  <a:pt x="120277" y="165365"/>
                </a:lnTo>
                <a:cubicBezTo>
                  <a:pt x="111592" y="163919"/>
                  <a:pt x="104717" y="158857"/>
                  <a:pt x="101822" y="151626"/>
                </a:cubicBezTo>
                <a:cubicBezTo>
                  <a:pt x="100736" y="149456"/>
                  <a:pt x="101822" y="146925"/>
                  <a:pt x="103993" y="145841"/>
                </a:cubicBezTo>
                <a:cubicBezTo>
                  <a:pt x="106164" y="145117"/>
                  <a:pt x="108697" y="145841"/>
                  <a:pt x="109783" y="148010"/>
                </a:cubicBezTo>
                <a:cubicBezTo>
                  <a:pt x="111954" y="153433"/>
                  <a:pt x="117744" y="157049"/>
                  <a:pt x="124257" y="157049"/>
                </a:cubicBezTo>
                <a:cubicBezTo>
                  <a:pt x="132941" y="157049"/>
                  <a:pt x="140178" y="150903"/>
                  <a:pt x="140178" y="143310"/>
                </a:cubicBezTo>
                <a:cubicBezTo>
                  <a:pt x="140178" y="137163"/>
                  <a:pt x="137284" y="129570"/>
                  <a:pt x="124257" y="129570"/>
                </a:cubicBezTo>
                <a:cubicBezTo>
                  <a:pt x="106526" y="129570"/>
                  <a:pt x="100013" y="118000"/>
                  <a:pt x="100013" y="107153"/>
                </a:cubicBezTo>
                <a:cubicBezTo>
                  <a:pt x="100013" y="95944"/>
                  <a:pt x="108697" y="86905"/>
                  <a:pt x="120277" y="85097"/>
                </a:cubicBezTo>
                <a:lnTo>
                  <a:pt x="120277" y="78951"/>
                </a:lnTo>
                <a:cubicBezTo>
                  <a:pt x="120277" y="76420"/>
                  <a:pt x="122086" y="74612"/>
                  <a:pt x="124257" y="74612"/>
                </a:cubicBezTo>
                <a:close/>
                <a:moveTo>
                  <a:pt x="124258" y="43240"/>
                </a:moveTo>
                <a:cubicBezTo>
                  <a:pt x="78798" y="43240"/>
                  <a:pt x="41997" y="80475"/>
                  <a:pt x="41997" y="126025"/>
                </a:cubicBezTo>
                <a:cubicBezTo>
                  <a:pt x="41997" y="171576"/>
                  <a:pt x="78798" y="208449"/>
                  <a:pt x="124258" y="208449"/>
                </a:cubicBezTo>
                <a:cubicBezTo>
                  <a:pt x="169719" y="208449"/>
                  <a:pt x="206880" y="171576"/>
                  <a:pt x="206880" y="126025"/>
                </a:cubicBezTo>
                <a:cubicBezTo>
                  <a:pt x="206880" y="80475"/>
                  <a:pt x="169719" y="43240"/>
                  <a:pt x="124258" y="43240"/>
                </a:cubicBezTo>
                <a:close/>
                <a:moveTo>
                  <a:pt x="124258" y="34925"/>
                </a:moveTo>
                <a:cubicBezTo>
                  <a:pt x="174409" y="34925"/>
                  <a:pt x="215539" y="75775"/>
                  <a:pt x="215539" y="126025"/>
                </a:cubicBezTo>
                <a:cubicBezTo>
                  <a:pt x="215539" y="176275"/>
                  <a:pt x="174409" y="217126"/>
                  <a:pt x="124258" y="217126"/>
                </a:cubicBezTo>
                <a:cubicBezTo>
                  <a:pt x="74108" y="217126"/>
                  <a:pt x="33338" y="176275"/>
                  <a:pt x="33338" y="126025"/>
                </a:cubicBezTo>
                <a:cubicBezTo>
                  <a:pt x="33338" y="75775"/>
                  <a:pt x="74108" y="34925"/>
                  <a:pt x="124258" y="34925"/>
                </a:cubicBezTo>
                <a:close/>
                <a:moveTo>
                  <a:pt x="125053" y="8648"/>
                </a:moveTo>
                <a:cubicBezTo>
                  <a:pt x="61089" y="8648"/>
                  <a:pt x="8624" y="60897"/>
                  <a:pt x="8624" y="125399"/>
                </a:cubicBezTo>
                <a:cubicBezTo>
                  <a:pt x="8624" y="189900"/>
                  <a:pt x="61089" y="242509"/>
                  <a:pt x="125053" y="242509"/>
                </a:cubicBezTo>
                <a:cubicBezTo>
                  <a:pt x="148051" y="242509"/>
                  <a:pt x="169972" y="235663"/>
                  <a:pt x="189377" y="223051"/>
                </a:cubicBezTo>
                <a:cubicBezTo>
                  <a:pt x="190095" y="222330"/>
                  <a:pt x="190814" y="222330"/>
                  <a:pt x="191533" y="222330"/>
                </a:cubicBezTo>
                <a:cubicBezTo>
                  <a:pt x="192611" y="222330"/>
                  <a:pt x="194048" y="222691"/>
                  <a:pt x="194767" y="223411"/>
                </a:cubicBezTo>
                <a:lnTo>
                  <a:pt x="241842" y="270616"/>
                </a:lnTo>
                <a:lnTo>
                  <a:pt x="241842" y="125399"/>
                </a:lnTo>
                <a:cubicBezTo>
                  <a:pt x="241842" y="60897"/>
                  <a:pt x="189377" y="8648"/>
                  <a:pt x="125053" y="8648"/>
                </a:cubicBezTo>
                <a:close/>
                <a:moveTo>
                  <a:pt x="125053" y="0"/>
                </a:moveTo>
                <a:cubicBezTo>
                  <a:pt x="194048" y="0"/>
                  <a:pt x="250466" y="56213"/>
                  <a:pt x="250466" y="125399"/>
                </a:cubicBezTo>
                <a:lnTo>
                  <a:pt x="250466" y="281426"/>
                </a:lnTo>
                <a:cubicBezTo>
                  <a:pt x="250466" y="282867"/>
                  <a:pt x="249388" y="284669"/>
                  <a:pt x="247591" y="285390"/>
                </a:cubicBezTo>
                <a:cubicBezTo>
                  <a:pt x="247232" y="285390"/>
                  <a:pt x="246513" y="285390"/>
                  <a:pt x="246154" y="285390"/>
                </a:cubicBezTo>
                <a:cubicBezTo>
                  <a:pt x="245076" y="285390"/>
                  <a:pt x="243998" y="285029"/>
                  <a:pt x="242920" y="284309"/>
                </a:cubicBezTo>
                <a:lnTo>
                  <a:pt x="190814" y="232420"/>
                </a:lnTo>
                <a:cubicBezTo>
                  <a:pt x="171050" y="244311"/>
                  <a:pt x="148411" y="251157"/>
                  <a:pt x="125053" y="251157"/>
                </a:cubicBezTo>
                <a:cubicBezTo>
                  <a:pt x="56058" y="251157"/>
                  <a:pt x="0" y="194584"/>
                  <a:pt x="0" y="125399"/>
                </a:cubicBezTo>
                <a:cubicBezTo>
                  <a:pt x="0" y="56213"/>
                  <a:pt x="56058" y="0"/>
                  <a:pt x="125053" y="0"/>
                </a:cubicBezTo>
                <a:close/>
              </a:path>
            </a:pathLst>
          </a:custGeom>
          <a:solidFill>
            <a:schemeClr val="bg1"/>
          </a:solidFill>
          <a:ln>
            <a:noFill/>
          </a:ln>
          <a:effectLst/>
        </p:spPr>
        <p:txBody>
          <a:bodyPr anchor="ctr"/>
          <a:lstStyle/>
          <a:p>
            <a:endParaRPr lang="en-US" sz="900">
              <a:latin typeface="+mj-lt"/>
            </a:endParaRPr>
          </a:p>
        </p:txBody>
      </p:sp>
      <p:sp>
        <p:nvSpPr>
          <p:cNvPr id="51" name="Freeform 971">
            <a:extLst>
              <a:ext uri="{FF2B5EF4-FFF2-40B4-BE49-F238E27FC236}">
                <a16:creationId xmlns:a16="http://schemas.microsoft.com/office/drawing/2014/main" id="{51BC66DC-E808-EC1C-2210-CAA9E29B14DA}"/>
              </a:ext>
            </a:extLst>
          </p:cNvPr>
          <p:cNvSpPr>
            <a:spLocks noChangeAspect="1" noChangeArrowheads="1"/>
          </p:cNvSpPr>
          <p:nvPr userDrawn="1"/>
        </p:nvSpPr>
        <p:spPr bwMode="auto">
          <a:xfrm>
            <a:off x="9686890" y="4495966"/>
            <a:ext cx="285935" cy="284356"/>
          </a:xfrm>
          <a:custGeom>
            <a:avLst/>
            <a:gdLst>
              <a:gd name="T0" fmla="*/ 8865 w 286434"/>
              <a:gd name="T1" fmla="*/ 278675 h 285210"/>
              <a:gd name="T2" fmla="*/ 281199 w 286434"/>
              <a:gd name="T3" fmla="*/ 252927 h 285210"/>
              <a:gd name="T4" fmla="*/ 184794 w 286434"/>
              <a:gd name="T5" fmla="*/ 162973 h 285210"/>
              <a:gd name="T6" fmla="*/ 184794 w 286434"/>
              <a:gd name="T7" fmla="*/ 172187 h 285210"/>
              <a:gd name="T8" fmla="*/ 184794 w 286434"/>
              <a:gd name="T9" fmla="*/ 162973 h 285210"/>
              <a:gd name="T10" fmla="*/ 108671 w 286434"/>
              <a:gd name="T11" fmla="*/ 167580 h 285210"/>
              <a:gd name="T12" fmla="*/ 99396 w 286434"/>
              <a:gd name="T13" fmla="*/ 167580 h 285210"/>
              <a:gd name="T14" fmla="*/ 144045 w 286434"/>
              <a:gd name="T15" fmla="*/ 110187 h 285210"/>
              <a:gd name="T16" fmla="*/ 148417 w 286434"/>
              <a:gd name="T17" fmla="*/ 121798 h 285210"/>
              <a:gd name="T18" fmla="*/ 167003 w 286434"/>
              <a:gd name="T19" fmla="*/ 142842 h 285210"/>
              <a:gd name="T20" fmla="*/ 144045 w 286434"/>
              <a:gd name="T21" fmla="*/ 130144 h 285210"/>
              <a:gd name="T22" fmla="*/ 144045 w 286434"/>
              <a:gd name="T23" fmla="*/ 162436 h 285210"/>
              <a:gd name="T24" fmla="*/ 148417 w 286434"/>
              <a:gd name="T25" fmla="*/ 211783 h 285210"/>
              <a:gd name="T26" fmla="*/ 144045 w 286434"/>
              <a:gd name="T27" fmla="*/ 223394 h 285210"/>
              <a:gd name="T28" fmla="*/ 140037 w 286434"/>
              <a:gd name="T29" fmla="*/ 212146 h 285210"/>
              <a:gd name="T30" fmla="*/ 121089 w 286434"/>
              <a:gd name="T31" fmla="*/ 190738 h 285210"/>
              <a:gd name="T32" fmla="*/ 144045 w 286434"/>
              <a:gd name="T33" fmla="*/ 203437 h 285210"/>
              <a:gd name="T34" fmla="*/ 144045 w 286434"/>
              <a:gd name="T35" fmla="*/ 171145 h 285210"/>
              <a:gd name="T36" fmla="*/ 140037 w 286434"/>
              <a:gd name="T37" fmla="*/ 121798 h 285210"/>
              <a:gd name="T38" fmla="*/ 144045 w 286434"/>
              <a:gd name="T39" fmla="*/ 110187 h 285210"/>
              <a:gd name="T40" fmla="*/ 212842 w 286434"/>
              <a:gd name="T41" fmla="*/ 109693 h 285210"/>
              <a:gd name="T42" fmla="*/ 213937 w 286434"/>
              <a:gd name="T43" fmla="*/ 222105 h 285210"/>
              <a:gd name="T44" fmla="*/ 200048 w 286434"/>
              <a:gd name="T45" fmla="*/ 244226 h 285210"/>
              <a:gd name="T46" fmla="*/ 240988 w 286434"/>
              <a:gd name="T47" fmla="*/ 224644 h 285210"/>
              <a:gd name="T48" fmla="*/ 239893 w 286434"/>
              <a:gd name="T49" fmla="*/ 111868 h 285210"/>
              <a:gd name="T50" fmla="*/ 254149 w 286434"/>
              <a:gd name="T51" fmla="*/ 90111 h 285210"/>
              <a:gd name="T52" fmla="*/ 100616 w 286434"/>
              <a:gd name="T53" fmla="*/ 90111 h 285210"/>
              <a:gd name="T54" fmla="*/ 84898 w 286434"/>
              <a:gd name="T55" fmla="*/ 221017 h 285210"/>
              <a:gd name="T56" fmla="*/ 189446 w 286434"/>
              <a:gd name="T57" fmla="*/ 244226 h 285210"/>
              <a:gd name="T58" fmla="*/ 205166 w 286434"/>
              <a:gd name="T59" fmla="*/ 113318 h 285210"/>
              <a:gd name="T60" fmla="*/ 100616 w 286434"/>
              <a:gd name="T61" fmla="*/ 90111 h 285210"/>
              <a:gd name="T62" fmla="*/ 49075 w 286434"/>
              <a:gd name="T63" fmla="*/ 109693 h 285210"/>
              <a:gd name="T64" fmla="*/ 49806 w 286434"/>
              <a:gd name="T65" fmla="*/ 222105 h 285210"/>
              <a:gd name="T66" fmla="*/ 35915 w 286434"/>
              <a:gd name="T67" fmla="*/ 244226 h 285210"/>
              <a:gd name="T68" fmla="*/ 76857 w 286434"/>
              <a:gd name="T69" fmla="*/ 224644 h 285210"/>
              <a:gd name="T70" fmla="*/ 76125 w 286434"/>
              <a:gd name="T71" fmla="*/ 111868 h 285210"/>
              <a:gd name="T72" fmla="*/ 90016 w 286434"/>
              <a:gd name="T73" fmla="*/ 90111 h 285210"/>
              <a:gd name="T74" fmla="*/ 144048 w 286434"/>
              <a:gd name="T75" fmla="*/ 39716 h 285210"/>
              <a:gd name="T76" fmla="*/ 177712 w 286434"/>
              <a:gd name="T77" fmla="*/ 59458 h 285210"/>
              <a:gd name="T78" fmla="*/ 141877 w 286434"/>
              <a:gd name="T79" fmla="*/ 30576 h 285210"/>
              <a:gd name="T80" fmla="*/ 196176 w 286434"/>
              <a:gd name="T81" fmla="*/ 60190 h 285210"/>
              <a:gd name="T82" fmla="*/ 194003 w 286434"/>
              <a:gd name="T83" fmla="*/ 68233 h 285210"/>
              <a:gd name="T84" fmla="*/ 90476 w 286434"/>
              <a:gd name="T85" fmla="*/ 65308 h 285210"/>
              <a:gd name="T86" fmla="*/ 141877 w 286434"/>
              <a:gd name="T87" fmla="*/ 30576 h 285210"/>
              <a:gd name="T88" fmla="*/ 20561 w 286434"/>
              <a:gd name="T89" fmla="*/ 81408 h 285210"/>
              <a:gd name="T90" fmla="*/ 144848 w 286434"/>
              <a:gd name="T91" fmla="*/ 9245 h 285210"/>
              <a:gd name="T92" fmla="*/ 147042 w 286434"/>
              <a:gd name="T93" fmla="*/ 544 h 285210"/>
              <a:gd name="T94" fmla="*/ 289972 w 286434"/>
              <a:gd name="T95" fmla="*/ 86848 h 285210"/>
              <a:gd name="T96" fmla="*/ 264384 w 286434"/>
              <a:gd name="T97" fmla="*/ 90111 h 285210"/>
              <a:gd name="T98" fmla="*/ 249031 w 286434"/>
              <a:gd name="T99" fmla="*/ 221017 h 285210"/>
              <a:gd name="T100" fmla="*/ 285586 w 286434"/>
              <a:gd name="T101" fmla="*/ 244226 h 285210"/>
              <a:gd name="T102" fmla="*/ 289972 w 286434"/>
              <a:gd name="T103" fmla="*/ 283390 h 285210"/>
              <a:gd name="T104" fmla="*/ 4477 w 286434"/>
              <a:gd name="T105" fmla="*/ 287376 h 285210"/>
              <a:gd name="T106" fmla="*/ 90 w 286434"/>
              <a:gd name="T107" fmla="*/ 248212 h 285210"/>
              <a:gd name="T108" fmla="*/ 25679 w 286434"/>
              <a:gd name="T109" fmla="*/ 244226 h 285210"/>
              <a:gd name="T110" fmla="*/ 41033 w 286434"/>
              <a:gd name="T111" fmla="*/ 113318 h 285210"/>
              <a:gd name="T112" fmla="*/ 4477 w 286434"/>
              <a:gd name="T113" fmla="*/ 90111 h 285210"/>
              <a:gd name="T114" fmla="*/ 2284 w 286434"/>
              <a:gd name="T115" fmla="*/ 82133 h 2852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6434" h="285210">
                <a:moveTo>
                  <a:pt x="8753" y="251021"/>
                </a:moveTo>
                <a:lnTo>
                  <a:pt x="8753" y="276573"/>
                </a:lnTo>
                <a:lnTo>
                  <a:pt x="277681" y="276573"/>
                </a:lnTo>
                <a:lnTo>
                  <a:pt x="277681" y="251021"/>
                </a:lnTo>
                <a:lnTo>
                  <a:pt x="8753" y="251021"/>
                </a:lnTo>
                <a:close/>
                <a:moveTo>
                  <a:pt x="182482" y="161745"/>
                </a:moveTo>
                <a:cubicBezTo>
                  <a:pt x="184768" y="161745"/>
                  <a:pt x="186673" y="164031"/>
                  <a:pt x="186673" y="166317"/>
                </a:cubicBezTo>
                <a:cubicBezTo>
                  <a:pt x="186673" y="168984"/>
                  <a:pt x="184768" y="170889"/>
                  <a:pt x="182482" y="170889"/>
                </a:cubicBezTo>
                <a:cubicBezTo>
                  <a:pt x="179815" y="170889"/>
                  <a:pt x="177529" y="168984"/>
                  <a:pt x="177529" y="166317"/>
                </a:cubicBezTo>
                <a:cubicBezTo>
                  <a:pt x="177529" y="164031"/>
                  <a:pt x="179815" y="161745"/>
                  <a:pt x="182482" y="161745"/>
                </a:cubicBezTo>
                <a:close/>
                <a:moveTo>
                  <a:pt x="102550" y="161745"/>
                </a:moveTo>
                <a:cubicBezTo>
                  <a:pt x="104748" y="161745"/>
                  <a:pt x="107312" y="164031"/>
                  <a:pt x="107312" y="166317"/>
                </a:cubicBezTo>
                <a:cubicBezTo>
                  <a:pt x="107312" y="168984"/>
                  <a:pt x="104748" y="170889"/>
                  <a:pt x="102550" y="170889"/>
                </a:cubicBezTo>
                <a:cubicBezTo>
                  <a:pt x="100352" y="170889"/>
                  <a:pt x="98154" y="168984"/>
                  <a:pt x="98154" y="166317"/>
                </a:cubicBezTo>
                <a:cubicBezTo>
                  <a:pt x="98154" y="164031"/>
                  <a:pt x="100352" y="161745"/>
                  <a:pt x="102550" y="161745"/>
                </a:cubicBezTo>
                <a:close/>
                <a:moveTo>
                  <a:pt x="142243" y="109357"/>
                </a:moveTo>
                <a:cubicBezTo>
                  <a:pt x="144762" y="109357"/>
                  <a:pt x="146561" y="111157"/>
                  <a:pt x="146561" y="113678"/>
                </a:cubicBezTo>
                <a:lnTo>
                  <a:pt x="146561" y="120880"/>
                </a:lnTo>
                <a:cubicBezTo>
                  <a:pt x="155917" y="122321"/>
                  <a:pt x="163833" y="127722"/>
                  <a:pt x="167432" y="136365"/>
                </a:cubicBezTo>
                <a:cubicBezTo>
                  <a:pt x="168151" y="138525"/>
                  <a:pt x="167072" y="141046"/>
                  <a:pt x="164913" y="141766"/>
                </a:cubicBezTo>
                <a:cubicBezTo>
                  <a:pt x="162754" y="142847"/>
                  <a:pt x="160235" y="141766"/>
                  <a:pt x="159156" y="139606"/>
                </a:cubicBezTo>
                <a:cubicBezTo>
                  <a:pt x="156637" y="133484"/>
                  <a:pt x="149800" y="129163"/>
                  <a:pt x="142243" y="129163"/>
                </a:cubicBezTo>
                <a:cubicBezTo>
                  <a:pt x="132528" y="129163"/>
                  <a:pt x="124252" y="136365"/>
                  <a:pt x="124252" y="145367"/>
                </a:cubicBezTo>
                <a:cubicBezTo>
                  <a:pt x="124252" y="152570"/>
                  <a:pt x="127490" y="161212"/>
                  <a:pt x="142243" y="161212"/>
                </a:cubicBezTo>
                <a:cubicBezTo>
                  <a:pt x="162034" y="161212"/>
                  <a:pt x="169231" y="174176"/>
                  <a:pt x="169231" y="185699"/>
                </a:cubicBezTo>
                <a:cubicBezTo>
                  <a:pt x="169231" y="198303"/>
                  <a:pt x="159515" y="208386"/>
                  <a:pt x="146561" y="210187"/>
                </a:cubicBezTo>
                <a:lnTo>
                  <a:pt x="146561" y="217749"/>
                </a:lnTo>
                <a:cubicBezTo>
                  <a:pt x="146561" y="219909"/>
                  <a:pt x="144762" y="221710"/>
                  <a:pt x="142243" y="221710"/>
                </a:cubicBezTo>
                <a:cubicBezTo>
                  <a:pt x="140084" y="221710"/>
                  <a:pt x="138285" y="219909"/>
                  <a:pt x="138285" y="217749"/>
                </a:cubicBezTo>
                <a:lnTo>
                  <a:pt x="138285" y="210547"/>
                </a:lnTo>
                <a:cubicBezTo>
                  <a:pt x="128930" y="208746"/>
                  <a:pt x="121013" y="203345"/>
                  <a:pt x="117415" y="195062"/>
                </a:cubicBezTo>
                <a:cubicBezTo>
                  <a:pt x="116695" y="192541"/>
                  <a:pt x="117775" y="190021"/>
                  <a:pt x="119574" y="189301"/>
                </a:cubicBezTo>
                <a:cubicBezTo>
                  <a:pt x="122093" y="188580"/>
                  <a:pt x="124612" y="189301"/>
                  <a:pt x="125331" y="191461"/>
                </a:cubicBezTo>
                <a:cubicBezTo>
                  <a:pt x="128210" y="197583"/>
                  <a:pt x="135047" y="201904"/>
                  <a:pt x="142243" y="201904"/>
                </a:cubicBezTo>
                <a:cubicBezTo>
                  <a:pt x="152319" y="201904"/>
                  <a:pt x="160595" y="194702"/>
                  <a:pt x="160595" y="185699"/>
                </a:cubicBezTo>
                <a:cubicBezTo>
                  <a:pt x="160595" y="178497"/>
                  <a:pt x="157356" y="169855"/>
                  <a:pt x="142243" y="169855"/>
                </a:cubicBezTo>
                <a:cubicBezTo>
                  <a:pt x="122812" y="169855"/>
                  <a:pt x="115616" y="156891"/>
                  <a:pt x="115616" y="145367"/>
                </a:cubicBezTo>
                <a:cubicBezTo>
                  <a:pt x="115616" y="133124"/>
                  <a:pt x="125331" y="122681"/>
                  <a:pt x="138285" y="120880"/>
                </a:cubicBezTo>
                <a:lnTo>
                  <a:pt x="138285" y="113678"/>
                </a:lnTo>
                <a:cubicBezTo>
                  <a:pt x="138285" y="111157"/>
                  <a:pt x="140084" y="109357"/>
                  <a:pt x="142243" y="109357"/>
                </a:cubicBezTo>
                <a:close/>
                <a:moveTo>
                  <a:pt x="197544" y="89432"/>
                </a:moveTo>
                <a:lnTo>
                  <a:pt x="210178" y="108866"/>
                </a:lnTo>
                <a:cubicBezTo>
                  <a:pt x="210900" y="109225"/>
                  <a:pt x="211261" y="109945"/>
                  <a:pt x="211261" y="111025"/>
                </a:cubicBezTo>
                <a:lnTo>
                  <a:pt x="211261" y="220431"/>
                </a:lnTo>
                <a:cubicBezTo>
                  <a:pt x="211261" y="221510"/>
                  <a:pt x="210900" y="222230"/>
                  <a:pt x="210178" y="222950"/>
                </a:cubicBezTo>
                <a:lnTo>
                  <a:pt x="197544" y="242384"/>
                </a:lnTo>
                <a:lnTo>
                  <a:pt x="250969" y="242384"/>
                </a:lnTo>
                <a:lnTo>
                  <a:pt x="237973" y="222950"/>
                </a:lnTo>
                <a:cubicBezTo>
                  <a:pt x="237613" y="222230"/>
                  <a:pt x="236891" y="221510"/>
                  <a:pt x="236891" y="220431"/>
                </a:cubicBezTo>
                <a:lnTo>
                  <a:pt x="236891" y="111025"/>
                </a:lnTo>
                <a:cubicBezTo>
                  <a:pt x="236891" y="109945"/>
                  <a:pt x="237613" y="109225"/>
                  <a:pt x="237973" y="108866"/>
                </a:cubicBezTo>
                <a:lnTo>
                  <a:pt x="250969" y="89432"/>
                </a:lnTo>
                <a:lnTo>
                  <a:pt x="197544" y="89432"/>
                </a:lnTo>
                <a:close/>
                <a:moveTo>
                  <a:pt x="99358" y="89432"/>
                </a:moveTo>
                <a:lnTo>
                  <a:pt x="83836" y="112464"/>
                </a:lnTo>
                <a:lnTo>
                  <a:pt x="83836" y="219351"/>
                </a:lnTo>
                <a:lnTo>
                  <a:pt x="99358" y="242384"/>
                </a:lnTo>
                <a:lnTo>
                  <a:pt x="187076" y="242384"/>
                </a:lnTo>
                <a:lnTo>
                  <a:pt x="202598" y="219351"/>
                </a:lnTo>
                <a:lnTo>
                  <a:pt x="202598" y="112464"/>
                </a:lnTo>
                <a:lnTo>
                  <a:pt x="187076" y="89432"/>
                </a:lnTo>
                <a:lnTo>
                  <a:pt x="99358" y="89432"/>
                </a:lnTo>
                <a:close/>
                <a:moveTo>
                  <a:pt x="35465" y="89432"/>
                </a:moveTo>
                <a:lnTo>
                  <a:pt x="48461" y="108866"/>
                </a:lnTo>
                <a:cubicBezTo>
                  <a:pt x="49182" y="109225"/>
                  <a:pt x="49182" y="109945"/>
                  <a:pt x="49182" y="111025"/>
                </a:cubicBezTo>
                <a:lnTo>
                  <a:pt x="49182" y="220431"/>
                </a:lnTo>
                <a:cubicBezTo>
                  <a:pt x="49182" y="221510"/>
                  <a:pt x="49182" y="222230"/>
                  <a:pt x="48461" y="222950"/>
                </a:cubicBezTo>
                <a:lnTo>
                  <a:pt x="35465" y="242384"/>
                </a:lnTo>
                <a:lnTo>
                  <a:pt x="88890" y="242384"/>
                </a:lnTo>
                <a:lnTo>
                  <a:pt x="75895" y="222950"/>
                </a:lnTo>
                <a:cubicBezTo>
                  <a:pt x="75534" y="222230"/>
                  <a:pt x="75173" y="221510"/>
                  <a:pt x="75173" y="220431"/>
                </a:cubicBezTo>
                <a:lnTo>
                  <a:pt x="75173" y="111025"/>
                </a:lnTo>
                <a:cubicBezTo>
                  <a:pt x="75173" y="109945"/>
                  <a:pt x="75534" y="109225"/>
                  <a:pt x="75895" y="108866"/>
                </a:cubicBezTo>
                <a:lnTo>
                  <a:pt x="88890" y="89432"/>
                </a:lnTo>
                <a:lnTo>
                  <a:pt x="35465" y="89432"/>
                </a:lnTo>
                <a:close/>
                <a:moveTo>
                  <a:pt x="142246" y="39416"/>
                </a:moveTo>
                <a:lnTo>
                  <a:pt x="109361" y="59010"/>
                </a:lnTo>
                <a:lnTo>
                  <a:pt x="175489" y="59010"/>
                </a:lnTo>
                <a:lnTo>
                  <a:pt x="142246" y="39416"/>
                </a:lnTo>
                <a:close/>
                <a:moveTo>
                  <a:pt x="140102" y="30345"/>
                </a:moveTo>
                <a:cubicBezTo>
                  <a:pt x="141531" y="29982"/>
                  <a:pt x="143319" y="29982"/>
                  <a:pt x="144391" y="30345"/>
                </a:cubicBezTo>
                <a:lnTo>
                  <a:pt x="193720" y="59736"/>
                </a:lnTo>
                <a:cubicBezTo>
                  <a:pt x="195149" y="60462"/>
                  <a:pt x="196222" y="62639"/>
                  <a:pt x="195507" y="64816"/>
                </a:cubicBezTo>
                <a:cubicBezTo>
                  <a:pt x="195149" y="66630"/>
                  <a:pt x="193362" y="67719"/>
                  <a:pt x="191575" y="67719"/>
                </a:cubicBezTo>
                <a:lnTo>
                  <a:pt x="93276" y="67719"/>
                </a:lnTo>
                <a:cubicBezTo>
                  <a:pt x="91488" y="67719"/>
                  <a:pt x="89701" y="66630"/>
                  <a:pt x="89344" y="64816"/>
                </a:cubicBezTo>
                <a:cubicBezTo>
                  <a:pt x="88629" y="62639"/>
                  <a:pt x="89344" y="60462"/>
                  <a:pt x="91131" y="59736"/>
                </a:cubicBezTo>
                <a:lnTo>
                  <a:pt x="140102" y="30345"/>
                </a:lnTo>
                <a:close/>
                <a:moveTo>
                  <a:pt x="143036" y="9177"/>
                </a:moveTo>
                <a:lnTo>
                  <a:pt x="20304" y="80794"/>
                </a:lnTo>
                <a:lnTo>
                  <a:pt x="265769" y="80794"/>
                </a:lnTo>
                <a:lnTo>
                  <a:pt x="143036" y="9177"/>
                </a:lnTo>
                <a:close/>
                <a:moveTo>
                  <a:pt x="140870" y="540"/>
                </a:moveTo>
                <a:cubicBezTo>
                  <a:pt x="142314" y="-180"/>
                  <a:pt x="144119" y="-180"/>
                  <a:pt x="145202" y="540"/>
                </a:cubicBezTo>
                <a:lnTo>
                  <a:pt x="284178" y="81514"/>
                </a:lnTo>
                <a:cubicBezTo>
                  <a:pt x="285983" y="82234"/>
                  <a:pt x="286705" y="84393"/>
                  <a:pt x="286344" y="86193"/>
                </a:cubicBezTo>
                <a:cubicBezTo>
                  <a:pt x="285622" y="87992"/>
                  <a:pt x="283817" y="89432"/>
                  <a:pt x="282013" y="89432"/>
                </a:cubicBezTo>
                <a:lnTo>
                  <a:pt x="261076" y="89432"/>
                </a:lnTo>
                <a:lnTo>
                  <a:pt x="245915" y="112464"/>
                </a:lnTo>
                <a:lnTo>
                  <a:pt x="245915" y="219351"/>
                </a:lnTo>
                <a:lnTo>
                  <a:pt x="261076" y="242384"/>
                </a:lnTo>
                <a:lnTo>
                  <a:pt x="282013" y="242384"/>
                </a:lnTo>
                <a:cubicBezTo>
                  <a:pt x="284178" y="242384"/>
                  <a:pt x="286344" y="244183"/>
                  <a:pt x="286344" y="246342"/>
                </a:cubicBezTo>
                <a:lnTo>
                  <a:pt x="286344" y="281252"/>
                </a:lnTo>
                <a:cubicBezTo>
                  <a:pt x="286344" y="283411"/>
                  <a:pt x="284178" y="285210"/>
                  <a:pt x="282013" y="285210"/>
                </a:cubicBezTo>
                <a:lnTo>
                  <a:pt x="4421" y="285210"/>
                </a:lnTo>
                <a:cubicBezTo>
                  <a:pt x="1895" y="285210"/>
                  <a:pt x="90" y="283411"/>
                  <a:pt x="90" y="281252"/>
                </a:cubicBezTo>
                <a:lnTo>
                  <a:pt x="90" y="246342"/>
                </a:lnTo>
                <a:cubicBezTo>
                  <a:pt x="90" y="244183"/>
                  <a:pt x="1895" y="242384"/>
                  <a:pt x="4421" y="242384"/>
                </a:cubicBezTo>
                <a:lnTo>
                  <a:pt x="25358" y="242384"/>
                </a:lnTo>
                <a:lnTo>
                  <a:pt x="40519" y="219351"/>
                </a:lnTo>
                <a:lnTo>
                  <a:pt x="40519" y="112464"/>
                </a:lnTo>
                <a:lnTo>
                  <a:pt x="25358" y="89432"/>
                </a:lnTo>
                <a:lnTo>
                  <a:pt x="4421" y="89432"/>
                </a:lnTo>
                <a:cubicBezTo>
                  <a:pt x="2256" y="89432"/>
                  <a:pt x="812" y="87992"/>
                  <a:pt x="90" y="86193"/>
                </a:cubicBezTo>
                <a:cubicBezTo>
                  <a:pt x="-271" y="84393"/>
                  <a:pt x="451" y="82234"/>
                  <a:pt x="2256" y="81514"/>
                </a:cubicBezTo>
                <a:lnTo>
                  <a:pt x="140870" y="540"/>
                </a:lnTo>
                <a:close/>
              </a:path>
            </a:pathLst>
          </a:custGeom>
          <a:solidFill>
            <a:schemeClr val="bg1"/>
          </a:solidFill>
          <a:ln>
            <a:noFill/>
          </a:ln>
          <a:effectLst/>
        </p:spPr>
        <p:txBody>
          <a:bodyPr anchor="ctr"/>
          <a:lstStyle/>
          <a:p>
            <a:endParaRPr lang="en-US" sz="900">
              <a:latin typeface="+mj-lt"/>
            </a:endParaRPr>
          </a:p>
        </p:txBody>
      </p:sp>
      <p:sp>
        <p:nvSpPr>
          <p:cNvPr id="52" name="Freeform 970">
            <a:extLst>
              <a:ext uri="{FF2B5EF4-FFF2-40B4-BE49-F238E27FC236}">
                <a16:creationId xmlns:a16="http://schemas.microsoft.com/office/drawing/2014/main" id="{0E8566DB-1ABD-749F-1889-55C689490FC1}"/>
              </a:ext>
            </a:extLst>
          </p:cNvPr>
          <p:cNvSpPr>
            <a:spLocks noChangeAspect="1" noChangeArrowheads="1"/>
          </p:cNvSpPr>
          <p:nvPr userDrawn="1"/>
        </p:nvSpPr>
        <p:spPr bwMode="auto">
          <a:xfrm>
            <a:off x="9159751" y="5269712"/>
            <a:ext cx="284356" cy="284356"/>
          </a:xfrm>
          <a:custGeom>
            <a:avLst/>
            <a:gdLst>
              <a:gd name="T0" fmla="*/ 106952 w 285390"/>
              <a:gd name="T1" fmla="*/ 250129 h 285390"/>
              <a:gd name="T2" fmla="*/ 29782 w 285390"/>
              <a:gd name="T3" fmla="*/ 240924 h 285390"/>
              <a:gd name="T4" fmla="*/ 29782 w 285390"/>
              <a:gd name="T5" fmla="*/ 250129 h 285390"/>
              <a:gd name="T6" fmla="*/ 119345 w 285390"/>
              <a:gd name="T7" fmla="*/ 207418 h 285390"/>
              <a:gd name="T8" fmla="*/ 60629 w 285390"/>
              <a:gd name="T9" fmla="*/ 212205 h 285390"/>
              <a:gd name="T10" fmla="*/ 45919 w 285390"/>
              <a:gd name="T11" fmla="*/ 212205 h 285390"/>
              <a:gd name="T12" fmla="*/ 29745 w 285390"/>
              <a:gd name="T13" fmla="*/ 207418 h 285390"/>
              <a:gd name="T14" fmla="*/ 236336 w 285390"/>
              <a:gd name="T15" fmla="*/ 223850 h 285390"/>
              <a:gd name="T16" fmla="*/ 245146 w 285390"/>
              <a:gd name="T17" fmla="*/ 200561 h 285390"/>
              <a:gd name="T18" fmla="*/ 173149 w 285390"/>
              <a:gd name="T19" fmla="*/ 216572 h 285390"/>
              <a:gd name="T20" fmla="*/ 196644 w 285390"/>
              <a:gd name="T21" fmla="*/ 207839 h 285390"/>
              <a:gd name="T22" fmla="*/ 245146 w 285390"/>
              <a:gd name="T23" fmla="*/ 191463 h 285390"/>
              <a:gd name="T24" fmla="*/ 236336 w 285390"/>
              <a:gd name="T25" fmla="*/ 232583 h 285390"/>
              <a:gd name="T26" fmla="*/ 180491 w 285390"/>
              <a:gd name="T27" fmla="*/ 191463 h 285390"/>
              <a:gd name="T28" fmla="*/ 189302 w 285390"/>
              <a:gd name="T29" fmla="*/ 232583 h 285390"/>
              <a:gd name="T30" fmla="*/ 180491 w 285390"/>
              <a:gd name="T31" fmla="*/ 191463 h 285390"/>
              <a:gd name="T32" fmla="*/ 119345 w 285390"/>
              <a:gd name="T33" fmla="*/ 183117 h 285390"/>
              <a:gd name="T34" fmla="*/ 29745 w 285390"/>
              <a:gd name="T35" fmla="*/ 173912 h 285390"/>
              <a:gd name="T36" fmla="*/ 29745 w 285390"/>
              <a:gd name="T37" fmla="*/ 183117 h 285390"/>
              <a:gd name="T38" fmla="*/ 228993 w 285390"/>
              <a:gd name="T39" fmla="*/ 151772 h 285390"/>
              <a:gd name="T40" fmla="*/ 252489 w 285390"/>
              <a:gd name="T41" fmla="*/ 160583 h 285390"/>
              <a:gd name="T42" fmla="*/ 180491 w 285390"/>
              <a:gd name="T43" fmla="*/ 144429 h 285390"/>
              <a:gd name="T44" fmla="*/ 189302 w 285390"/>
              <a:gd name="T45" fmla="*/ 167925 h 285390"/>
              <a:gd name="T46" fmla="*/ 180491 w 285390"/>
              <a:gd name="T47" fmla="*/ 144429 h 285390"/>
              <a:gd name="T48" fmla="*/ 83104 w 285390"/>
              <a:gd name="T49" fmla="*/ 149611 h 285390"/>
              <a:gd name="T50" fmla="*/ 236336 w 285390"/>
              <a:gd name="T51" fmla="*/ 135619 h 285390"/>
              <a:gd name="T52" fmla="*/ 245146 w 285390"/>
              <a:gd name="T53" fmla="*/ 176736 h 285390"/>
              <a:gd name="T54" fmla="*/ 236336 w 285390"/>
              <a:gd name="T55" fmla="*/ 135619 h 285390"/>
              <a:gd name="T56" fmla="*/ 205455 w 285390"/>
              <a:gd name="T57" fmla="*/ 160583 h 285390"/>
              <a:gd name="T58" fmla="*/ 164339 w 285390"/>
              <a:gd name="T59" fmla="*/ 151772 h 285390"/>
              <a:gd name="T60" fmla="*/ 155005 w 285390"/>
              <a:gd name="T61" fmla="*/ 249168 h 285390"/>
              <a:gd name="T62" fmla="*/ 147762 w 285390"/>
              <a:gd name="T63" fmla="*/ 118789 h 285390"/>
              <a:gd name="T64" fmla="*/ 119345 w 285390"/>
              <a:gd name="T65" fmla="*/ 116105 h 285390"/>
              <a:gd name="T66" fmla="*/ 29745 w 285390"/>
              <a:gd name="T67" fmla="*/ 106900 h 285390"/>
              <a:gd name="T68" fmla="*/ 29745 w 285390"/>
              <a:gd name="T69" fmla="*/ 116105 h 285390"/>
              <a:gd name="T70" fmla="*/ 263017 w 285390"/>
              <a:gd name="T71" fmla="*/ 87631 h 285390"/>
              <a:gd name="T72" fmla="*/ 256757 w 285390"/>
              <a:gd name="T73" fmla="*/ 93890 h 285390"/>
              <a:gd name="T74" fmla="*/ 217054 w 285390"/>
              <a:gd name="T75" fmla="*/ 87631 h 285390"/>
              <a:gd name="T76" fmla="*/ 210545 w 285390"/>
              <a:gd name="T77" fmla="*/ 93890 h 285390"/>
              <a:gd name="T78" fmla="*/ 240541 w 285390"/>
              <a:gd name="T79" fmla="*/ 90753 h 285390"/>
              <a:gd name="T80" fmla="*/ 65007 w 285390"/>
              <a:gd name="T81" fmla="*/ 73393 h 285390"/>
              <a:gd name="T82" fmla="*/ 65007 w 285390"/>
              <a:gd name="T83" fmla="*/ 82600 h 285390"/>
              <a:gd name="T84" fmla="*/ 41348 w 285390"/>
              <a:gd name="T85" fmla="*/ 73393 h 285390"/>
              <a:gd name="T86" fmla="*/ 25528 w 285390"/>
              <a:gd name="T87" fmla="*/ 77813 h 285390"/>
              <a:gd name="T88" fmla="*/ 147762 w 285390"/>
              <a:gd name="T89" fmla="*/ 110098 h 285390"/>
              <a:gd name="T90" fmla="*/ 155005 w 285390"/>
              <a:gd name="T91" fmla="*/ 72432 h 285390"/>
              <a:gd name="T92" fmla="*/ 155005 w 285390"/>
              <a:gd name="T93" fmla="*/ 34769 h 285390"/>
              <a:gd name="T94" fmla="*/ 21728 w 285390"/>
              <a:gd name="T95" fmla="*/ 8692 h 285390"/>
              <a:gd name="T96" fmla="*/ 207157 w 285390"/>
              <a:gd name="T97" fmla="*/ 278141 h 285390"/>
              <a:gd name="T98" fmla="*/ 139071 w 285390"/>
              <a:gd name="T99" fmla="*/ 241925 h 285390"/>
              <a:gd name="T100" fmla="*/ 220194 w 285390"/>
              <a:gd name="T101" fmla="*/ 21368 h 285390"/>
              <a:gd name="T102" fmla="*/ 155005 w 285390"/>
              <a:gd name="T103" fmla="*/ 43096 h 285390"/>
              <a:gd name="T104" fmla="*/ 21728 w 285390"/>
              <a:gd name="T105" fmla="*/ 8692 h 285390"/>
              <a:gd name="T106" fmla="*/ 228886 w 285390"/>
              <a:gd name="T107" fmla="*/ 63740 h 285390"/>
              <a:gd name="T108" fmla="*/ 271259 w 285390"/>
              <a:gd name="T109" fmla="*/ 257860 h 285390"/>
              <a:gd name="T110" fmla="*/ 21728 w 285390"/>
              <a:gd name="T111" fmla="*/ 286832 h 28539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5390" h="285390">
                <a:moveTo>
                  <a:pt x="82498" y="239712"/>
                </a:moveTo>
                <a:lnTo>
                  <a:pt x="106414" y="239712"/>
                </a:lnTo>
                <a:cubicBezTo>
                  <a:pt x="108951" y="239712"/>
                  <a:pt x="110762" y="241910"/>
                  <a:pt x="110762" y="244475"/>
                </a:cubicBezTo>
                <a:cubicBezTo>
                  <a:pt x="110762" y="247039"/>
                  <a:pt x="108951" y="248871"/>
                  <a:pt x="106414" y="248871"/>
                </a:cubicBezTo>
                <a:lnTo>
                  <a:pt x="82498" y="248871"/>
                </a:lnTo>
                <a:cubicBezTo>
                  <a:pt x="79961" y="248871"/>
                  <a:pt x="77787" y="247039"/>
                  <a:pt x="77787" y="244475"/>
                </a:cubicBezTo>
                <a:cubicBezTo>
                  <a:pt x="77787" y="241910"/>
                  <a:pt x="79961" y="239712"/>
                  <a:pt x="82498" y="239712"/>
                </a:cubicBezTo>
                <a:close/>
                <a:moveTo>
                  <a:pt x="29633" y="239712"/>
                </a:moveTo>
                <a:lnTo>
                  <a:pt x="58914" y="239712"/>
                </a:lnTo>
                <a:cubicBezTo>
                  <a:pt x="61383" y="239712"/>
                  <a:pt x="63147" y="241910"/>
                  <a:pt x="63147" y="244475"/>
                </a:cubicBezTo>
                <a:cubicBezTo>
                  <a:pt x="63147" y="247039"/>
                  <a:pt x="61383" y="248871"/>
                  <a:pt x="58914" y="248871"/>
                </a:cubicBezTo>
                <a:lnTo>
                  <a:pt x="29633" y="248871"/>
                </a:lnTo>
                <a:cubicBezTo>
                  <a:pt x="27164" y="248871"/>
                  <a:pt x="25400" y="247039"/>
                  <a:pt x="25400" y="244475"/>
                </a:cubicBezTo>
                <a:cubicBezTo>
                  <a:pt x="25400" y="241910"/>
                  <a:pt x="27164" y="239712"/>
                  <a:pt x="29633" y="239712"/>
                </a:cubicBezTo>
                <a:close/>
                <a:moveTo>
                  <a:pt x="64679" y="206375"/>
                </a:moveTo>
                <a:lnTo>
                  <a:pt x="118745" y="206375"/>
                </a:lnTo>
                <a:cubicBezTo>
                  <a:pt x="121285" y="206375"/>
                  <a:pt x="123462" y="208207"/>
                  <a:pt x="123462" y="211138"/>
                </a:cubicBezTo>
                <a:cubicBezTo>
                  <a:pt x="123462" y="213336"/>
                  <a:pt x="121285" y="215534"/>
                  <a:pt x="118745" y="215534"/>
                </a:cubicBezTo>
                <a:lnTo>
                  <a:pt x="64679" y="215534"/>
                </a:lnTo>
                <a:cubicBezTo>
                  <a:pt x="62502" y="215534"/>
                  <a:pt x="60325" y="213336"/>
                  <a:pt x="60325" y="211138"/>
                </a:cubicBezTo>
                <a:cubicBezTo>
                  <a:pt x="60325" y="208207"/>
                  <a:pt x="62502" y="206375"/>
                  <a:pt x="64679" y="206375"/>
                </a:cubicBezTo>
                <a:close/>
                <a:moveTo>
                  <a:pt x="29597" y="206375"/>
                </a:moveTo>
                <a:lnTo>
                  <a:pt x="41140" y="206375"/>
                </a:lnTo>
                <a:cubicBezTo>
                  <a:pt x="43588" y="206375"/>
                  <a:pt x="45687" y="208207"/>
                  <a:pt x="45687" y="211138"/>
                </a:cubicBezTo>
                <a:cubicBezTo>
                  <a:pt x="45687" y="213336"/>
                  <a:pt x="43588" y="215534"/>
                  <a:pt x="41140" y="215534"/>
                </a:cubicBezTo>
                <a:lnTo>
                  <a:pt x="29597" y="215534"/>
                </a:lnTo>
                <a:cubicBezTo>
                  <a:pt x="27149" y="215534"/>
                  <a:pt x="25400" y="213336"/>
                  <a:pt x="25400" y="211138"/>
                </a:cubicBezTo>
                <a:cubicBezTo>
                  <a:pt x="25400" y="208207"/>
                  <a:pt x="27149" y="206375"/>
                  <a:pt x="29597" y="206375"/>
                </a:cubicBezTo>
                <a:close/>
                <a:moveTo>
                  <a:pt x="235147" y="199552"/>
                </a:moveTo>
                <a:cubicBezTo>
                  <a:pt x="231129" y="199552"/>
                  <a:pt x="227842" y="202448"/>
                  <a:pt x="227842" y="206793"/>
                </a:cubicBezTo>
                <a:lnTo>
                  <a:pt x="227842" y="215482"/>
                </a:lnTo>
                <a:cubicBezTo>
                  <a:pt x="227842" y="219465"/>
                  <a:pt x="231129" y="222724"/>
                  <a:pt x="235147" y="222724"/>
                </a:cubicBezTo>
                <a:lnTo>
                  <a:pt x="243913" y="222724"/>
                </a:lnTo>
                <a:cubicBezTo>
                  <a:pt x="247931" y="222724"/>
                  <a:pt x="251219" y="219465"/>
                  <a:pt x="251219" y="215482"/>
                </a:cubicBezTo>
                <a:lnTo>
                  <a:pt x="251219" y="206793"/>
                </a:lnTo>
                <a:cubicBezTo>
                  <a:pt x="251219" y="202448"/>
                  <a:pt x="247931" y="199552"/>
                  <a:pt x="243913" y="199552"/>
                </a:cubicBezTo>
                <a:lnTo>
                  <a:pt x="235147" y="199552"/>
                </a:lnTo>
                <a:close/>
                <a:moveTo>
                  <a:pt x="179583" y="199552"/>
                </a:moveTo>
                <a:cubicBezTo>
                  <a:pt x="175566" y="199552"/>
                  <a:pt x="172278" y="202448"/>
                  <a:pt x="172278" y="206793"/>
                </a:cubicBezTo>
                <a:lnTo>
                  <a:pt x="172278" y="215482"/>
                </a:lnTo>
                <a:cubicBezTo>
                  <a:pt x="172278" y="219465"/>
                  <a:pt x="175566" y="222724"/>
                  <a:pt x="179583" y="222724"/>
                </a:cubicBezTo>
                <a:lnTo>
                  <a:pt x="188350" y="222724"/>
                </a:lnTo>
                <a:cubicBezTo>
                  <a:pt x="192368" y="222724"/>
                  <a:pt x="195655" y="219465"/>
                  <a:pt x="195655" y="215482"/>
                </a:cubicBezTo>
                <a:lnTo>
                  <a:pt x="195655" y="206793"/>
                </a:lnTo>
                <a:cubicBezTo>
                  <a:pt x="195655" y="202448"/>
                  <a:pt x="192368" y="199552"/>
                  <a:pt x="188350" y="199552"/>
                </a:cubicBezTo>
                <a:lnTo>
                  <a:pt x="179583" y="199552"/>
                </a:lnTo>
                <a:close/>
                <a:moveTo>
                  <a:pt x="235147" y="190500"/>
                </a:moveTo>
                <a:lnTo>
                  <a:pt x="243913" y="190500"/>
                </a:lnTo>
                <a:cubicBezTo>
                  <a:pt x="252680" y="190500"/>
                  <a:pt x="259985" y="197741"/>
                  <a:pt x="259985" y="206793"/>
                </a:cubicBezTo>
                <a:lnTo>
                  <a:pt x="259985" y="215482"/>
                </a:lnTo>
                <a:cubicBezTo>
                  <a:pt x="259985" y="224172"/>
                  <a:pt x="252680" y="231413"/>
                  <a:pt x="243913" y="231413"/>
                </a:cubicBezTo>
                <a:lnTo>
                  <a:pt x="235147" y="231413"/>
                </a:lnTo>
                <a:cubicBezTo>
                  <a:pt x="226015" y="231413"/>
                  <a:pt x="219075" y="224172"/>
                  <a:pt x="219075" y="215482"/>
                </a:cubicBezTo>
                <a:lnTo>
                  <a:pt x="219075" y="206793"/>
                </a:lnTo>
                <a:cubicBezTo>
                  <a:pt x="219075" y="197741"/>
                  <a:pt x="226015" y="190500"/>
                  <a:pt x="235147" y="190500"/>
                </a:cubicBezTo>
                <a:close/>
                <a:moveTo>
                  <a:pt x="179583" y="190500"/>
                </a:moveTo>
                <a:lnTo>
                  <a:pt x="188350" y="190500"/>
                </a:lnTo>
                <a:cubicBezTo>
                  <a:pt x="197116" y="190500"/>
                  <a:pt x="204421" y="197741"/>
                  <a:pt x="204421" y="206793"/>
                </a:cubicBezTo>
                <a:lnTo>
                  <a:pt x="204421" y="215482"/>
                </a:lnTo>
                <a:cubicBezTo>
                  <a:pt x="204421" y="224172"/>
                  <a:pt x="197116" y="231413"/>
                  <a:pt x="188350" y="231413"/>
                </a:cubicBezTo>
                <a:lnTo>
                  <a:pt x="179583" y="231413"/>
                </a:lnTo>
                <a:cubicBezTo>
                  <a:pt x="170817" y="231413"/>
                  <a:pt x="163512" y="224172"/>
                  <a:pt x="163512" y="215482"/>
                </a:cubicBezTo>
                <a:lnTo>
                  <a:pt x="163512" y="206793"/>
                </a:lnTo>
                <a:cubicBezTo>
                  <a:pt x="163512" y="197741"/>
                  <a:pt x="170817" y="190500"/>
                  <a:pt x="179583" y="190500"/>
                </a:cubicBezTo>
                <a:close/>
                <a:moveTo>
                  <a:pt x="64679" y="173037"/>
                </a:moveTo>
                <a:lnTo>
                  <a:pt x="118745" y="173037"/>
                </a:lnTo>
                <a:cubicBezTo>
                  <a:pt x="121285" y="173037"/>
                  <a:pt x="123462" y="175235"/>
                  <a:pt x="123462" y="177800"/>
                </a:cubicBezTo>
                <a:cubicBezTo>
                  <a:pt x="123462" y="180364"/>
                  <a:pt x="121285" y="182196"/>
                  <a:pt x="118745" y="182196"/>
                </a:cubicBezTo>
                <a:lnTo>
                  <a:pt x="64679" y="182196"/>
                </a:lnTo>
                <a:cubicBezTo>
                  <a:pt x="62502" y="182196"/>
                  <a:pt x="60325" y="180364"/>
                  <a:pt x="60325" y="177800"/>
                </a:cubicBezTo>
                <a:cubicBezTo>
                  <a:pt x="60325" y="175235"/>
                  <a:pt x="62502" y="173037"/>
                  <a:pt x="64679" y="173037"/>
                </a:cubicBezTo>
                <a:close/>
                <a:moveTo>
                  <a:pt x="29597" y="173037"/>
                </a:moveTo>
                <a:lnTo>
                  <a:pt x="41140" y="173037"/>
                </a:lnTo>
                <a:cubicBezTo>
                  <a:pt x="43588" y="173037"/>
                  <a:pt x="45687" y="175235"/>
                  <a:pt x="45687" y="177800"/>
                </a:cubicBezTo>
                <a:cubicBezTo>
                  <a:pt x="45687" y="180364"/>
                  <a:pt x="43588" y="182196"/>
                  <a:pt x="41140" y="182196"/>
                </a:cubicBezTo>
                <a:lnTo>
                  <a:pt x="29597" y="182196"/>
                </a:lnTo>
                <a:cubicBezTo>
                  <a:pt x="27149" y="182196"/>
                  <a:pt x="25400" y="180364"/>
                  <a:pt x="25400" y="177800"/>
                </a:cubicBezTo>
                <a:cubicBezTo>
                  <a:pt x="25400" y="175235"/>
                  <a:pt x="27149" y="173037"/>
                  <a:pt x="29597" y="173037"/>
                </a:cubicBezTo>
                <a:close/>
                <a:moveTo>
                  <a:pt x="235147" y="143703"/>
                </a:moveTo>
                <a:cubicBezTo>
                  <a:pt x="231129" y="143703"/>
                  <a:pt x="227842" y="146626"/>
                  <a:pt x="227842" y="151009"/>
                </a:cubicBezTo>
                <a:lnTo>
                  <a:pt x="227842" y="159775"/>
                </a:lnTo>
                <a:cubicBezTo>
                  <a:pt x="227842" y="163793"/>
                  <a:pt x="231129" y="167080"/>
                  <a:pt x="235147" y="167080"/>
                </a:cubicBezTo>
                <a:lnTo>
                  <a:pt x="243913" y="167080"/>
                </a:lnTo>
                <a:cubicBezTo>
                  <a:pt x="247931" y="167080"/>
                  <a:pt x="251219" y="163793"/>
                  <a:pt x="251219" y="159775"/>
                </a:cubicBezTo>
                <a:lnTo>
                  <a:pt x="251219" y="151009"/>
                </a:lnTo>
                <a:cubicBezTo>
                  <a:pt x="251219" y="146626"/>
                  <a:pt x="247931" y="143703"/>
                  <a:pt x="243913" y="143703"/>
                </a:cubicBezTo>
                <a:lnTo>
                  <a:pt x="235147" y="143703"/>
                </a:lnTo>
                <a:close/>
                <a:moveTo>
                  <a:pt x="179583" y="143703"/>
                </a:moveTo>
                <a:cubicBezTo>
                  <a:pt x="175566" y="143703"/>
                  <a:pt x="172278" y="146626"/>
                  <a:pt x="172278" y="151009"/>
                </a:cubicBezTo>
                <a:lnTo>
                  <a:pt x="172278" y="159775"/>
                </a:lnTo>
                <a:cubicBezTo>
                  <a:pt x="172278" y="163793"/>
                  <a:pt x="175566" y="167080"/>
                  <a:pt x="179583" y="167080"/>
                </a:cubicBezTo>
                <a:lnTo>
                  <a:pt x="188350" y="167080"/>
                </a:lnTo>
                <a:cubicBezTo>
                  <a:pt x="192368" y="167080"/>
                  <a:pt x="195655" y="163793"/>
                  <a:pt x="195655" y="159775"/>
                </a:cubicBezTo>
                <a:lnTo>
                  <a:pt x="195655" y="151009"/>
                </a:lnTo>
                <a:cubicBezTo>
                  <a:pt x="195655" y="146626"/>
                  <a:pt x="192368" y="143703"/>
                  <a:pt x="188350" y="143703"/>
                </a:cubicBezTo>
                <a:lnTo>
                  <a:pt x="179583" y="143703"/>
                </a:lnTo>
                <a:close/>
                <a:moveTo>
                  <a:pt x="29670" y="139700"/>
                </a:moveTo>
                <a:lnTo>
                  <a:pt x="82686" y="139700"/>
                </a:lnTo>
                <a:cubicBezTo>
                  <a:pt x="84821" y="139700"/>
                  <a:pt x="86956" y="141898"/>
                  <a:pt x="86956" y="144096"/>
                </a:cubicBezTo>
                <a:cubicBezTo>
                  <a:pt x="86956" y="146661"/>
                  <a:pt x="84821" y="148859"/>
                  <a:pt x="82686" y="148859"/>
                </a:cubicBezTo>
                <a:lnTo>
                  <a:pt x="29670" y="148859"/>
                </a:lnTo>
                <a:cubicBezTo>
                  <a:pt x="27179" y="148859"/>
                  <a:pt x="25400" y="146661"/>
                  <a:pt x="25400" y="144096"/>
                </a:cubicBezTo>
                <a:cubicBezTo>
                  <a:pt x="25400" y="141898"/>
                  <a:pt x="27179" y="139700"/>
                  <a:pt x="29670" y="139700"/>
                </a:cubicBezTo>
                <a:close/>
                <a:moveTo>
                  <a:pt x="235147" y="134937"/>
                </a:moveTo>
                <a:lnTo>
                  <a:pt x="243913" y="134937"/>
                </a:lnTo>
                <a:cubicBezTo>
                  <a:pt x="252680" y="134937"/>
                  <a:pt x="259985" y="142242"/>
                  <a:pt x="259985" y="151009"/>
                </a:cubicBezTo>
                <a:lnTo>
                  <a:pt x="259985" y="159775"/>
                </a:lnTo>
                <a:cubicBezTo>
                  <a:pt x="259985" y="168542"/>
                  <a:pt x="252680" y="175847"/>
                  <a:pt x="243913" y="175847"/>
                </a:cubicBezTo>
                <a:lnTo>
                  <a:pt x="235147" y="175847"/>
                </a:lnTo>
                <a:cubicBezTo>
                  <a:pt x="226015" y="175847"/>
                  <a:pt x="219075" y="168542"/>
                  <a:pt x="219075" y="159775"/>
                </a:cubicBezTo>
                <a:lnTo>
                  <a:pt x="219075" y="151009"/>
                </a:lnTo>
                <a:cubicBezTo>
                  <a:pt x="219075" y="142242"/>
                  <a:pt x="226015" y="134937"/>
                  <a:pt x="235147" y="134937"/>
                </a:cubicBezTo>
                <a:close/>
                <a:moveTo>
                  <a:pt x="179583" y="134937"/>
                </a:moveTo>
                <a:lnTo>
                  <a:pt x="188350" y="134937"/>
                </a:lnTo>
                <a:cubicBezTo>
                  <a:pt x="197116" y="134937"/>
                  <a:pt x="204421" y="142242"/>
                  <a:pt x="204421" y="151009"/>
                </a:cubicBezTo>
                <a:lnTo>
                  <a:pt x="204421" y="159775"/>
                </a:lnTo>
                <a:cubicBezTo>
                  <a:pt x="204421" y="168542"/>
                  <a:pt x="197116" y="175847"/>
                  <a:pt x="188350" y="175847"/>
                </a:cubicBezTo>
                <a:lnTo>
                  <a:pt x="179583" y="175847"/>
                </a:lnTo>
                <a:cubicBezTo>
                  <a:pt x="170817" y="175847"/>
                  <a:pt x="163512" y="168542"/>
                  <a:pt x="163512" y="159775"/>
                </a:cubicBezTo>
                <a:lnTo>
                  <a:pt x="163512" y="151009"/>
                </a:lnTo>
                <a:cubicBezTo>
                  <a:pt x="163512" y="142242"/>
                  <a:pt x="170817" y="134937"/>
                  <a:pt x="179583" y="134937"/>
                </a:cubicBezTo>
                <a:close/>
                <a:moveTo>
                  <a:pt x="147019" y="118192"/>
                </a:moveTo>
                <a:lnTo>
                  <a:pt x="147019" y="240708"/>
                </a:lnTo>
                <a:cubicBezTo>
                  <a:pt x="147019" y="245032"/>
                  <a:pt x="150262" y="247914"/>
                  <a:pt x="154225" y="247914"/>
                </a:cubicBezTo>
                <a:lnTo>
                  <a:pt x="269895" y="247914"/>
                </a:lnTo>
                <a:cubicBezTo>
                  <a:pt x="273859" y="247914"/>
                  <a:pt x="276742" y="245032"/>
                  <a:pt x="276742" y="240708"/>
                </a:cubicBezTo>
                <a:lnTo>
                  <a:pt x="276742" y="118192"/>
                </a:lnTo>
                <a:lnTo>
                  <a:pt x="147019" y="118192"/>
                </a:lnTo>
                <a:close/>
                <a:moveTo>
                  <a:pt x="64679" y="106362"/>
                </a:moveTo>
                <a:lnTo>
                  <a:pt x="118745" y="106362"/>
                </a:lnTo>
                <a:cubicBezTo>
                  <a:pt x="121285" y="106362"/>
                  <a:pt x="123462" y="108560"/>
                  <a:pt x="123462" y="111125"/>
                </a:cubicBezTo>
                <a:cubicBezTo>
                  <a:pt x="123462" y="113689"/>
                  <a:pt x="121285" y="115521"/>
                  <a:pt x="118745" y="115521"/>
                </a:cubicBezTo>
                <a:lnTo>
                  <a:pt x="64679" y="115521"/>
                </a:lnTo>
                <a:cubicBezTo>
                  <a:pt x="62502" y="115521"/>
                  <a:pt x="60325" y="113689"/>
                  <a:pt x="60325" y="111125"/>
                </a:cubicBezTo>
                <a:cubicBezTo>
                  <a:pt x="60325" y="108560"/>
                  <a:pt x="62502" y="106362"/>
                  <a:pt x="64679" y="106362"/>
                </a:cubicBezTo>
                <a:close/>
                <a:moveTo>
                  <a:pt x="29597" y="106362"/>
                </a:moveTo>
                <a:lnTo>
                  <a:pt x="41140" y="106362"/>
                </a:lnTo>
                <a:cubicBezTo>
                  <a:pt x="43588" y="106362"/>
                  <a:pt x="45687" y="108560"/>
                  <a:pt x="45687" y="111125"/>
                </a:cubicBezTo>
                <a:cubicBezTo>
                  <a:pt x="45687" y="113689"/>
                  <a:pt x="43588" y="115521"/>
                  <a:pt x="41140" y="115521"/>
                </a:cubicBezTo>
                <a:lnTo>
                  <a:pt x="29597" y="115521"/>
                </a:lnTo>
                <a:cubicBezTo>
                  <a:pt x="27149" y="115521"/>
                  <a:pt x="25400" y="113689"/>
                  <a:pt x="25400" y="111125"/>
                </a:cubicBezTo>
                <a:cubicBezTo>
                  <a:pt x="25400" y="108560"/>
                  <a:pt x="27149" y="106362"/>
                  <a:pt x="29597" y="106362"/>
                </a:cubicBezTo>
                <a:close/>
                <a:moveTo>
                  <a:pt x="255466" y="87191"/>
                </a:moveTo>
                <a:cubicBezTo>
                  <a:pt x="257297" y="85725"/>
                  <a:pt x="259862" y="85725"/>
                  <a:pt x="261694" y="87191"/>
                </a:cubicBezTo>
                <a:cubicBezTo>
                  <a:pt x="262426" y="87923"/>
                  <a:pt x="263159" y="89389"/>
                  <a:pt x="263159" y="90488"/>
                </a:cubicBezTo>
                <a:cubicBezTo>
                  <a:pt x="263159" y="91587"/>
                  <a:pt x="262426" y="92686"/>
                  <a:pt x="261694" y="93418"/>
                </a:cubicBezTo>
                <a:cubicBezTo>
                  <a:pt x="260961" y="94517"/>
                  <a:pt x="259862" y="94884"/>
                  <a:pt x="258763" y="94884"/>
                </a:cubicBezTo>
                <a:cubicBezTo>
                  <a:pt x="257297" y="94884"/>
                  <a:pt x="256198" y="94517"/>
                  <a:pt x="255466" y="93418"/>
                </a:cubicBezTo>
                <a:cubicBezTo>
                  <a:pt x="254367" y="92686"/>
                  <a:pt x="254000" y="91587"/>
                  <a:pt x="254000" y="90488"/>
                </a:cubicBezTo>
                <a:cubicBezTo>
                  <a:pt x="254000" y="89389"/>
                  <a:pt x="254367" y="87923"/>
                  <a:pt x="255466" y="87191"/>
                </a:cubicBezTo>
                <a:close/>
                <a:moveTo>
                  <a:pt x="209486" y="87191"/>
                </a:moveTo>
                <a:cubicBezTo>
                  <a:pt x="211010" y="85725"/>
                  <a:pt x="214058" y="85725"/>
                  <a:pt x="215963" y="87191"/>
                </a:cubicBezTo>
                <a:cubicBezTo>
                  <a:pt x="216725" y="87923"/>
                  <a:pt x="217106" y="89389"/>
                  <a:pt x="217106" y="90488"/>
                </a:cubicBezTo>
                <a:cubicBezTo>
                  <a:pt x="217106" y="91587"/>
                  <a:pt x="216725" y="92686"/>
                  <a:pt x="215963" y="93418"/>
                </a:cubicBezTo>
                <a:cubicBezTo>
                  <a:pt x="215201" y="94517"/>
                  <a:pt x="214058" y="94884"/>
                  <a:pt x="212534" y="94884"/>
                </a:cubicBezTo>
                <a:cubicBezTo>
                  <a:pt x="211391" y="94884"/>
                  <a:pt x="210248" y="94517"/>
                  <a:pt x="209486" y="93418"/>
                </a:cubicBezTo>
                <a:cubicBezTo>
                  <a:pt x="208724" y="92686"/>
                  <a:pt x="207962" y="91587"/>
                  <a:pt x="207962" y="90488"/>
                </a:cubicBezTo>
                <a:cubicBezTo>
                  <a:pt x="207962" y="89389"/>
                  <a:pt x="208724" y="87923"/>
                  <a:pt x="209486" y="87191"/>
                </a:cubicBezTo>
                <a:close/>
                <a:moveTo>
                  <a:pt x="234759" y="85725"/>
                </a:moveTo>
                <a:cubicBezTo>
                  <a:pt x="237426" y="85725"/>
                  <a:pt x="239331" y="87630"/>
                  <a:pt x="239331" y="90297"/>
                </a:cubicBezTo>
                <a:cubicBezTo>
                  <a:pt x="239331" y="92964"/>
                  <a:pt x="237426" y="94869"/>
                  <a:pt x="234759" y="94869"/>
                </a:cubicBezTo>
                <a:cubicBezTo>
                  <a:pt x="232473" y="94869"/>
                  <a:pt x="230187" y="92964"/>
                  <a:pt x="230187" y="90297"/>
                </a:cubicBezTo>
                <a:cubicBezTo>
                  <a:pt x="230187" y="87630"/>
                  <a:pt x="232473" y="85725"/>
                  <a:pt x="234759" y="85725"/>
                </a:cubicBezTo>
                <a:close/>
                <a:moveTo>
                  <a:pt x="64679" y="73025"/>
                </a:moveTo>
                <a:lnTo>
                  <a:pt x="118745" y="73025"/>
                </a:lnTo>
                <a:cubicBezTo>
                  <a:pt x="121285" y="73025"/>
                  <a:pt x="123462" y="74857"/>
                  <a:pt x="123462" y="77421"/>
                </a:cubicBezTo>
                <a:cubicBezTo>
                  <a:pt x="123462" y="79985"/>
                  <a:pt x="121285" y="82184"/>
                  <a:pt x="118745" y="82184"/>
                </a:cubicBezTo>
                <a:lnTo>
                  <a:pt x="64679" y="82184"/>
                </a:lnTo>
                <a:cubicBezTo>
                  <a:pt x="62502" y="82184"/>
                  <a:pt x="60325" y="79985"/>
                  <a:pt x="60325" y="77421"/>
                </a:cubicBezTo>
                <a:cubicBezTo>
                  <a:pt x="60325" y="74857"/>
                  <a:pt x="62502" y="73025"/>
                  <a:pt x="64679" y="73025"/>
                </a:cubicBezTo>
                <a:close/>
                <a:moveTo>
                  <a:pt x="29597" y="73025"/>
                </a:moveTo>
                <a:lnTo>
                  <a:pt x="41140" y="73025"/>
                </a:lnTo>
                <a:cubicBezTo>
                  <a:pt x="43588" y="73025"/>
                  <a:pt x="45687" y="74857"/>
                  <a:pt x="45687" y="77421"/>
                </a:cubicBezTo>
                <a:cubicBezTo>
                  <a:pt x="45687" y="79985"/>
                  <a:pt x="43588" y="82184"/>
                  <a:pt x="41140" y="82184"/>
                </a:cubicBezTo>
                <a:lnTo>
                  <a:pt x="29597" y="82184"/>
                </a:lnTo>
                <a:cubicBezTo>
                  <a:pt x="27149" y="82184"/>
                  <a:pt x="25400" y="79985"/>
                  <a:pt x="25400" y="77421"/>
                </a:cubicBezTo>
                <a:cubicBezTo>
                  <a:pt x="25400" y="74857"/>
                  <a:pt x="27149" y="73025"/>
                  <a:pt x="29597" y="73025"/>
                </a:cubicBezTo>
                <a:close/>
                <a:moveTo>
                  <a:pt x="154225" y="72068"/>
                </a:moveTo>
                <a:cubicBezTo>
                  <a:pt x="150262" y="72068"/>
                  <a:pt x="147019" y="75311"/>
                  <a:pt x="147019" y="79275"/>
                </a:cubicBezTo>
                <a:lnTo>
                  <a:pt x="147019" y="109544"/>
                </a:lnTo>
                <a:lnTo>
                  <a:pt x="276742" y="109544"/>
                </a:lnTo>
                <a:lnTo>
                  <a:pt x="276742" y="79275"/>
                </a:lnTo>
                <a:cubicBezTo>
                  <a:pt x="276742" y="75311"/>
                  <a:pt x="273859" y="72068"/>
                  <a:pt x="269895" y="72068"/>
                </a:cubicBezTo>
                <a:lnTo>
                  <a:pt x="154225" y="72068"/>
                </a:lnTo>
                <a:close/>
                <a:moveTo>
                  <a:pt x="60177" y="8648"/>
                </a:moveTo>
                <a:lnTo>
                  <a:pt x="60177" y="21260"/>
                </a:lnTo>
                <a:cubicBezTo>
                  <a:pt x="60177" y="28467"/>
                  <a:pt x="66302" y="34593"/>
                  <a:pt x="73509" y="34593"/>
                </a:cubicBezTo>
                <a:lnTo>
                  <a:pt x="154225" y="34593"/>
                </a:lnTo>
                <a:cubicBezTo>
                  <a:pt x="161432" y="34593"/>
                  <a:pt x="167198" y="28467"/>
                  <a:pt x="167198" y="21260"/>
                </a:cubicBezTo>
                <a:lnTo>
                  <a:pt x="167198" y="8648"/>
                </a:lnTo>
                <a:lnTo>
                  <a:pt x="60177" y="8648"/>
                </a:lnTo>
                <a:close/>
                <a:moveTo>
                  <a:pt x="21620" y="8648"/>
                </a:moveTo>
                <a:cubicBezTo>
                  <a:pt x="14413" y="8648"/>
                  <a:pt x="8648" y="14053"/>
                  <a:pt x="8648" y="21260"/>
                </a:cubicBezTo>
                <a:lnTo>
                  <a:pt x="8648" y="263769"/>
                </a:lnTo>
                <a:cubicBezTo>
                  <a:pt x="8648" y="270976"/>
                  <a:pt x="14413" y="276742"/>
                  <a:pt x="21620" y="276742"/>
                </a:cubicBezTo>
                <a:lnTo>
                  <a:pt x="206115" y="276742"/>
                </a:lnTo>
                <a:cubicBezTo>
                  <a:pt x="213322" y="276742"/>
                  <a:pt x="219087" y="270976"/>
                  <a:pt x="219087" y="263769"/>
                </a:cubicBezTo>
                <a:lnTo>
                  <a:pt x="219087" y="256563"/>
                </a:lnTo>
                <a:lnTo>
                  <a:pt x="154225" y="256563"/>
                </a:lnTo>
                <a:cubicBezTo>
                  <a:pt x="145577" y="256563"/>
                  <a:pt x="138371" y="249716"/>
                  <a:pt x="138371" y="240708"/>
                </a:cubicBezTo>
                <a:lnTo>
                  <a:pt x="138371" y="79275"/>
                </a:lnTo>
                <a:cubicBezTo>
                  <a:pt x="138371" y="70627"/>
                  <a:pt x="145577" y="63420"/>
                  <a:pt x="154225" y="63420"/>
                </a:cubicBezTo>
                <a:lnTo>
                  <a:pt x="219087" y="63420"/>
                </a:lnTo>
                <a:lnTo>
                  <a:pt x="219087" y="21260"/>
                </a:lnTo>
                <a:cubicBezTo>
                  <a:pt x="219087" y="14053"/>
                  <a:pt x="213322" y="8648"/>
                  <a:pt x="206115" y="8648"/>
                </a:cubicBezTo>
                <a:lnTo>
                  <a:pt x="175846" y="8648"/>
                </a:lnTo>
                <a:lnTo>
                  <a:pt x="175846" y="21260"/>
                </a:lnTo>
                <a:cubicBezTo>
                  <a:pt x="175846" y="33512"/>
                  <a:pt x="166117" y="42880"/>
                  <a:pt x="154225" y="42880"/>
                </a:cubicBezTo>
                <a:lnTo>
                  <a:pt x="73509" y="42880"/>
                </a:lnTo>
                <a:cubicBezTo>
                  <a:pt x="61618" y="42880"/>
                  <a:pt x="51889" y="33512"/>
                  <a:pt x="51889" y="21260"/>
                </a:cubicBezTo>
                <a:lnTo>
                  <a:pt x="51889" y="8648"/>
                </a:lnTo>
                <a:lnTo>
                  <a:pt x="21620" y="8648"/>
                </a:lnTo>
                <a:close/>
                <a:moveTo>
                  <a:pt x="21620" y="0"/>
                </a:moveTo>
                <a:lnTo>
                  <a:pt x="206115" y="0"/>
                </a:lnTo>
                <a:cubicBezTo>
                  <a:pt x="218006" y="0"/>
                  <a:pt x="227735" y="9729"/>
                  <a:pt x="227735" y="21260"/>
                </a:cubicBezTo>
                <a:lnTo>
                  <a:pt x="227735" y="63420"/>
                </a:lnTo>
                <a:lnTo>
                  <a:pt x="269895" y="63420"/>
                </a:lnTo>
                <a:cubicBezTo>
                  <a:pt x="278543" y="63420"/>
                  <a:pt x="285390" y="70627"/>
                  <a:pt x="285390" y="79275"/>
                </a:cubicBezTo>
                <a:lnTo>
                  <a:pt x="285390" y="240708"/>
                </a:lnTo>
                <a:cubicBezTo>
                  <a:pt x="285390" y="249716"/>
                  <a:pt x="278543" y="256563"/>
                  <a:pt x="269895" y="256563"/>
                </a:cubicBezTo>
                <a:lnTo>
                  <a:pt x="227735" y="256563"/>
                </a:lnTo>
                <a:lnTo>
                  <a:pt x="227735" y="263769"/>
                </a:lnTo>
                <a:cubicBezTo>
                  <a:pt x="227735" y="275661"/>
                  <a:pt x="218006" y="285390"/>
                  <a:pt x="206115" y="285390"/>
                </a:cubicBezTo>
                <a:lnTo>
                  <a:pt x="21620" y="285390"/>
                </a:lnTo>
                <a:cubicBezTo>
                  <a:pt x="9729" y="285390"/>
                  <a:pt x="0" y="275661"/>
                  <a:pt x="0" y="263769"/>
                </a:cubicBezTo>
                <a:lnTo>
                  <a:pt x="0" y="21260"/>
                </a:lnTo>
                <a:cubicBezTo>
                  <a:pt x="0" y="9729"/>
                  <a:pt x="9729" y="0"/>
                  <a:pt x="21620" y="0"/>
                </a:cubicBezTo>
                <a:close/>
              </a:path>
            </a:pathLst>
          </a:custGeom>
          <a:solidFill>
            <a:schemeClr val="bg1"/>
          </a:solidFill>
          <a:ln>
            <a:noFill/>
          </a:ln>
          <a:effectLst/>
        </p:spPr>
        <p:txBody>
          <a:bodyPr anchor="ctr"/>
          <a:lstStyle/>
          <a:p>
            <a:endParaRPr lang="en-US" sz="900">
              <a:latin typeface="+mj-lt"/>
            </a:endParaRPr>
          </a:p>
        </p:txBody>
      </p:sp>
      <p:sp>
        <p:nvSpPr>
          <p:cNvPr id="65" name="Text Placeholder 35">
            <a:extLst>
              <a:ext uri="{FF2B5EF4-FFF2-40B4-BE49-F238E27FC236}">
                <a16:creationId xmlns:a16="http://schemas.microsoft.com/office/drawing/2014/main" id="{16788B85-C3B5-68F7-5C82-9958FD6B5282}"/>
              </a:ext>
            </a:extLst>
          </p:cNvPr>
          <p:cNvSpPr>
            <a:spLocks noGrp="1"/>
          </p:cNvSpPr>
          <p:nvPr>
            <p:ph type="body" sz="quarter" idx="33" hasCustomPrompt="1"/>
          </p:nvPr>
        </p:nvSpPr>
        <p:spPr>
          <a:xfrm>
            <a:off x="803639" y="1584404"/>
            <a:ext cx="1765410" cy="331694"/>
          </a:xfrm>
        </p:spPr>
        <p:txBody>
          <a:bodyPr anchor="b">
            <a:noAutofit/>
          </a:bodyPr>
          <a:lstStyle>
            <a:lvl1pPr marL="0" indent="0" algn="l">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66" name="Text Placeholder 2">
            <a:extLst>
              <a:ext uri="{FF2B5EF4-FFF2-40B4-BE49-F238E27FC236}">
                <a16:creationId xmlns:a16="http://schemas.microsoft.com/office/drawing/2014/main" id="{E1B0F6BD-0839-3D27-3EE8-FD022B6671E2}"/>
              </a:ext>
            </a:extLst>
          </p:cNvPr>
          <p:cNvSpPr>
            <a:spLocks noGrp="1"/>
          </p:cNvSpPr>
          <p:nvPr>
            <p:ph type="body" idx="34" hasCustomPrompt="1"/>
          </p:nvPr>
        </p:nvSpPr>
        <p:spPr>
          <a:xfrm>
            <a:off x="6955961" y="3157748"/>
            <a:ext cx="2605256" cy="486643"/>
          </a:xfrm>
        </p:spPr>
        <p:txBody>
          <a:bodyPr>
            <a:normAutofit/>
          </a:bodyPr>
          <a:lstStyle>
            <a:lvl1pPr marL="0" indent="0" algn="l">
              <a:lnSpc>
                <a:spcPct val="10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67" name="Text Placeholder 2">
            <a:extLst>
              <a:ext uri="{FF2B5EF4-FFF2-40B4-BE49-F238E27FC236}">
                <a16:creationId xmlns:a16="http://schemas.microsoft.com/office/drawing/2014/main" id="{937D4318-F196-CC34-01B7-490213F4B895}"/>
              </a:ext>
            </a:extLst>
          </p:cNvPr>
          <p:cNvSpPr>
            <a:spLocks noGrp="1"/>
          </p:cNvSpPr>
          <p:nvPr>
            <p:ph type="body" idx="35" hasCustomPrompt="1"/>
          </p:nvPr>
        </p:nvSpPr>
        <p:spPr>
          <a:xfrm>
            <a:off x="6359613" y="3913122"/>
            <a:ext cx="2605256" cy="486643"/>
          </a:xfrm>
        </p:spPr>
        <p:txBody>
          <a:bodyPr>
            <a:normAutofit/>
          </a:bodyPr>
          <a:lstStyle>
            <a:lvl1pPr marL="0" indent="0" algn="l">
              <a:lnSpc>
                <a:spcPct val="10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68" name="Text Placeholder 2">
            <a:extLst>
              <a:ext uri="{FF2B5EF4-FFF2-40B4-BE49-F238E27FC236}">
                <a16:creationId xmlns:a16="http://schemas.microsoft.com/office/drawing/2014/main" id="{8B16A214-B993-ED10-AF0A-8B2F07904A15}"/>
              </a:ext>
            </a:extLst>
          </p:cNvPr>
          <p:cNvSpPr>
            <a:spLocks noGrp="1"/>
          </p:cNvSpPr>
          <p:nvPr>
            <p:ph type="body" idx="36" hasCustomPrompt="1"/>
          </p:nvPr>
        </p:nvSpPr>
        <p:spPr>
          <a:xfrm>
            <a:off x="5793083" y="4688375"/>
            <a:ext cx="2605256" cy="486643"/>
          </a:xfrm>
        </p:spPr>
        <p:txBody>
          <a:bodyPr>
            <a:normAutofit/>
          </a:bodyPr>
          <a:lstStyle>
            <a:lvl1pPr marL="0" indent="0" algn="l">
              <a:lnSpc>
                <a:spcPct val="10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69" name="Text Placeholder 2">
            <a:extLst>
              <a:ext uri="{FF2B5EF4-FFF2-40B4-BE49-F238E27FC236}">
                <a16:creationId xmlns:a16="http://schemas.microsoft.com/office/drawing/2014/main" id="{ABBD5535-6BDB-D753-97A1-52FB2AF79516}"/>
              </a:ext>
            </a:extLst>
          </p:cNvPr>
          <p:cNvSpPr>
            <a:spLocks noGrp="1"/>
          </p:cNvSpPr>
          <p:nvPr>
            <p:ph type="body" idx="37" hasCustomPrompt="1"/>
          </p:nvPr>
        </p:nvSpPr>
        <p:spPr>
          <a:xfrm>
            <a:off x="5266309" y="5543140"/>
            <a:ext cx="2605256" cy="486643"/>
          </a:xfrm>
        </p:spPr>
        <p:txBody>
          <a:bodyPr>
            <a:normAutofit/>
          </a:bodyPr>
          <a:lstStyle>
            <a:lvl1pPr marL="0" indent="0" algn="l">
              <a:lnSpc>
                <a:spcPct val="10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70" name="Title 1">
            <a:extLst>
              <a:ext uri="{FF2B5EF4-FFF2-40B4-BE49-F238E27FC236}">
                <a16:creationId xmlns:a16="http://schemas.microsoft.com/office/drawing/2014/main" id="{669575DE-6F4E-F7E9-8701-48649329BCB5}"/>
              </a:ext>
            </a:extLst>
          </p:cNvPr>
          <p:cNvSpPr>
            <a:spLocks noGrp="1"/>
          </p:cNvSpPr>
          <p:nvPr>
            <p:ph type="title"/>
          </p:nvPr>
        </p:nvSpPr>
        <p:spPr>
          <a:xfrm>
            <a:off x="838200" y="365126"/>
            <a:ext cx="10515600" cy="735762"/>
          </a:xfrm>
        </p:spPr>
        <p:txBody>
          <a:bodyPr>
            <a:normAutofit/>
          </a:bodyPr>
          <a:lstStyle>
            <a:lvl1pPr algn="ctr">
              <a:defRPr sz="3600"/>
            </a:lvl1pPr>
          </a:lstStyle>
          <a:p>
            <a:r>
              <a:rPr lang="en-US"/>
              <a:t>Click to edit Master title style</a:t>
            </a:r>
          </a:p>
        </p:txBody>
      </p:sp>
      <p:sp>
        <p:nvSpPr>
          <p:cNvPr id="71" name="Text Placeholder 35">
            <a:extLst>
              <a:ext uri="{FF2B5EF4-FFF2-40B4-BE49-F238E27FC236}">
                <a16:creationId xmlns:a16="http://schemas.microsoft.com/office/drawing/2014/main" id="{E083E421-052C-FDCB-39AF-9E6798EB0FC5}"/>
              </a:ext>
            </a:extLst>
          </p:cNvPr>
          <p:cNvSpPr>
            <a:spLocks noGrp="1"/>
          </p:cNvSpPr>
          <p:nvPr>
            <p:ph type="body" sz="quarter" idx="38" hasCustomPrompt="1"/>
          </p:nvPr>
        </p:nvSpPr>
        <p:spPr>
          <a:xfrm>
            <a:off x="803639" y="2811648"/>
            <a:ext cx="1765410" cy="331694"/>
          </a:xfrm>
        </p:spPr>
        <p:txBody>
          <a:bodyPr anchor="b">
            <a:noAutofit/>
          </a:bodyPr>
          <a:lstStyle>
            <a:lvl1pPr marL="0" indent="0" algn="l">
              <a:buNone/>
              <a:defRPr sz="1600" b="1">
                <a:solidFill>
                  <a:srgbClr val="22B990"/>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72" name="Text Placeholder 2">
            <a:extLst>
              <a:ext uri="{FF2B5EF4-FFF2-40B4-BE49-F238E27FC236}">
                <a16:creationId xmlns:a16="http://schemas.microsoft.com/office/drawing/2014/main" id="{BF03B032-3998-6E25-4C93-908A9A106954}"/>
              </a:ext>
            </a:extLst>
          </p:cNvPr>
          <p:cNvSpPr>
            <a:spLocks noGrp="1"/>
          </p:cNvSpPr>
          <p:nvPr>
            <p:ph type="body" idx="39" hasCustomPrompt="1"/>
          </p:nvPr>
        </p:nvSpPr>
        <p:spPr>
          <a:xfrm>
            <a:off x="803639" y="2049773"/>
            <a:ext cx="2605256" cy="486643"/>
          </a:xfrm>
        </p:spPr>
        <p:txBody>
          <a:bodyP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73" name="Text Placeholder 2">
            <a:extLst>
              <a:ext uri="{FF2B5EF4-FFF2-40B4-BE49-F238E27FC236}">
                <a16:creationId xmlns:a16="http://schemas.microsoft.com/office/drawing/2014/main" id="{120AE6E1-4396-8F79-AB08-97600B9FD3D4}"/>
              </a:ext>
            </a:extLst>
          </p:cNvPr>
          <p:cNvSpPr>
            <a:spLocks noGrp="1"/>
          </p:cNvSpPr>
          <p:nvPr>
            <p:ph type="body" idx="40" hasCustomPrompt="1"/>
          </p:nvPr>
        </p:nvSpPr>
        <p:spPr>
          <a:xfrm>
            <a:off x="803639" y="3267078"/>
            <a:ext cx="2605256" cy="486643"/>
          </a:xfrm>
        </p:spPr>
        <p:txBody>
          <a:bodyP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74" name="Text Placeholder 35">
            <a:extLst>
              <a:ext uri="{FF2B5EF4-FFF2-40B4-BE49-F238E27FC236}">
                <a16:creationId xmlns:a16="http://schemas.microsoft.com/office/drawing/2014/main" id="{0FCB1373-A47A-89C3-0172-E687AB3814FA}"/>
              </a:ext>
            </a:extLst>
          </p:cNvPr>
          <p:cNvSpPr>
            <a:spLocks noGrp="1"/>
          </p:cNvSpPr>
          <p:nvPr>
            <p:ph type="body" sz="quarter" idx="41" hasCustomPrompt="1"/>
          </p:nvPr>
        </p:nvSpPr>
        <p:spPr>
          <a:xfrm>
            <a:off x="803639" y="4034161"/>
            <a:ext cx="1765410" cy="331694"/>
          </a:xfrm>
        </p:spPr>
        <p:txBody>
          <a:bodyPr anchor="b">
            <a:noAutofit/>
          </a:bodyPr>
          <a:lstStyle>
            <a:lvl1pPr marL="0" indent="0" algn="l">
              <a:buNone/>
              <a:defRPr sz="1600" b="1">
                <a:solidFill>
                  <a:srgbClr val="3EB1C8"/>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75" name="Text Placeholder 2">
            <a:extLst>
              <a:ext uri="{FF2B5EF4-FFF2-40B4-BE49-F238E27FC236}">
                <a16:creationId xmlns:a16="http://schemas.microsoft.com/office/drawing/2014/main" id="{06E363E7-D351-5D41-7153-47D5CD4CF8F4}"/>
              </a:ext>
            </a:extLst>
          </p:cNvPr>
          <p:cNvSpPr>
            <a:spLocks noGrp="1"/>
          </p:cNvSpPr>
          <p:nvPr>
            <p:ph type="body" idx="42" hasCustomPrompt="1"/>
          </p:nvPr>
        </p:nvSpPr>
        <p:spPr>
          <a:xfrm>
            <a:off x="803639" y="4489591"/>
            <a:ext cx="2605256" cy="486643"/>
          </a:xfrm>
        </p:spPr>
        <p:txBody>
          <a:bodyP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76" name="Text Placeholder 35">
            <a:extLst>
              <a:ext uri="{FF2B5EF4-FFF2-40B4-BE49-F238E27FC236}">
                <a16:creationId xmlns:a16="http://schemas.microsoft.com/office/drawing/2014/main" id="{FF8C9AE0-2FED-2846-64C3-59CA7B5AE878}"/>
              </a:ext>
            </a:extLst>
          </p:cNvPr>
          <p:cNvSpPr>
            <a:spLocks noGrp="1"/>
          </p:cNvSpPr>
          <p:nvPr>
            <p:ph type="body" sz="quarter" idx="43" hasCustomPrompt="1"/>
          </p:nvPr>
        </p:nvSpPr>
        <p:spPr>
          <a:xfrm>
            <a:off x="803639" y="5256674"/>
            <a:ext cx="1765410" cy="331694"/>
          </a:xfrm>
        </p:spPr>
        <p:txBody>
          <a:bodyPr anchor="b">
            <a:noAutofit/>
          </a:bodyPr>
          <a:lstStyle>
            <a:lvl1pPr marL="0" indent="0" algn="l">
              <a:buNone/>
              <a:defRPr sz="1600" b="1">
                <a:solidFill>
                  <a:srgbClr val="007DB2"/>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77" name="Text Placeholder 2">
            <a:extLst>
              <a:ext uri="{FF2B5EF4-FFF2-40B4-BE49-F238E27FC236}">
                <a16:creationId xmlns:a16="http://schemas.microsoft.com/office/drawing/2014/main" id="{5FB5B18E-989E-1B3D-4D73-74DE66DFDB4D}"/>
              </a:ext>
            </a:extLst>
          </p:cNvPr>
          <p:cNvSpPr>
            <a:spLocks noGrp="1"/>
          </p:cNvSpPr>
          <p:nvPr>
            <p:ph type="body" idx="44" hasCustomPrompt="1"/>
          </p:nvPr>
        </p:nvSpPr>
        <p:spPr>
          <a:xfrm>
            <a:off x="803639" y="5712104"/>
            <a:ext cx="2605256" cy="486643"/>
          </a:xfrm>
        </p:spPr>
        <p:txBody>
          <a:bodyP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Tree>
    <p:extLst>
      <p:ext uri="{BB962C8B-B14F-4D97-AF65-F5344CB8AC3E}">
        <p14:creationId xmlns:p14="http://schemas.microsoft.com/office/powerpoint/2010/main" val="39114522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12062CA-7165-DCA9-ACED-50C69687E4C1}"/>
              </a:ext>
            </a:extLst>
          </p:cNvPr>
          <p:cNvSpPr>
            <a:spLocks/>
          </p:cNvSpPr>
          <p:nvPr userDrawn="1"/>
        </p:nvSpPr>
        <p:spPr bwMode="auto">
          <a:xfrm>
            <a:off x="772294" y="1748276"/>
            <a:ext cx="4588267" cy="2834537"/>
          </a:xfrm>
          <a:custGeom>
            <a:avLst/>
            <a:gdLst>
              <a:gd name="T0" fmla="*/ 4117 w 4961"/>
              <a:gd name="T1" fmla="*/ 2584 h 3065"/>
              <a:gd name="T2" fmla="*/ 2794 w 4961"/>
              <a:gd name="T3" fmla="*/ 2938 h 3065"/>
              <a:gd name="T4" fmla="*/ 594 w 4961"/>
              <a:gd name="T5" fmla="*/ 995 h 3065"/>
              <a:gd name="T6" fmla="*/ 419 w 4961"/>
              <a:gd name="T7" fmla="*/ 1529 h 3065"/>
              <a:gd name="T8" fmla="*/ 0 w 4961"/>
              <a:gd name="T9" fmla="*/ 1115 h 3065"/>
              <a:gd name="T10" fmla="*/ 273 w 4961"/>
              <a:gd name="T11" fmla="*/ 281 h 3065"/>
              <a:gd name="T12" fmla="*/ 1104 w 4961"/>
              <a:gd name="T13" fmla="*/ 0 h 3065"/>
              <a:gd name="T14" fmla="*/ 1523 w 4961"/>
              <a:gd name="T15" fmla="*/ 415 h 3065"/>
              <a:gd name="T16" fmla="*/ 988 w 4961"/>
              <a:gd name="T17" fmla="*/ 596 h 3065"/>
              <a:gd name="T18" fmla="*/ 2654 w 4961"/>
              <a:gd name="T19" fmla="*/ 2210 h 3065"/>
              <a:gd name="T20" fmla="*/ 3148 w 4961"/>
              <a:gd name="T21" fmla="*/ 2377 h 3065"/>
              <a:gd name="T22" fmla="*/ 3910 w 4961"/>
              <a:gd name="T23" fmla="*/ 1615 h 3065"/>
              <a:gd name="T24" fmla="*/ 3148 w 4961"/>
              <a:gd name="T25" fmla="*/ 853 h 3065"/>
              <a:gd name="T26" fmla="*/ 2386 w 4961"/>
              <a:gd name="T27" fmla="*/ 1602 h 3065"/>
              <a:gd name="T28" fmla="*/ 1861 w 4961"/>
              <a:gd name="T29" fmla="*/ 1142 h 3065"/>
              <a:gd name="T30" fmla="*/ 3148 w 4961"/>
              <a:gd name="T31" fmla="*/ 245 h 3065"/>
              <a:gd name="T32" fmla="*/ 4117 w 4961"/>
              <a:gd name="T33" fmla="*/ 2584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1" h="3065">
                <a:moveTo>
                  <a:pt x="4117" y="2584"/>
                </a:moveTo>
                <a:cubicBezTo>
                  <a:pt x="3769" y="2931"/>
                  <a:pt x="3266" y="3065"/>
                  <a:pt x="2794" y="2938"/>
                </a:cubicBezTo>
                <a:cubicBezTo>
                  <a:pt x="2318" y="2811"/>
                  <a:pt x="1067" y="1477"/>
                  <a:pt x="594" y="995"/>
                </a:cubicBezTo>
                <a:cubicBezTo>
                  <a:pt x="419" y="1529"/>
                  <a:pt x="419" y="1529"/>
                  <a:pt x="419" y="1529"/>
                </a:cubicBezTo>
                <a:cubicBezTo>
                  <a:pt x="0" y="1115"/>
                  <a:pt x="0" y="1115"/>
                  <a:pt x="0" y="1115"/>
                </a:cubicBezTo>
                <a:cubicBezTo>
                  <a:pt x="273" y="281"/>
                  <a:pt x="273" y="281"/>
                  <a:pt x="273" y="281"/>
                </a:cubicBezTo>
                <a:cubicBezTo>
                  <a:pt x="1104" y="0"/>
                  <a:pt x="1104" y="0"/>
                  <a:pt x="1104" y="0"/>
                </a:cubicBezTo>
                <a:cubicBezTo>
                  <a:pt x="1523" y="415"/>
                  <a:pt x="1523" y="415"/>
                  <a:pt x="1523" y="415"/>
                </a:cubicBezTo>
                <a:cubicBezTo>
                  <a:pt x="988" y="596"/>
                  <a:pt x="988" y="596"/>
                  <a:pt x="988" y="596"/>
                </a:cubicBezTo>
                <a:cubicBezTo>
                  <a:pt x="2654" y="2210"/>
                  <a:pt x="2654" y="2210"/>
                  <a:pt x="2654" y="2210"/>
                </a:cubicBezTo>
                <a:cubicBezTo>
                  <a:pt x="2771" y="2314"/>
                  <a:pt x="2926" y="2377"/>
                  <a:pt x="3148" y="2377"/>
                </a:cubicBezTo>
                <a:cubicBezTo>
                  <a:pt x="3502" y="2377"/>
                  <a:pt x="3910" y="2036"/>
                  <a:pt x="3910" y="1615"/>
                </a:cubicBezTo>
                <a:cubicBezTo>
                  <a:pt x="3910" y="1194"/>
                  <a:pt x="3569" y="853"/>
                  <a:pt x="3148" y="853"/>
                </a:cubicBezTo>
                <a:cubicBezTo>
                  <a:pt x="2731" y="853"/>
                  <a:pt x="2393" y="1187"/>
                  <a:pt x="2386" y="1602"/>
                </a:cubicBezTo>
                <a:cubicBezTo>
                  <a:pt x="1861" y="1142"/>
                  <a:pt x="1861" y="1142"/>
                  <a:pt x="1861" y="1142"/>
                </a:cubicBezTo>
                <a:cubicBezTo>
                  <a:pt x="2058" y="607"/>
                  <a:pt x="2570" y="245"/>
                  <a:pt x="3148" y="245"/>
                </a:cubicBezTo>
                <a:cubicBezTo>
                  <a:pt x="4389" y="245"/>
                  <a:pt x="4961" y="1739"/>
                  <a:pt x="4117" y="258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7" name="Freeform 6">
            <a:extLst>
              <a:ext uri="{FF2B5EF4-FFF2-40B4-BE49-F238E27FC236}">
                <a16:creationId xmlns:a16="http://schemas.microsoft.com/office/drawing/2014/main" id="{9A546C6D-4895-9F04-521E-A2E74FC5419B}"/>
              </a:ext>
            </a:extLst>
          </p:cNvPr>
          <p:cNvSpPr>
            <a:spLocks/>
          </p:cNvSpPr>
          <p:nvPr userDrawn="1"/>
        </p:nvSpPr>
        <p:spPr bwMode="auto">
          <a:xfrm>
            <a:off x="526296" y="3194112"/>
            <a:ext cx="4588267" cy="2834537"/>
          </a:xfrm>
          <a:custGeom>
            <a:avLst/>
            <a:gdLst>
              <a:gd name="T0" fmla="*/ 845 w 4962"/>
              <a:gd name="T1" fmla="*/ 481 h 3065"/>
              <a:gd name="T2" fmla="*/ 2168 w 4962"/>
              <a:gd name="T3" fmla="*/ 126 h 3065"/>
              <a:gd name="T4" fmla="*/ 4368 w 4962"/>
              <a:gd name="T5" fmla="*/ 2070 h 3065"/>
              <a:gd name="T6" fmla="*/ 4542 w 4962"/>
              <a:gd name="T7" fmla="*/ 1535 h 3065"/>
              <a:gd name="T8" fmla="*/ 4962 w 4962"/>
              <a:gd name="T9" fmla="*/ 1950 h 3065"/>
              <a:gd name="T10" fmla="*/ 4689 w 4962"/>
              <a:gd name="T11" fmla="*/ 2783 h 3065"/>
              <a:gd name="T12" fmla="*/ 3858 w 4962"/>
              <a:gd name="T13" fmla="*/ 3065 h 3065"/>
              <a:gd name="T14" fmla="*/ 3439 w 4962"/>
              <a:gd name="T15" fmla="*/ 2650 h 3065"/>
              <a:gd name="T16" fmla="*/ 3974 w 4962"/>
              <a:gd name="T17" fmla="*/ 2469 h 3065"/>
              <a:gd name="T18" fmla="*/ 2307 w 4962"/>
              <a:gd name="T19" fmla="*/ 855 h 3065"/>
              <a:gd name="T20" fmla="*/ 1814 w 4962"/>
              <a:gd name="T21" fmla="*/ 688 h 3065"/>
              <a:gd name="T22" fmla="*/ 1052 w 4962"/>
              <a:gd name="T23" fmla="*/ 1450 h 3065"/>
              <a:gd name="T24" fmla="*/ 1814 w 4962"/>
              <a:gd name="T25" fmla="*/ 2212 h 3065"/>
              <a:gd name="T26" fmla="*/ 2576 w 4962"/>
              <a:gd name="T27" fmla="*/ 1462 h 3065"/>
              <a:gd name="T28" fmla="*/ 3100 w 4962"/>
              <a:gd name="T29" fmla="*/ 1922 h 3065"/>
              <a:gd name="T30" fmla="*/ 1814 w 4962"/>
              <a:gd name="T31" fmla="*/ 2820 h 3065"/>
              <a:gd name="T32" fmla="*/ 845 w 4962"/>
              <a:gd name="T33" fmla="*/ 481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2" h="3065">
                <a:moveTo>
                  <a:pt x="845" y="481"/>
                </a:moveTo>
                <a:cubicBezTo>
                  <a:pt x="1192" y="133"/>
                  <a:pt x="1696" y="0"/>
                  <a:pt x="2168" y="126"/>
                </a:cubicBezTo>
                <a:cubicBezTo>
                  <a:pt x="2644" y="254"/>
                  <a:pt x="3895" y="1588"/>
                  <a:pt x="4368" y="2070"/>
                </a:cubicBezTo>
                <a:cubicBezTo>
                  <a:pt x="4542" y="1535"/>
                  <a:pt x="4542" y="1535"/>
                  <a:pt x="4542" y="1535"/>
                </a:cubicBezTo>
                <a:cubicBezTo>
                  <a:pt x="4962" y="1950"/>
                  <a:pt x="4962" y="1950"/>
                  <a:pt x="4962" y="1950"/>
                </a:cubicBezTo>
                <a:cubicBezTo>
                  <a:pt x="4689" y="2783"/>
                  <a:pt x="4689" y="2783"/>
                  <a:pt x="4689" y="2783"/>
                </a:cubicBezTo>
                <a:cubicBezTo>
                  <a:pt x="3858" y="3065"/>
                  <a:pt x="3858" y="3065"/>
                  <a:pt x="3858" y="3065"/>
                </a:cubicBezTo>
                <a:cubicBezTo>
                  <a:pt x="3439" y="2650"/>
                  <a:pt x="3439" y="2650"/>
                  <a:pt x="3439" y="2650"/>
                </a:cubicBezTo>
                <a:cubicBezTo>
                  <a:pt x="3974" y="2469"/>
                  <a:pt x="3974" y="2469"/>
                  <a:pt x="3974" y="2469"/>
                </a:cubicBezTo>
                <a:cubicBezTo>
                  <a:pt x="2307" y="855"/>
                  <a:pt x="2307" y="855"/>
                  <a:pt x="2307" y="855"/>
                </a:cubicBezTo>
                <a:cubicBezTo>
                  <a:pt x="2191" y="750"/>
                  <a:pt x="2035" y="688"/>
                  <a:pt x="1814" y="688"/>
                </a:cubicBezTo>
                <a:cubicBezTo>
                  <a:pt x="1459" y="688"/>
                  <a:pt x="1052" y="1029"/>
                  <a:pt x="1052" y="1450"/>
                </a:cubicBezTo>
                <a:cubicBezTo>
                  <a:pt x="1052" y="1871"/>
                  <a:pt x="1393" y="2212"/>
                  <a:pt x="1814" y="2212"/>
                </a:cubicBezTo>
                <a:cubicBezTo>
                  <a:pt x="2230" y="2212"/>
                  <a:pt x="2569" y="1877"/>
                  <a:pt x="2576" y="1462"/>
                </a:cubicBezTo>
                <a:cubicBezTo>
                  <a:pt x="3100" y="1922"/>
                  <a:pt x="3100" y="1922"/>
                  <a:pt x="3100" y="1922"/>
                </a:cubicBezTo>
                <a:cubicBezTo>
                  <a:pt x="2904" y="2458"/>
                  <a:pt x="2392" y="2820"/>
                  <a:pt x="1814" y="2820"/>
                </a:cubicBezTo>
                <a:cubicBezTo>
                  <a:pt x="573" y="2820"/>
                  <a:pt x="0" y="1325"/>
                  <a:pt x="845" y="48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3599">
              <a:latin typeface="+mj-lt"/>
            </a:endParaRPr>
          </a:p>
        </p:txBody>
      </p:sp>
      <p:sp>
        <p:nvSpPr>
          <p:cNvPr id="16" name="Title 1">
            <a:extLst>
              <a:ext uri="{FF2B5EF4-FFF2-40B4-BE49-F238E27FC236}">
                <a16:creationId xmlns:a16="http://schemas.microsoft.com/office/drawing/2014/main" id="{9EFCB9F7-07D4-B820-B318-194B658D385D}"/>
              </a:ext>
            </a:extLst>
          </p:cNvPr>
          <p:cNvSpPr>
            <a:spLocks noGrp="1"/>
          </p:cNvSpPr>
          <p:nvPr>
            <p:ph type="title"/>
          </p:nvPr>
        </p:nvSpPr>
        <p:spPr>
          <a:xfrm>
            <a:off x="838200" y="365126"/>
            <a:ext cx="10515600" cy="735762"/>
          </a:xfrm>
        </p:spPr>
        <p:txBody>
          <a:bodyPr>
            <a:normAutofit/>
          </a:bodyPr>
          <a:lstStyle>
            <a:lvl1pPr algn="ctr">
              <a:defRPr sz="3600"/>
            </a:lvl1pPr>
          </a:lstStyle>
          <a:p>
            <a:r>
              <a:rPr lang="en-US"/>
              <a:t>Click to edit Master title style</a:t>
            </a:r>
          </a:p>
        </p:txBody>
      </p:sp>
      <p:sp>
        <p:nvSpPr>
          <p:cNvPr id="17" name="Text Placeholder 35">
            <a:extLst>
              <a:ext uri="{FF2B5EF4-FFF2-40B4-BE49-F238E27FC236}">
                <a16:creationId xmlns:a16="http://schemas.microsoft.com/office/drawing/2014/main" id="{36D023ED-534F-48A5-FD3B-CDA15735C6E1}"/>
              </a:ext>
            </a:extLst>
          </p:cNvPr>
          <p:cNvSpPr>
            <a:spLocks noGrp="1"/>
          </p:cNvSpPr>
          <p:nvPr>
            <p:ph type="body" sz="quarter" idx="33" hasCustomPrompt="1"/>
          </p:nvPr>
        </p:nvSpPr>
        <p:spPr>
          <a:xfrm>
            <a:off x="5982029" y="2464255"/>
            <a:ext cx="1765410" cy="331694"/>
          </a:xfrm>
        </p:spPr>
        <p:txBody>
          <a:bodyPr anchor="b">
            <a:noAutofit/>
          </a:bodyPr>
          <a:lstStyle>
            <a:lvl1pPr marL="0" indent="0" algn="l">
              <a:buNone/>
              <a:defRPr sz="1600" b="1">
                <a:solidFill>
                  <a:srgbClr val="3EB1C8"/>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18" name="Text Placeholder 2">
            <a:extLst>
              <a:ext uri="{FF2B5EF4-FFF2-40B4-BE49-F238E27FC236}">
                <a16:creationId xmlns:a16="http://schemas.microsoft.com/office/drawing/2014/main" id="{01C44865-51DD-DDF9-B941-D98FB618AB4B}"/>
              </a:ext>
            </a:extLst>
          </p:cNvPr>
          <p:cNvSpPr>
            <a:spLocks noGrp="1"/>
          </p:cNvSpPr>
          <p:nvPr>
            <p:ph type="body" idx="39" hasCustomPrompt="1"/>
          </p:nvPr>
        </p:nvSpPr>
        <p:spPr>
          <a:xfrm>
            <a:off x="5982029" y="2929624"/>
            <a:ext cx="2605256" cy="486643"/>
          </a:xfrm>
        </p:spPr>
        <p:txBody>
          <a:bodyP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4" name="Text Placeholder 35">
            <a:extLst>
              <a:ext uri="{FF2B5EF4-FFF2-40B4-BE49-F238E27FC236}">
                <a16:creationId xmlns:a16="http://schemas.microsoft.com/office/drawing/2014/main" id="{2C8A28EB-2EF6-07FB-BAAA-CCCDAB07A600}"/>
              </a:ext>
            </a:extLst>
          </p:cNvPr>
          <p:cNvSpPr>
            <a:spLocks noGrp="1"/>
          </p:cNvSpPr>
          <p:nvPr>
            <p:ph type="body" sz="quarter" idx="40" hasCustomPrompt="1"/>
          </p:nvPr>
        </p:nvSpPr>
        <p:spPr>
          <a:xfrm>
            <a:off x="5982029" y="3806037"/>
            <a:ext cx="1765410" cy="331694"/>
          </a:xfrm>
        </p:spPr>
        <p:txBody>
          <a:bodyPr anchor="b">
            <a:noAutofit/>
          </a:bodyPr>
          <a:lstStyle>
            <a:lvl1pPr marL="0" indent="0" algn="l">
              <a:buNone/>
              <a:defRPr sz="1600" b="1">
                <a:solidFill>
                  <a:srgbClr val="007DB2"/>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5" name="Text Placeholder 2">
            <a:extLst>
              <a:ext uri="{FF2B5EF4-FFF2-40B4-BE49-F238E27FC236}">
                <a16:creationId xmlns:a16="http://schemas.microsoft.com/office/drawing/2014/main" id="{26977CD3-BA13-DCF2-83C5-2E0D64ED2A3D}"/>
              </a:ext>
            </a:extLst>
          </p:cNvPr>
          <p:cNvSpPr>
            <a:spLocks noGrp="1"/>
          </p:cNvSpPr>
          <p:nvPr>
            <p:ph type="body" idx="41" hasCustomPrompt="1"/>
          </p:nvPr>
        </p:nvSpPr>
        <p:spPr>
          <a:xfrm>
            <a:off x="5982029" y="4271406"/>
            <a:ext cx="2605256" cy="486643"/>
          </a:xfrm>
        </p:spPr>
        <p:txBody>
          <a:bodyP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6" name="Text Placeholder 2">
            <a:extLst>
              <a:ext uri="{FF2B5EF4-FFF2-40B4-BE49-F238E27FC236}">
                <a16:creationId xmlns:a16="http://schemas.microsoft.com/office/drawing/2014/main" id="{89D2604D-5DF4-FD25-5DA9-72D07F156A68}"/>
              </a:ext>
            </a:extLst>
          </p:cNvPr>
          <p:cNvSpPr>
            <a:spLocks noGrp="1"/>
          </p:cNvSpPr>
          <p:nvPr>
            <p:ph type="body" idx="13"/>
          </p:nvPr>
        </p:nvSpPr>
        <p:spPr>
          <a:xfrm>
            <a:off x="9019292" y="2416845"/>
            <a:ext cx="2400414" cy="676454"/>
          </a:xfrm>
        </p:spPr>
        <p:txBody>
          <a:bodyPr>
            <a:normAutofit/>
          </a:bodyPr>
          <a:lstStyle>
            <a:lvl1pPr marL="0" indent="0" algn="l">
              <a:buNone/>
              <a:defRPr sz="2000">
                <a:solidFill>
                  <a:srgbClr val="00416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7" name="Text Placeholder 2">
            <a:extLst>
              <a:ext uri="{FF2B5EF4-FFF2-40B4-BE49-F238E27FC236}">
                <a16:creationId xmlns:a16="http://schemas.microsoft.com/office/drawing/2014/main" id="{CE1E95AA-9C25-EDAA-A3C7-567F82D47665}"/>
              </a:ext>
            </a:extLst>
          </p:cNvPr>
          <p:cNvSpPr>
            <a:spLocks noGrp="1"/>
          </p:cNvSpPr>
          <p:nvPr>
            <p:ph type="body" idx="42" hasCustomPrompt="1"/>
          </p:nvPr>
        </p:nvSpPr>
        <p:spPr>
          <a:xfrm>
            <a:off x="9019292" y="3363122"/>
            <a:ext cx="2400414" cy="2421451"/>
          </a:xfrm>
        </p:spPr>
        <p:txBody>
          <a:bodyPr>
            <a:noAutofit/>
          </a:bodyPr>
          <a:lstStyle>
            <a:lvl1pPr marL="0" indent="0" algn="l">
              <a:lnSpc>
                <a:spcPct val="100000"/>
              </a:lnSpc>
              <a:buNone/>
              <a:defRPr sz="12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by companies seek to go above and beyond traditional marketing by promoting environmental core values in the hope that consumers will associate these values with their company or brand.</a:t>
            </a:r>
          </a:p>
        </p:txBody>
      </p:sp>
      <p:sp>
        <p:nvSpPr>
          <p:cNvPr id="38" name="Rectangle 37">
            <a:extLst>
              <a:ext uri="{FF2B5EF4-FFF2-40B4-BE49-F238E27FC236}">
                <a16:creationId xmlns:a16="http://schemas.microsoft.com/office/drawing/2014/main" id="{4047301A-B2CD-4EDF-2836-35BFD266B995}"/>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867264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E4DE8A-052B-722B-C165-442C5B88A8FB}"/>
              </a:ext>
            </a:extLst>
          </p:cNvPr>
          <p:cNvSpPr/>
          <p:nvPr userDrawn="1"/>
        </p:nvSpPr>
        <p:spPr>
          <a:xfrm>
            <a:off x="1588" y="0"/>
            <a:ext cx="60944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3" name="Rectangle 2">
            <a:extLst>
              <a:ext uri="{FF2B5EF4-FFF2-40B4-BE49-F238E27FC236}">
                <a16:creationId xmlns:a16="http://schemas.microsoft.com/office/drawing/2014/main" id="{9B12C7CC-2F8D-69C6-B02A-D2944F0CC2A4}"/>
              </a:ext>
            </a:extLst>
          </p:cNvPr>
          <p:cNvSpPr/>
          <p:nvPr userDrawn="1"/>
        </p:nvSpPr>
        <p:spPr>
          <a:xfrm>
            <a:off x="6096000" y="0"/>
            <a:ext cx="609441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Lato Light" panose="020F0502020204030203" pitchFamily="34" charset="0"/>
            </a:endParaRPr>
          </a:p>
        </p:txBody>
      </p:sp>
      <p:sp>
        <p:nvSpPr>
          <p:cNvPr id="8" name="Oval 7">
            <a:extLst>
              <a:ext uri="{FF2B5EF4-FFF2-40B4-BE49-F238E27FC236}">
                <a16:creationId xmlns:a16="http://schemas.microsoft.com/office/drawing/2014/main" id="{ACB52B75-BB3C-7967-AD7B-F773B7F5D80E}"/>
              </a:ext>
            </a:extLst>
          </p:cNvPr>
          <p:cNvSpPr/>
          <p:nvPr userDrawn="1"/>
        </p:nvSpPr>
        <p:spPr>
          <a:xfrm>
            <a:off x="5471160" y="2688533"/>
            <a:ext cx="1249680" cy="12496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10" name="Oval 9">
            <a:extLst>
              <a:ext uri="{FF2B5EF4-FFF2-40B4-BE49-F238E27FC236}">
                <a16:creationId xmlns:a16="http://schemas.microsoft.com/office/drawing/2014/main" id="{5C0C14D0-2093-28F0-4F0E-130101255F16}"/>
              </a:ext>
            </a:extLst>
          </p:cNvPr>
          <p:cNvSpPr/>
          <p:nvPr userDrawn="1"/>
        </p:nvSpPr>
        <p:spPr>
          <a:xfrm>
            <a:off x="5471160" y="3938213"/>
            <a:ext cx="1249680" cy="12496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j-lt"/>
            </a:endParaRPr>
          </a:p>
        </p:txBody>
      </p:sp>
      <p:sp>
        <p:nvSpPr>
          <p:cNvPr id="13" name="Freeform 878">
            <a:extLst>
              <a:ext uri="{FF2B5EF4-FFF2-40B4-BE49-F238E27FC236}">
                <a16:creationId xmlns:a16="http://schemas.microsoft.com/office/drawing/2014/main" id="{71C611E1-6C9E-E38A-71FE-274F61347570}"/>
              </a:ext>
            </a:extLst>
          </p:cNvPr>
          <p:cNvSpPr>
            <a:spLocks noChangeArrowheads="1"/>
          </p:cNvSpPr>
          <p:nvPr userDrawn="1"/>
        </p:nvSpPr>
        <p:spPr bwMode="auto">
          <a:xfrm>
            <a:off x="5775259" y="3007159"/>
            <a:ext cx="622141" cy="593129"/>
          </a:xfrm>
          <a:custGeom>
            <a:avLst/>
            <a:gdLst/>
            <a:ahLst/>
            <a:cxnLst/>
            <a:rect l="0" t="0" r="r" b="b"/>
            <a:pathLst>
              <a:path w="306028" h="291180">
                <a:moveTo>
                  <a:pt x="127962" y="214558"/>
                </a:moveTo>
                <a:lnTo>
                  <a:pt x="127962" y="244775"/>
                </a:lnTo>
                <a:lnTo>
                  <a:pt x="148508" y="244775"/>
                </a:lnTo>
                <a:cubicBezTo>
                  <a:pt x="149950" y="244775"/>
                  <a:pt x="151392" y="243696"/>
                  <a:pt x="152473" y="242617"/>
                </a:cubicBezTo>
                <a:cubicBezTo>
                  <a:pt x="153555" y="241178"/>
                  <a:pt x="153555" y="239739"/>
                  <a:pt x="153194" y="237941"/>
                </a:cubicBezTo>
                <a:lnTo>
                  <a:pt x="145264" y="217796"/>
                </a:lnTo>
                <a:cubicBezTo>
                  <a:pt x="144543" y="215997"/>
                  <a:pt x="142381" y="214558"/>
                  <a:pt x="140578" y="214558"/>
                </a:cubicBezTo>
                <a:lnTo>
                  <a:pt x="127962" y="214558"/>
                </a:lnTo>
                <a:close/>
                <a:moveTo>
                  <a:pt x="85788" y="184341"/>
                </a:moveTo>
                <a:lnTo>
                  <a:pt x="85788" y="272115"/>
                </a:lnTo>
                <a:cubicBezTo>
                  <a:pt x="85788" y="277870"/>
                  <a:pt x="90114" y="282187"/>
                  <a:pt x="95521" y="282187"/>
                </a:cubicBezTo>
                <a:lnTo>
                  <a:pt x="108858" y="282187"/>
                </a:lnTo>
                <a:cubicBezTo>
                  <a:pt x="114265" y="282187"/>
                  <a:pt x="118590" y="277870"/>
                  <a:pt x="118590" y="272115"/>
                </a:cubicBezTo>
                <a:lnTo>
                  <a:pt x="118590" y="249452"/>
                </a:lnTo>
                <a:lnTo>
                  <a:pt x="118590" y="210241"/>
                </a:lnTo>
                <a:lnTo>
                  <a:pt x="118590" y="184341"/>
                </a:lnTo>
                <a:lnTo>
                  <a:pt x="85788" y="184341"/>
                </a:lnTo>
                <a:close/>
                <a:moveTo>
                  <a:pt x="278994" y="92250"/>
                </a:moveTo>
                <a:lnTo>
                  <a:pt x="278994" y="139734"/>
                </a:lnTo>
                <a:cubicBezTo>
                  <a:pt x="289086" y="137216"/>
                  <a:pt x="296656" y="127504"/>
                  <a:pt x="296656" y="115992"/>
                </a:cubicBezTo>
                <a:cubicBezTo>
                  <a:pt x="296656" y="104121"/>
                  <a:pt x="289086" y="94409"/>
                  <a:pt x="278994" y="92250"/>
                </a:cubicBezTo>
                <a:close/>
                <a:moveTo>
                  <a:pt x="91899" y="81990"/>
                </a:moveTo>
                <a:cubicBezTo>
                  <a:pt x="94369" y="81990"/>
                  <a:pt x="96485" y="84139"/>
                  <a:pt x="96485" y="86647"/>
                </a:cubicBezTo>
                <a:lnTo>
                  <a:pt x="96485" y="146825"/>
                </a:lnTo>
                <a:cubicBezTo>
                  <a:pt x="96485" y="149333"/>
                  <a:pt x="94369" y="151482"/>
                  <a:pt x="91899" y="151482"/>
                </a:cubicBezTo>
                <a:cubicBezTo>
                  <a:pt x="89430" y="151482"/>
                  <a:pt x="87313" y="149333"/>
                  <a:pt x="87313" y="146825"/>
                </a:cubicBezTo>
                <a:lnTo>
                  <a:pt x="87313" y="86647"/>
                </a:lnTo>
                <a:cubicBezTo>
                  <a:pt x="87313" y="84139"/>
                  <a:pt x="89430" y="81990"/>
                  <a:pt x="91899" y="81990"/>
                </a:cubicBezTo>
                <a:close/>
                <a:moveTo>
                  <a:pt x="61912" y="81990"/>
                </a:moveTo>
                <a:cubicBezTo>
                  <a:pt x="64477" y="81990"/>
                  <a:pt x="66308" y="84139"/>
                  <a:pt x="66308" y="86647"/>
                </a:cubicBezTo>
                <a:lnTo>
                  <a:pt x="66308" y="146825"/>
                </a:lnTo>
                <a:cubicBezTo>
                  <a:pt x="66308" y="149333"/>
                  <a:pt x="64477" y="151482"/>
                  <a:pt x="61912" y="151482"/>
                </a:cubicBezTo>
                <a:cubicBezTo>
                  <a:pt x="58981" y="151482"/>
                  <a:pt x="57150" y="149333"/>
                  <a:pt x="57150" y="146825"/>
                </a:cubicBezTo>
                <a:lnTo>
                  <a:pt x="57150" y="86647"/>
                </a:lnTo>
                <a:cubicBezTo>
                  <a:pt x="57150" y="84139"/>
                  <a:pt x="58981" y="81990"/>
                  <a:pt x="61912" y="81990"/>
                </a:cubicBezTo>
                <a:close/>
                <a:moveTo>
                  <a:pt x="247530" y="81108"/>
                </a:moveTo>
                <a:cubicBezTo>
                  <a:pt x="250046" y="80403"/>
                  <a:pt x="252563" y="82167"/>
                  <a:pt x="253281" y="84636"/>
                </a:cubicBezTo>
                <a:cubicBezTo>
                  <a:pt x="253641" y="86753"/>
                  <a:pt x="251844" y="89575"/>
                  <a:pt x="249328" y="89928"/>
                </a:cubicBezTo>
                <a:cubicBezTo>
                  <a:pt x="230278" y="93456"/>
                  <a:pt x="196491" y="98042"/>
                  <a:pt x="144373" y="99100"/>
                </a:cubicBezTo>
                <a:cubicBezTo>
                  <a:pt x="141857" y="99100"/>
                  <a:pt x="139700" y="96984"/>
                  <a:pt x="139700" y="94514"/>
                </a:cubicBezTo>
                <a:cubicBezTo>
                  <a:pt x="139700" y="92045"/>
                  <a:pt x="141497" y="89928"/>
                  <a:pt x="144013" y="89928"/>
                </a:cubicBezTo>
                <a:cubicBezTo>
                  <a:pt x="195772" y="89223"/>
                  <a:pt x="228840" y="84636"/>
                  <a:pt x="247530" y="81108"/>
                </a:cubicBezTo>
                <a:close/>
                <a:moveTo>
                  <a:pt x="68847" y="56637"/>
                </a:moveTo>
                <a:cubicBezTo>
                  <a:pt x="36045" y="56637"/>
                  <a:pt x="9372" y="82897"/>
                  <a:pt x="9372" y="115992"/>
                </a:cubicBezTo>
                <a:cubicBezTo>
                  <a:pt x="9372" y="148728"/>
                  <a:pt x="36045" y="175348"/>
                  <a:pt x="68847" y="175348"/>
                </a:cubicBezTo>
                <a:lnTo>
                  <a:pt x="81102" y="175348"/>
                </a:lnTo>
                <a:lnTo>
                  <a:pt x="118590" y="175348"/>
                </a:lnTo>
                <a:lnTo>
                  <a:pt x="118590" y="56637"/>
                </a:lnTo>
                <a:lnTo>
                  <a:pt x="68847" y="56637"/>
                </a:lnTo>
                <a:close/>
                <a:moveTo>
                  <a:pt x="269982" y="15628"/>
                </a:moveTo>
                <a:cubicBezTo>
                  <a:pt x="253401" y="29297"/>
                  <a:pt x="210867" y="55558"/>
                  <a:pt x="127962" y="56637"/>
                </a:cubicBezTo>
                <a:lnTo>
                  <a:pt x="127962" y="175348"/>
                </a:lnTo>
                <a:cubicBezTo>
                  <a:pt x="210867" y="176427"/>
                  <a:pt x="253401" y="202687"/>
                  <a:pt x="269982" y="216357"/>
                </a:cubicBezTo>
                <a:lnTo>
                  <a:pt x="269982" y="15628"/>
                </a:lnTo>
                <a:close/>
                <a:moveTo>
                  <a:pt x="276110" y="519"/>
                </a:moveTo>
                <a:cubicBezTo>
                  <a:pt x="277912" y="1239"/>
                  <a:pt x="278994" y="2677"/>
                  <a:pt x="278994" y="4836"/>
                </a:cubicBezTo>
                <a:lnTo>
                  <a:pt x="278994" y="82897"/>
                </a:lnTo>
                <a:cubicBezTo>
                  <a:pt x="294133" y="85415"/>
                  <a:pt x="306028" y="99085"/>
                  <a:pt x="306028" y="115992"/>
                </a:cubicBezTo>
                <a:cubicBezTo>
                  <a:pt x="306028" y="132900"/>
                  <a:pt x="294133" y="146569"/>
                  <a:pt x="278994" y="149087"/>
                </a:cubicBezTo>
                <a:lnTo>
                  <a:pt x="278994" y="227149"/>
                </a:lnTo>
                <a:cubicBezTo>
                  <a:pt x="278994" y="228947"/>
                  <a:pt x="277912" y="230746"/>
                  <a:pt x="276110" y="231465"/>
                </a:cubicBezTo>
                <a:cubicBezTo>
                  <a:pt x="275749" y="231465"/>
                  <a:pt x="275029" y="231465"/>
                  <a:pt x="274668" y="231465"/>
                </a:cubicBezTo>
                <a:cubicBezTo>
                  <a:pt x="273226" y="231465"/>
                  <a:pt x="271784" y="231106"/>
                  <a:pt x="271064" y="230026"/>
                </a:cubicBezTo>
                <a:cubicBezTo>
                  <a:pt x="270343" y="229667"/>
                  <a:pt x="232495" y="185780"/>
                  <a:pt x="127962" y="184341"/>
                </a:cubicBezTo>
                <a:lnTo>
                  <a:pt x="127962" y="205565"/>
                </a:lnTo>
                <a:lnTo>
                  <a:pt x="140578" y="205565"/>
                </a:lnTo>
                <a:cubicBezTo>
                  <a:pt x="146346" y="205565"/>
                  <a:pt x="151392" y="209162"/>
                  <a:pt x="153555" y="214558"/>
                </a:cubicBezTo>
                <a:lnTo>
                  <a:pt x="161485" y="234703"/>
                </a:lnTo>
                <a:cubicBezTo>
                  <a:pt x="163287" y="239020"/>
                  <a:pt x="162927" y="243696"/>
                  <a:pt x="160043" y="248013"/>
                </a:cubicBezTo>
                <a:cubicBezTo>
                  <a:pt x="157520" y="251610"/>
                  <a:pt x="153194" y="254128"/>
                  <a:pt x="148508" y="254128"/>
                </a:cubicBezTo>
                <a:lnTo>
                  <a:pt x="127962" y="254128"/>
                </a:lnTo>
                <a:lnTo>
                  <a:pt x="127962" y="272115"/>
                </a:lnTo>
                <a:cubicBezTo>
                  <a:pt x="127962" y="282907"/>
                  <a:pt x="119311" y="291180"/>
                  <a:pt x="108858" y="291180"/>
                </a:cubicBezTo>
                <a:lnTo>
                  <a:pt x="95521" y="291180"/>
                </a:lnTo>
                <a:cubicBezTo>
                  <a:pt x="85067" y="291180"/>
                  <a:pt x="76777" y="282907"/>
                  <a:pt x="76777" y="272115"/>
                </a:cubicBezTo>
                <a:lnTo>
                  <a:pt x="76777" y="184341"/>
                </a:lnTo>
                <a:lnTo>
                  <a:pt x="68847" y="184341"/>
                </a:lnTo>
                <a:cubicBezTo>
                  <a:pt x="30999" y="184341"/>
                  <a:pt x="0" y="153764"/>
                  <a:pt x="0" y="115992"/>
                </a:cubicBezTo>
                <a:cubicBezTo>
                  <a:pt x="0" y="78221"/>
                  <a:pt x="30999" y="47284"/>
                  <a:pt x="68847" y="47284"/>
                </a:cubicBezTo>
                <a:lnTo>
                  <a:pt x="123276" y="47284"/>
                </a:lnTo>
                <a:cubicBezTo>
                  <a:pt x="231413" y="47284"/>
                  <a:pt x="270343" y="2318"/>
                  <a:pt x="271064" y="1598"/>
                </a:cubicBezTo>
                <a:cubicBezTo>
                  <a:pt x="272145" y="159"/>
                  <a:pt x="273947" y="-560"/>
                  <a:pt x="276110" y="519"/>
                </a:cubicBezTo>
                <a:close/>
              </a:path>
            </a:pathLst>
          </a:custGeom>
          <a:solidFill>
            <a:schemeClr val="bg1"/>
          </a:solidFill>
          <a:ln>
            <a:noFill/>
          </a:ln>
          <a:effectLst/>
        </p:spPr>
        <p:txBody>
          <a:bodyPr anchor="ctr"/>
          <a:lstStyle/>
          <a:p>
            <a:endParaRPr lang="en-US" sz="900">
              <a:latin typeface="+mj-lt"/>
            </a:endParaRPr>
          </a:p>
        </p:txBody>
      </p:sp>
      <p:sp>
        <p:nvSpPr>
          <p:cNvPr id="14" name="Freeform 879">
            <a:extLst>
              <a:ext uri="{FF2B5EF4-FFF2-40B4-BE49-F238E27FC236}">
                <a16:creationId xmlns:a16="http://schemas.microsoft.com/office/drawing/2014/main" id="{5A912BFD-662A-E7CE-69E7-2CDA721CD581}"/>
              </a:ext>
            </a:extLst>
          </p:cNvPr>
          <p:cNvSpPr>
            <a:spLocks noChangeArrowheads="1"/>
          </p:cNvSpPr>
          <p:nvPr userDrawn="1"/>
        </p:nvSpPr>
        <p:spPr bwMode="auto">
          <a:xfrm>
            <a:off x="5775259" y="4237699"/>
            <a:ext cx="641483" cy="641483"/>
          </a:xfrm>
          <a:custGeom>
            <a:avLst/>
            <a:gdLst/>
            <a:ahLst/>
            <a:cxnLst/>
            <a:rect l="0" t="0" r="r" b="b"/>
            <a:pathLst>
              <a:path w="315557" h="315553">
                <a:moveTo>
                  <a:pt x="120423" y="282904"/>
                </a:moveTo>
                <a:cubicBezTo>
                  <a:pt x="122124" y="280988"/>
                  <a:pt x="125186" y="280988"/>
                  <a:pt x="126547" y="282904"/>
                </a:cubicBezTo>
                <a:cubicBezTo>
                  <a:pt x="127567" y="284054"/>
                  <a:pt x="128248" y="285203"/>
                  <a:pt x="128248" y="286353"/>
                </a:cubicBezTo>
                <a:cubicBezTo>
                  <a:pt x="128248" y="287885"/>
                  <a:pt x="127567" y="289035"/>
                  <a:pt x="126547" y="290184"/>
                </a:cubicBezTo>
                <a:cubicBezTo>
                  <a:pt x="125866" y="290951"/>
                  <a:pt x="124846" y="291717"/>
                  <a:pt x="123485" y="291717"/>
                </a:cubicBezTo>
                <a:cubicBezTo>
                  <a:pt x="122465" y="291717"/>
                  <a:pt x="121104" y="290951"/>
                  <a:pt x="120423" y="290184"/>
                </a:cubicBezTo>
                <a:cubicBezTo>
                  <a:pt x="119403" y="289035"/>
                  <a:pt x="119063" y="287885"/>
                  <a:pt x="119063" y="286353"/>
                </a:cubicBezTo>
                <a:cubicBezTo>
                  <a:pt x="119063" y="285203"/>
                  <a:pt x="119403" y="284054"/>
                  <a:pt x="120423" y="282904"/>
                </a:cubicBezTo>
                <a:close/>
                <a:moveTo>
                  <a:pt x="53799" y="282904"/>
                </a:moveTo>
                <a:cubicBezTo>
                  <a:pt x="55563" y="280988"/>
                  <a:pt x="58738" y="280988"/>
                  <a:pt x="60502" y="282904"/>
                </a:cubicBezTo>
                <a:cubicBezTo>
                  <a:pt x="61207" y="284054"/>
                  <a:pt x="61560" y="285203"/>
                  <a:pt x="61560" y="286353"/>
                </a:cubicBezTo>
                <a:cubicBezTo>
                  <a:pt x="61560" y="287885"/>
                  <a:pt x="61207" y="289035"/>
                  <a:pt x="60502" y="290184"/>
                </a:cubicBezTo>
                <a:cubicBezTo>
                  <a:pt x="59796" y="290951"/>
                  <a:pt x="58385" y="291717"/>
                  <a:pt x="57327" y="291717"/>
                </a:cubicBezTo>
                <a:cubicBezTo>
                  <a:pt x="55916" y="291717"/>
                  <a:pt x="54504" y="290951"/>
                  <a:pt x="53799" y="290184"/>
                </a:cubicBezTo>
                <a:cubicBezTo>
                  <a:pt x="53093" y="289035"/>
                  <a:pt x="52388" y="287885"/>
                  <a:pt x="52388" y="286353"/>
                </a:cubicBezTo>
                <a:cubicBezTo>
                  <a:pt x="52388" y="285203"/>
                  <a:pt x="53093" y="284054"/>
                  <a:pt x="53799" y="282904"/>
                </a:cubicBezTo>
                <a:close/>
                <a:moveTo>
                  <a:pt x="258865" y="281731"/>
                </a:moveTo>
                <a:lnTo>
                  <a:pt x="258865" y="301161"/>
                </a:lnTo>
                <a:cubicBezTo>
                  <a:pt x="274197" y="307638"/>
                  <a:pt x="290598" y="307638"/>
                  <a:pt x="306286" y="301161"/>
                </a:cubicBezTo>
                <a:lnTo>
                  <a:pt x="306286" y="281731"/>
                </a:lnTo>
                <a:cubicBezTo>
                  <a:pt x="305930" y="281731"/>
                  <a:pt x="305930" y="281731"/>
                  <a:pt x="305573" y="281731"/>
                </a:cubicBezTo>
                <a:cubicBezTo>
                  <a:pt x="305217" y="282091"/>
                  <a:pt x="304860" y="282091"/>
                  <a:pt x="304147" y="282451"/>
                </a:cubicBezTo>
                <a:cubicBezTo>
                  <a:pt x="302721" y="282811"/>
                  <a:pt x="300582" y="283530"/>
                  <a:pt x="298799" y="283890"/>
                </a:cubicBezTo>
                <a:cubicBezTo>
                  <a:pt x="298086" y="284250"/>
                  <a:pt x="297373" y="284250"/>
                  <a:pt x="296303" y="284610"/>
                </a:cubicBezTo>
                <a:cubicBezTo>
                  <a:pt x="294877" y="284969"/>
                  <a:pt x="293094" y="285329"/>
                  <a:pt x="291668" y="285329"/>
                </a:cubicBezTo>
                <a:cubicBezTo>
                  <a:pt x="290955" y="285329"/>
                  <a:pt x="290242" y="285689"/>
                  <a:pt x="289528" y="285689"/>
                </a:cubicBezTo>
                <a:cubicBezTo>
                  <a:pt x="287033" y="285689"/>
                  <a:pt x="284893" y="286049"/>
                  <a:pt x="282754" y="286049"/>
                </a:cubicBezTo>
                <a:lnTo>
                  <a:pt x="282397" y="286049"/>
                </a:lnTo>
                <a:cubicBezTo>
                  <a:pt x="282397" y="286049"/>
                  <a:pt x="282397" y="286049"/>
                  <a:pt x="282041" y="286049"/>
                </a:cubicBezTo>
                <a:cubicBezTo>
                  <a:pt x="279902" y="286049"/>
                  <a:pt x="277762" y="285689"/>
                  <a:pt x="275623" y="285689"/>
                </a:cubicBezTo>
                <a:cubicBezTo>
                  <a:pt x="274553" y="285689"/>
                  <a:pt x="273840" y="285329"/>
                  <a:pt x="273127" y="285329"/>
                </a:cubicBezTo>
                <a:cubicBezTo>
                  <a:pt x="271701" y="285329"/>
                  <a:pt x="269918" y="284969"/>
                  <a:pt x="268492" y="284610"/>
                </a:cubicBezTo>
                <a:cubicBezTo>
                  <a:pt x="267422" y="284250"/>
                  <a:pt x="266709" y="284250"/>
                  <a:pt x="265996" y="283890"/>
                </a:cubicBezTo>
                <a:cubicBezTo>
                  <a:pt x="264213" y="283530"/>
                  <a:pt x="262431" y="282811"/>
                  <a:pt x="260291" y="282451"/>
                </a:cubicBezTo>
                <a:cubicBezTo>
                  <a:pt x="259935" y="282091"/>
                  <a:pt x="259578" y="282091"/>
                  <a:pt x="259222" y="281731"/>
                </a:cubicBezTo>
                <a:cubicBezTo>
                  <a:pt x="258865" y="281731"/>
                  <a:pt x="258865" y="281731"/>
                  <a:pt x="258865" y="281731"/>
                </a:cubicBezTo>
                <a:close/>
                <a:moveTo>
                  <a:pt x="90147" y="280988"/>
                </a:moveTo>
                <a:cubicBezTo>
                  <a:pt x="92528" y="280988"/>
                  <a:pt x="94910" y="283029"/>
                  <a:pt x="94910" y="285410"/>
                </a:cubicBezTo>
                <a:cubicBezTo>
                  <a:pt x="94910" y="288132"/>
                  <a:pt x="92528" y="290173"/>
                  <a:pt x="90147" y="290173"/>
                </a:cubicBezTo>
                <a:cubicBezTo>
                  <a:pt x="87766" y="290173"/>
                  <a:pt x="85725" y="288132"/>
                  <a:pt x="85725" y="285410"/>
                </a:cubicBezTo>
                <a:cubicBezTo>
                  <a:pt x="85725" y="283029"/>
                  <a:pt x="87766" y="280988"/>
                  <a:pt x="90147" y="280988"/>
                </a:cubicBezTo>
                <a:close/>
                <a:moveTo>
                  <a:pt x="9761" y="267589"/>
                </a:moveTo>
                <a:lnTo>
                  <a:pt x="9761" y="287423"/>
                </a:lnTo>
                <a:cubicBezTo>
                  <a:pt x="9761" y="297521"/>
                  <a:pt x="18075" y="306176"/>
                  <a:pt x="28559" y="306176"/>
                </a:cubicBezTo>
                <a:lnTo>
                  <a:pt x="154003" y="306176"/>
                </a:lnTo>
                <a:cubicBezTo>
                  <a:pt x="164126" y="306176"/>
                  <a:pt x="172802" y="297521"/>
                  <a:pt x="172802" y="287423"/>
                </a:cubicBezTo>
                <a:lnTo>
                  <a:pt x="172802" y="267589"/>
                </a:lnTo>
                <a:lnTo>
                  <a:pt x="9761" y="267589"/>
                </a:lnTo>
                <a:close/>
                <a:moveTo>
                  <a:pt x="187192" y="223838"/>
                </a:moveTo>
                <a:lnTo>
                  <a:pt x="215678" y="223838"/>
                </a:lnTo>
                <a:cubicBezTo>
                  <a:pt x="218170" y="223838"/>
                  <a:pt x="220307" y="225879"/>
                  <a:pt x="220307" y="228260"/>
                </a:cubicBezTo>
                <a:cubicBezTo>
                  <a:pt x="220307" y="230982"/>
                  <a:pt x="218170" y="233023"/>
                  <a:pt x="215678" y="233023"/>
                </a:cubicBezTo>
                <a:lnTo>
                  <a:pt x="187192" y="233023"/>
                </a:lnTo>
                <a:cubicBezTo>
                  <a:pt x="184699" y="233023"/>
                  <a:pt x="182563" y="230982"/>
                  <a:pt x="182563" y="228260"/>
                </a:cubicBezTo>
                <a:cubicBezTo>
                  <a:pt x="182563" y="225879"/>
                  <a:pt x="184699" y="223838"/>
                  <a:pt x="187192" y="223838"/>
                </a:cubicBezTo>
                <a:close/>
                <a:moveTo>
                  <a:pt x="121004" y="223838"/>
                </a:moveTo>
                <a:lnTo>
                  <a:pt x="161571" y="223838"/>
                </a:lnTo>
                <a:cubicBezTo>
                  <a:pt x="164129" y="223838"/>
                  <a:pt x="166322" y="225879"/>
                  <a:pt x="166322" y="228260"/>
                </a:cubicBezTo>
                <a:cubicBezTo>
                  <a:pt x="166322" y="230982"/>
                  <a:pt x="164129" y="233023"/>
                  <a:pt x="161571" y="233023"/>
                </a:cubicBezTo>
                <a:lnTo>
                  <a:pt x="121004" y="233023"/>
                </a:lnTo>
                <a:cubicBezTo>
                  <a:pt x="118081" y="233023"/>
                  <a:pt x="115888" y="230982"/>
                  <a:pt x="115888" y="228260"/>
                </a:cubicBezTo>
                <a:cubicBezTo>
                  <a:pt x="115888" y="225879"/>
                  <a:pt x="118081" y="223838"/>
                  <a:pt x="121004" y="223838"/>
                </a:cubicBezTo>
                <a:close/>
                <a:moveTo>
                  <a:pt x="71638" y="223838"/>
                </a:moveTo>
                <a:lnTo>
                  <a:pt x="98225" y="223838"/>
                </a:lnTo>
                <a:cubicBezTo>
                  <a:pt x="100706" y="223838"/>
                  <a:pt x="102833" y="225879"/>
                  <a:pt x="102833" y="228260"/>
                </a:cubicBezTo>
                <a:cubicBezTo>
                  <a:pt x="102833" y="230982"/>
                  <a:pt x="100706" y="233023"/>
                  <a:pt x="98225" y="233023"/>
                </a:cubicBezTo>
                <a:lnTo>
                  <a:pt x="71638" y="233023"/>
                </a:lnTo>
                <a:cubicBezTo>
                  <a:pt x="69156" y="233023"/>
                  <a:pt x="66675" y="230982"/>
                  <a:pt x="66675" y="228260"/>
                </a:cubicBezTo>
                <a:cubicBezTo>
                  <a:pt x="66675" y="225879"/>
                  <a:pt x="69156" y="223838"/>
                  <a:pt x="71638" y="223838"/>
                </a:cubicBezTo>
                <a:close/>
                <a:moveTo>
                  <a:pt x="36236" y="223838"/>
                </a:moveTo>
                <a:lnTo>
                  <a:pt x="42448" y="223838"/>
                </a:lnTo>
                <a:cubicBezTo>
                  <a:pt x="45209" y="223838"/>
                  <a:pt x="47280" y="225879"/>
                  <a:pt x="47280" y="228260"/>
                </a:cubicBezTo>
                <a:cubicBezTo>
                  <a:pt x="47280" y="230982"/>
                  <a:pt x="45209" y="233023"/>
                  <a:pt x="42448" y="233023"/>
                </a:cubicBezTo>
                <a:lnTo>
                  <a:pt x="36236" y="233023"/>
                </a:lnTo>
                <a:cubicBezTo>
                  <a:pt x="33475" y="233023"/>
                  <a:pt x="31750" y="230982"/>
                  <a:pt x="31750" y="228260"/>
                </a:cubicBezTo>
                <a:cubicBezTo>
                  <a:pt x="31750" y="225879"/>
                  <a:pt x="33475" y="223838"/>
                  <a:pt x="36236" y="223838"/>
                </a:cubicBezTo>
                <a:close/>
                <a:moveTo>
                  <a:pt x="95124" y="196850"/>
                </a:moveTo>
                <a:lnTo>
                  <a:pt x="134707" y="196850"/>
                </a:lnTo>
                <a:cubicBezTo>
                  <a:pt x="137203" y="196850"/>
                  <a:pt x="139343" y="198614"/>
                  <a:pt x="139343" y="201436"/>
                </a:cubicBezTo>
                <a:cubicBezTo>
                  <a:pt x="139343" y="203906"/>
                  <a:pt x="137203" y="206022"/>
                  <a:pt x="134707" y="206022"/>
                </a:cubicBezTo>
                <a:lnTo>
                  <a:pt x="95124" y="206022"/>
                </a:lnTo>
                <a:cubicBezTo>
                  <a:pt x="92627" y="206022"/>
                  <a:pt x="90488" y="203906"/>
                  <a:pt x="90488" y="201436"/>
                </a:cubicBezTo>
                <a:cubicBezTo>
                  <a:pt x="90488" y="198614"/>
                  <a:pt x="92627" y="196850"/>
                  <a:pt x="95124" y="196850"/>
                </a:cubicBezTo>
                <a:close/>
                <a:moveTo>
                  <a:pt x="36373" y="196850"/>
                </a:moveTo>
                <a:lnTo>
                  <a:pt x="71221" y="196850"/>
                </a:lnTo>
                <a:cubicBezTo>
                  <a:pt x="73711" y="196850"/>
                  <a:pt x="75844" y="198614"/>
                  <a:pt x="75844" y="201436"/>
                </a:cubicBezTo>
                <a:cubicBezTo>
                  <a:pt x="75844" y="203906"/>
                  <a:pt x="73711" y="206022"/>
                  <a:pt x="71221" y="206022"/>
                </a:cubicBezTo>
                <a:lnTo>
                  <a:pt x="36373" y="206022"/>
                </a:lnTo>
                <a:cubicBezTo>
                  <a:pt x="33528" y="206022"/>
                  <a:pt x="31750" y="203906"/>
                  <a:pt x="31750" y="201436"/>
                </a:cubicBezTo>
                <a:cubicBezTo>
                  <a:pt x="31750" y="198614"/>
                  <a:pt x="33528" y="196850"/>
                  <a:pt x="36373" y="196850"/>
                </a:cubicBezTo>
                <a:close/>
                <a:moveTo>
                  <a:pt x="196994" y="166688"/>
                </a:moveTo>
                <a:lnTo>
                  <a:pt x="214168" y="166688"/>
                </a:lnTo>
                <a:cubicBezTo>
                  <a:pt x="216621" y="166688"/>
                  <a:pt x="218724" y="168389"/>
                  <a:pt x="218724" y="171110"/>
                </a:cubicBezTo>
                <a:cubicBezTo>
                  <a:pt x="218724" y="173492"/>
                  <a:pt x="216621" y="175873"/>
                  <a:pt x="214168" y="175873"/>
                </a:cubicBezTo>
                <a:lnTo>
                  <a:pt x="196994" y="175873"/>
                </a:lnTo>
                <a:cubicBezTo>
                  <a:pt x="194191" y="175873"/>
                  <a:pt x="192088" y="173492"/>
                  <a:pt x="192088" y="171110"/>
                </a:cubicBezTo>
                <a:cubicBezTo>
                  <a:pt x="192088" y="168389"/>
                  <a:pt x="194191" y="166688"/>
                  <a:pt x="196994" y="166688"/>
                </a:cubicBezTo>
                <a:close/>
                <a:moveTo>
                  <a:pt x="145960" y="166688"/>
                </a:moveTo>
                <a:lnTo>
                  <a:pt x="174356" y="166688"/>
                </a:lnTo>
                <a:cubicBezTo>
                  <a:pt x="176872" y="166688"/>
                  <a:pt x="179028" y="168389"/>
                  <a:pt x="179028" y="171110"/>
                </a:cubicBezTo>
                <a:cubicBezTo>
                  <a:pt x="179028" y="173492"/>
                  <a:pt x="176872" y="175873"/>
                  <a:pt x="174356" y="175873"/>
                </a:cubicBezTo>
                <a:lnTo>
                  <a:pt x="145960" y="175873"/>
                </a:lnTo>
                <a:cubicBezTo>
                  <a:pt x="143085" y="175873"/>
                  <a:pt x="141288" y="173492"/>
                  <a:pt x="141288" y="171110"/>
                </a:cubicBezTo>
                <a:cubicBezTo>
                  <a:pt x="141288" y="168389"/>
                  <a:pt x="143085" y="166688"/>
                  <a:pt x="145960" y="166688"/>
                </a:cubicBezTo>
                <a:close/>
                <a:moveTo>
                  <a:pt x="71744" y="166688"/>
                </a:moveTo>
                <a:lnTo>
                  <a:pt x="123519" y="166688"/>
                </a:lnTo>
                <a:cubicBezTo>
                  <a:pt x="126053" y="166688"/>
                  <a:pt x="128226" y="168389"/>
                  <a:pt x="128226" y="171110"/>
                </a:cubicBezTo>
                <a:cubicBezTo>
                  <a:pt x="128226" y="173492"/>
                  <a:pt x="126053" y="175873"/>
                  <a:pt x="123519" y="175873"/>
                </a:cubicBezTo>
                <a:lnTo>
                  <a:pt x="71744" y="175873"/>
                </a:lnTo>
                <a:cubicBezTo>
                  <a:pt x="69209" y="175873"/>
                  <a:pt x="66675" y="173492"/>
                  <a:pt x="66675" y="171110"/>
                </a:cubicBezTo>
                <a:cubicBezTo>
                  <a:pt x="66675" y="168389"/>
                  <a:pt x="69209" y="166688"/>
                  <a:pt x="71744" y="166688"/>
                </a:cubicBezTo>
                <a:close/>
                <a:moveTo>
                  <a:pt x="36236" y="166688"/>
                </a:moveTo>
                <a:lnTo>
                  <a:pt x="42448" y="166688"/>
                </a:lnTo>
                <a:cubicBezTo>
                  <a:pt x="45209" y="166688"/>
                  <a:pt x="47280" y="168389"/>
                  <a:pt x="47280" y="171110"/>
                </a:cubicBezTo>
                <a:cubicBezTo>
                  <a:pt x="47280" y="173492"/>
                  <a:pt x="45209" y="175873"/>
                  <a:pt x="42448" y="175873"/>
                </a:cubicBezTo>
                <a:lnTo>
                  <a:pt x="36236" y="175873"/>
                </a:lnTo>
                <a:cubicBezTo>
                  <a:pt x="33475" y="175873"/>
                  <a:pt x="31750" y="173492"/>
                  <a:pt x="31750" y="171110"/>
                </a:cubicBezTo>
                <a:cubicBezTo>
                  <a:pt x="31750" y="168389"/>
                  <a:pt x="33475" y="166688"/>
                  <a:pt x="36236" y="166688"/>
                </a:cubicBezTo>
                <a:close/>
                <a:moveTo>
                  <a:pt x="177977" y="138113"/>
                </a:moveTo>
                <a:lnTo>
                  <a:pt x="202671" y="138113"/>
                </a:lnTo>
                <a:cubicBezTo>
                  <a:pt x="205493" y="138113"/>
                  <a:pt x="207610" y="140154"/>
                  <a:pt x="207610" y="142535"/>
                </a:cubicBezTo>
                <a:cubicBezTo>
                  <a:pt x="207610" y="145257"/>
                  <a:pt x="205493" y="147298"/>
                  <a:pt x="202671" y="147298"/>
                </a:cubicBezTo>
                <a:lnTo>
                  <a:pt x="177977" y="147298"/>
                </a:lnTo>
                <a:cubicBezTo>
                  <a:pt x="175154" y="147298"/>
                  <a:pt x="173038" y="145257"/>
                  <a:pt x="173038" y="142535"/>
                </a:cubicBezTo>
                <a:cubicBezTo>
                  <a:pt x="173038" y="140154"/>
                  <a:pt x="175154" y="138113"/>
                  <a:pt x="177977" y="138113"/>
                </a:cubicBezTo>
                <a:close/>
                <a:moveTo>
                  <a:pt x="111386" y="138113"/>
                </a:moveTo>
                <a:lnTo>
                  <a:pt x="153368" y="138113"/>
                </a:lnTo>
                <a:cubicBezTo>
                  <a:pt x="156238" y="138113"/>
                  <a:pt x="158391" y="140154"/>
                  <a:pt x="158391" y="142535"/>
                </a:cubicBezTo>
                <a:cubicBezTo>
                  <a:pt x="158391" y="145257"/>
                  <a:pt x="156238" y="147298"/>
                  <a:pt x="153368" y="147298"/>
                </a:cubicBezTo>
                <a:lnTo>
                  <a:pt x="111386" y="147298"/>
                </a:lnTo>
                <a:cubicBezTo>
                  <a:pt x="108516" y="147298"/>
                  <a:pt x="106363" y="145257"/>
                  <a:pt x="106363" y="142535"/>
                </a:cubicBezTo>
                <a:cubicBezTo>
                  <a:pt x="106363" y="140154"/>
                  <a:pt x="108516" y="138113"/>
                  <a:pt x="111386" y="138113"/>
                </a:cubicBezTo>
                <a:close/>
                <a:moveTo>
                  <a:pt x="36402" y="138113"/>
                </a:moveTo>
                <a:lnTo>
                  <a:pt x="88652" y="138113"/>
                </a:lnTo>
                <a:cubicBezTo>
                  <a:pt x="91158" y="138113"/>
                  <a:pt x="93305" y="140154"/>
                  <a:pt x="93305" y="142535"/>
                </a:cubicBezTo>
                <a:cubicBezTo>
                  <a:pt x="93305" y="145257"/>
                  <a:pt x="91158" y="147298"/>
                  <a:pt x="88652" y="147298"/>
                </a:cubicBezTo>
                <a:lnTo>
                  <a:pt x="36402" y="147298"/>
                </a:lnTo>
                <a:cubicBezTo>
                  <a:pt x="33539" y="147298"/>
                  <a:pt x="31750" y="145257"/>
                  <a:pt x="31750" y="142535"/>
                </a:cubicBezTo>
                <a:cubicBezTo>
                  <a:pt x="31750" y="140154"/>
                  <a:pt x="33539" y="138113"/>
                  <a:pt x="36402" y="138113"/>
                </a:cubicBezTo>
                <a:close/>
                <a:moveTo>
                  <a:pt x="144751" y="109538"/>
                </a:moveTo>
                <a:lnTo>
                  <a:pt x="182274" y="109538"/>
                </a:lnTo>
                <a:cubicBezTo>
                  <a:pt x="184799" y="109538"/>
                  <a:pt x="186964" y="111579"/>
                  <a:pt x="186964" y="114301"/>
                </a:cubicBezTo>
                <a:cubicBezTo>
                  <a:pt x="186964" y="116682"/>
                  <a:pt x="184799" y="118723"/>
                  <a:pt x="182274" y="118723"/>
                </a:cubicBezTo>
                <a:lnTo>
                  <a:pt x="144751" y="118723"/>
                </a:lnTo>
                <a:cubicBezTo>
                  <a:pt x="141865" y="118723"/>
                  <a:pt x="139700" y="116682"/>
                  <a:pt x="139700" y="114301"/>
                </a:cubicBezTo>
                <a:cubicBezTo>
                  <a:pt x="139700" y="111579"/>
                  <a:pt x="141865" y="109538"/>
                  <a:pt x="144751" y="109538"/>
                </a:cubicBezTo>
                <a:close/>
                <a:moveTo>
                  <a:pt x="71702" y="109538"/>
                </a:moveTo>
                <a:lnTo>
                  <a:pt x="121614" y="109538"/>
                </a:lnTo>
                <a:cubicBezTo>
                  <a:pt x="124486" y="109538"/>
                  <a:pt x="126641" y="111579"/>
                  <a:pt x="126641" y="114301"/>
                </a:cubicBezTo>
                <a:cubicBezTo>
                  <a:pt x="126641" y="116682"/>
                  <a:pt x="124486" y="118723"/>
                  <a:pt x="121614" y="118723"/>
                </a:cubicBezTo>
                <a:lnTo>
                  <a:pt x="71702" y="118723"/>
                </a:lnTo>
                <a:cubicBezTo>
                  <a:pt x="69188" y="118723"/>
                  <a:pt x="66675" y="116682"/>
                  <a:pt x="66675" y="114301"/>
                </a:cubicBezTo>
                <a:cubicBezTo>
                  <a:pt x="66675" y="111579"/>
                  <a:pt x="69188" y="109538"/>
                  <a:pt x="71702" y="109538"/>
                </a:cubicBezTo>
                <a:close/>
                <a:moveTo>
                  <a:pt x="36236" y="109538"/>
                </a:moveTo>
                <a:lnTo>
                  <a:pt x="42448" y="109538"/>
                </a:lnTo>
                <a:cubicBezTo>
                  <a:pt x="45209" y="109538"/>
                  <a:pt x="47280" y="111579"/>
                  <a:pt x="47280" y="114301"/>
                </a:cubicBezTo>
                <a:cubicBezTo>
                  <a:pt x="47280" y="116682"/>
                  <a:pt x="45209" y="118723"/>
                  <a:pt x="42448" y="118723"/>
                </a:cubicBezTo>
                <a:lnTo>
                  <a:pt x="36236" y="118723"/>
                </a:lnTo>
                <a:cubicBezTo>
                  <a:pt x="33475" y="118723"/>
                  <a:pt x="31750" y="116682"/>
                  <a:pt x="31750" y="114301"/>
                </a:cubicBezTo>
                <a:cubicBezTo>
                  <a:pt x="31750" y="111579"/>
                  <a:pt x="33475" y="109538"/>
                  <a:pt x="36236" y="109538"/>
                </a:cubicBezTo>
                <a:close/>
                <a:moveTo>
                  <a:pt x="182522" y="80963"/>
                </a:moveTo>
                <a:lnTo>
                  <a:pt x="215577" y="80963"/>
                </a:lnTo>
                <a:cubicBezTo>
                  <a:pt x="218120" y="80963"/>
                  <a:pt x="220300" y="83004"/>
                  <a:pt x="220300" y="85385"/>
                </a:cubicBezTo>
                <a:cubicBezTo>
                  <a:pt x="220300" y="88107"/>
                  <a:pt x="218120" y="90148"/>
                  <a:pt x="215577" y="90148"/>
                </a:cubicBezTo>
                <a:lnTo>
                  <a:pt x="182522" y="90148"/>
                </a:lnTo>
                <a:cubicBezTo>
                  <a:pt x="179979" y="90148"/>
                  <a:pt x="177800" y="88107"/>
                  <a:pt x="177800" y="85385"/>
                </a:cubicBezTo>
                <a:cubicBezTo>
                  <a:pt x="177800" y="83004"/>
                  <a:pt x="179979" y="80963"/>
                  <a:pt x="182522" y="80963"/>
                </a:cubicBezTo>
                <a:close/>
                <a:moveTo>
                  <a:pt x="128786" y="80963"/>
                </a:moveTo>
                <a:lnTo>
                  <a:pt x="158906" y="80963"/>
                </a:lnTo>
                <a:cubicBezTo>
                  <a:pt x="161387" y="80963"/>
                  <a:pt x="163158" y="83004"/>
                  <a:pt x="163158" y="85385"/>
                </a:cubicBezTo>
                <a:cubicBezTo>
                  <a:pt x="163158" y="88107"/>
                  <a:pt x="161387" y="90148"/>
                  <a:pt x="158906" y="90148"/>
                </a:cubicBezTo>
                <a:lnTo>
                  <a:pt x="128786" y="90148"/>
                </a:lnTo>
                <a:cubicBezTo>
                  <a:pt x="126305" y="90148"/>
                  <a:pt x="123825" y="88107"/>
                  <a:pt x="123825" y="85385"/>
                </a:cubicBezTo>
                <a:cubicBezTo>
                  <a:pt x="123825" y="83004"/>
                  <a:pt x="126305" y="80963"/>
                  <a:pt x="128786" y="80963"/>
                </a:cubicBezTo>
                <a:close/>
                <a:moveTo>
                  <a:pt x="71693" y="80963"/>
                </a:moveTo>
                <a:lnTo>
                  <a:pt x="106106" y="80963"/>
                </a:lnTo>
                <a:cubicBezTo>
                  <a:pt x="108974" y="80963"/>
                  <a:pt x="110766" y="83004"/>
                  <a:pt x="110766" y="85385"/>
                </a:cubicBezTo>
                <a:cubicBezTo>
                  <a:pt x="110766" y="88107"/>
                  <a:pt x="108974" y="90148"/>
                  <a:pt x="106106" y="90148"/>
                </a:cubicBezTo>
                <a:lnTo>
                  <a:pt x="71693" y="90148"/>
                </a:lnTo>
                <a:cubicBezTo>
                  <a:pt x="69184" y="90148"/>
                  <a:pt x="66675" y="88107"/>
                  <a:pt x="66675" y="85385"/>
                </a:cubicBezTo>
                <a:cubicBezTo>
                  <a:pt x="66675" y="83004"/>
                  <a:pt x="69184" y="80963"/>
                  <a:pt x="71693" y="80963"/>
                </a:cubicBezTo>
                <a:close/>
                <a:moveTo>
                  <a:pt x="36236" y="80963"/>
                </a:moveTo>
                <a:lnTo>
                  <a:pt x="42448" y="80963"/>
                </a:lnTo>
                <a:cubicBezTo>
                  <a:pt x="45209" y="80963"/>
                  <a:pt x="47280" y="83004"/>
                  <a:pt x="47280" y="85385"/>
                </a:cubicBezTo>
                <a:cubicBezTo>
                  <a:pt x="47280" y="88107"/>
                  <a:pt x="45209" y="90148"/>
                  <a:pt x="42448" y="90148"/>
                </a:cubicBezTo>
                <a:lnTo>
                  <a:pt x="36236" y="90148"/>
                </a:lnTo>
                <a:cubicBezTo>
                  <a:pt x="33475" y="90148"/>
                  <a:pt x="31750" y="88107"/>
                  <a:pt x="31750" y="85385"/>
                </a:cubicBezTo>
                <a:cubicBezTo>
                  <a:pt x="31750" y="83004"/>
                  <a:pt x="33475" y="80963"/>
                  <a:pt x="36236" y="80963"/>
                </a:cubicBezTo>
                <a:close/>
                <a:moveTo>
                  <a:pt x="305573" y="66925"/>
                </a:moveTo>
                <a:cubicBezTo>
                  <a:pt x="305217" y="67284"/>
                  <a:pt x="304860" y="67284"/>
                  <a:pt x="304147" y="67644"/>
                </a:cubicBezTo>
                <a:cubicBezTo>
                  <a:pt x="302364" y="68364"/>
                  <a:pt x="300582" y="68724"/>
                  <a:pt x="298799" y="69443"/>
                </a:cubicBezTo>
                <a:cubicBezTo>
                  <a:pt x="298086" y="69443"/>
                  <a:pt x="297373" y="69443"/>
                  <a:pt x="296303" y="69803"/>
                </a:cubicBezTo>
                <a:cubicBezTo>
                  <a:pt x="294877" y="70163"/>
                  <a:pt x="293094" y="70163"/>
                  <a:pt x="291668" y="70523"/>
                </a:cubicBezTo>
                <a:cubicBezTo>
                  <a:pt x="290955" y="70523"/>
                  <a:pt x="290242" y="70523"/>
                  <a:pt x="289528" y="70883"/>
                </a:cubicBezTo>
                <a:cubicBezTo>
                  <a:pt x="288815" y="70883"/>
                  <a:pt x="288102" y="70883"/>
                  <a:pt x="287033" y="70883"/>
                </a:cubicBezTo>
                <a:lnTo>
                  <a:pt x="287033" y="276334"/>
                </a:lnTo>
                <a:cubicBezTo>
                  <a:pt x="287746" y="276334"/>
                  <a:pt x="288102" y="276334"/>
                  <a:pt x="288815" y="275974"/>
                </a:cubicBezTo>
                <a:cubicBezTo>
                  <a:pt x="289528" y="275974"/>
                  <a:pt x="290242" y="275974"/>
                  <a:pt x="290955" y="275974"/>
                </a:cubicBezTo>
                <a:cubicBezTo>
                  <a:pt x="292381" y="275614"/>
                  <a:pt x="293451" y="275614"/>
                  <a:pt x="295233" y="274895"/>
                </a:cubicBezTo>
                <a:cubicBezTo>
                  <a:pt x="295946" y="274895"/>
                  <a:pt x="296660" y="274535"/>
                  <a:pt x="297729" y="274535"/>
                </a:cubicBezTo>
                <a:cubicBezTo>
                  <a:pt x="298799" y="274175"/>
                  <a:pt x="299868" y="273815"/>
                  <a:pt x="301295" y="273456"/>
                </a:cubicBezTo>
                <a:cubicBezTo>
                  <a:pt x="302364" y="273096"/>
                  <a:pt x="303077" y="272736"/>
                  <a:pt x="303791" y="272376"/>
                </a:cubicBezTo>
                <a:cubicBezTo>
                  <a:pt x="304860" y="272016"/>
                  <a:pt x="305217" y="271657"/>
                  <a:pt x="306286" y="271297"/>
                </a:cubicBezTo>
                <a:lnTo>
                  <a:pt x="306286" y="66925"/>
                </a:lnTo>
                <a:cubicBezTo>
                  <a:pt x="305930" y="66925"/>
                  <a:pt x="305930" y="66925"/>
                  <a:pt x="305573" y="66925"/>
                </a:cubicBezTo>
                <a:close/>
                <a:moveTo>
                  <a:pt x="258865" y="66925"/>
                </a:moveTo>
                <a:lnTo>
                  <a:pt x="258865" y="271297"/>
                </a:lnTo>
                <a:cubicBezTo>
                  <a:pt x="259578" y="271657"/>
                  <a:pt x="260291" y="272016"/>
                  <a:pt x="261004" y="272376"/>
                </a:cubicBezTo>
                <a:cubicBezTo>
                  <a:pt x="261718" y="272736"/>
                  <a:pt x="262431" y="273096"/>
                  <a:pt x="263500" y="273456"/>
                </a:cubicBezTo>
                <a:cubicBezTo>
                  <a:pt x="264926" y="273815"/>
                  <a:pt x="265996" y="274175"/>
                  <a:pt x="267422" y="274535"/>
                </a:cubicBezTo>
                <a:cubicBezTo>
                  <a:pt x="268135" y="274535"/>
                  <a:pt x="269205" y="274895"/>
                  <a:pt x="269918" y="274895"/>
                </a:cubicBezTo>
                <a:cubicBezTo>
                  <a:pt x="270988" y="275614"/>
                  <a:pt x="272771" y="275614"/>
                  <a:pt x="274197" y="275974"/>
                </a:cubicBezTo>
                <a:cubicBezTo>
                  <a:pt x="274553" y="275974"/>
                  <a:pt x="275266" y="275974"/>
                  <a:pt x="276336" y="275974"/>
                </a:cubicBezTo>
                <a:cubicBezTo>
                  <a:pt x="276693" y="276334"/>
                  <a:pt x="277406" y="276334"/>
                  <a:pt x="277762" y="276334"/>
                </a:cubicBezTo>
                <a:lnTo>
                  <a:pt x="277762" y="70883"/>
                </a:lnTo>
                <a:cubicBezTo>
                  <a:pt x="277049" y="70883"/>
                  <a:pt x="276336" y="70883"/>
                  <a:pt x="275266" y="70883"/>
                </a:cubicBezTo>
                <a:cubicBezTo>
                  <a:pt x="274553" y="70523"/>
                  <a:pt x="274197" y="70523"/>
                  <a:pt x="273127" y="70523"/>
                </a:cubicBezTo>
                <a:cubicBezTo>
                  <a:pt x="271701" y="70163"/>
                  <a:pt x="269918" y="70163"/>
                  <a:pt x="268135" y="69803"/>
                </a:cubicBezTo>
                <a:cubicBezTo>
                  <a:pt x="267422" y="69443"/>
                  <a:pt x="266709" y="69443"/>
                  <a:pt x="265996" y="69443"/>
                </a:cubicBezTo>
                <a:cubicBezTo>
                  <a:pt x="264213" y="68724"/>
                  <a:pt x="262431" y="68364"/>
                  <a:pt x="260291" y="67644"/>
                </a:cubicBezTo>
                <a:cubicBezTo>
                  <a:pt x="259935" y="67284"/>
                  <a:pt x="259578" y="67284"/>
                  <a:pt x="259222" y="66925"/>
                </a:cubicBezTo>
                <a:cubicBezTo>
                  <a:pt x="258865" y="66925"/>
                  <a:pt x="258865" y="66925"/>
                  <a:pt x="258865" y="66925"/>
                </a:cubicBezTo>
                <a:close/>
                <a:moveTo>
                  <a:pt x="269205" y="41018"/>
                </a:moveTo>
                <a:lnTo>
                  <a:pt x="260648" y="57570"/>
                </a:lnTo>
                <a:cubicBezTo>
                  <a:pt x="261004" y="57570"/>
                  <a:pt x="261361" y="57570"/>
                  <a:pt x="261718" y="57929"/>
                </a:cubicBezTo>
                <a:cubicBezTo>
                  <a:pt x="262431" y="57929"/>
                  <a:pt x="263144" y="58649"/>
                  <a:pt x="263857" y="58649"/>
                </a:cubicBezTo>
                <a:cubicBezTo>
                  <a:pt x="265283" y="59009"/>
                  <a:pt x="266709" y="59369"/>
                  <a:pt x="267779" y="59728"/>
                </a:cubicBezTo>
                <a:cubicBezTo>
                  <a:pt x="268849" y="59728"/>
                  <a:pt x="269562" y="60088"/>
                  <a:pt x="270275" y="60448"/>
                </a:cubicBezTo>
                <a:cubicBezTo>
                  <a:pt x="271701" y="60448"/>
                  <a:pt x="272771" y="61168"/>
                  <a:pt x="274197" y="61168"/>
                </a:cubicBezTo>
                <a:cubicBezTo>
                  <a:pt x="274910" y="61168"/>
                  <a:pt x="275623" y="61528"/>
                  <a:pt x="276336" y="61528"/>
                </a:cubicBezTo>
                <a:cubicBezTo>
                  <a:pt x="278119" y="61528"/>
                  <a:pt x="280258" y="61887"/>
                  <a:pt x="282397" y="61887"/>
                </a:cubicBezTo>
                <a:cubicBezTo>
                  <a:pt x="284537" y="61887"/>
                  <a:pt x="286320" y="61528"/>
                  <a:pt x="288459" y="61528"/>
                </a:cubicBezTo>
                <a:cubicBezTo>
                  <a:pt x="289172" y="61528"/>
                  <a:pt x="289885" y="61168"/>
                  <a:pt x="290598" y="61168"/>
                </a:cubicBezTo>
                <a:cubicBezTo>
                  <a:pt x="292024" y="61168"/>
                  <a:pt x="293451" y="60448"/>
                  <a:pt x="294520" y="60448"/>
                </a:cubicBezTo>
                <a:cubicBezTo>
                  <a:pt x="295590" y="60088"/>
                  <a:pt x="296303" y="59728"/>
                  <a:pt x="297016" y="59728"/>
                </a:cubicBezTo>
                <a:cubicBezTo>
                  <a:pt x="298442" y="59369"/>
                  <a:pt x="299512" y="59009"/>
                  <a:pt x="300938" y="58649"/>
                </a:cubicBezTo>
                <a:cubicBezTo>
                  <a:pt x="301651" y="58649"/>
                  <a:pt x="302364" y="57929"/>
                  <a:pt x="303077" y="57929"/>
                </a:cubicBezTo>
                <a:cubicBezTo>
                  <a:pt x="303434" y="57570"/>
                  <a:pt x="303791" y="57570"/>
                  <a:pt x="304147" y="57570"/>
                </a:cubicBezTo>
                <a:lnTo>
                  <a:pt x="295590" y="41018"/>
                </a:lnTo>
                <a:cubicBezTo>
                  <a:pt x="291668" y="42458"/>
                  <a:pt x="287033" y="43177"/>
                  <a:pt x="282397" y="43177"/>
                </a:cubicBezTo>
                <a:cubicBezTo>
                  <a:pt x="277762" y="43177"/>
                  <a:pt x="273484" y="42458"/>
                  <a:pt x="269205" y="41018"/>
                </a:cubicBezTo>
                <a:close/>
                <a:moveTo>
                  <a:pt x="131586" y="23813"/>
                </a:moveTo>
                <a:cubicBezTo>
                  <a:pt x="134408" y="23813"/>
                  <a:pt x="136172" y="25930"/>
                  <a:pt x="136172" y="28399"/>
                </a:cubicBezTo>
                <a:cubicBezTo>
                  <a:pt x="136172" y="31221"/>
                  <a:pt x="134408" y="32985"/>
                  <a:pt x="131586" y="32985"/>
                </a:cubicBezTo>
                <a:cubicBezTo>
                  <a:pt x="129116" y="32985"/>
                  <a:pt x="127000" y="31221"/>
                  <a:pt x="127000" y="28399"/>
                </a:cubicBezTo>
                <a:cubicBezTo>
                  <a:pt x="127000" y="25930"/>
                  <a:pt x="129116" y="23813"/>
                  <a:pt x="131586" y="23813"/>
                </a:cubicBezTo>
                <a:close/>
                <a:moveTo>
                  <a:pt x="71650" y="23813"/>
                </a:moveTo>
                <a:lnTo>
                  <a:pt x="108969" y="23813"/>
                </a:lnTo>
                <a:cubicBezTo>
                  <a:pt x="111812" y="23813"/>
                  <a:pt x="113944" y="25930"/>
                  <a:pt x="113944" y="28399"/>
                </a:cubicBezTo>
                <a:cubicBezTo>
                  <a:pt x="113944" y="31221"/>
                  <a:pt x="111812" y="32985"/>
                  <a:pt x="108969" y="32985"/>
                </a:cubicBezTo>
                <a:lnTo>
                  <a:pt x="71650" y="32985"/>
                </a:lnTo>
                <a:cubicBezTo>
                  <a:pt x="68807" y="32985"/>
                  <a:pt x="66675" y="31221"/>
                  <a:pt x="66675" y="28399"/>
                </a:cubicBezTo>
                <a:cubicBezTo>
                  <a:pt x="66675" y="25930"/>
                  <a:pt x="68807" y="23813"/>
                  <a:pt x="71650" y="23813"/>
                </a:cubicBezTo>
                <a:close/>
                <a:moveTo>
                  <a:pt x="282397" y="15472"/>
                </a:moveTo>
                <a:lnTo>
                  <a:pt x="273840" y="32383"/>
                </a:lnTo>
                <a:cubicBezTo>
                  <a:pt x="279189" y="33822"/>
                  <a:pt x="285606" y="33822"/>
                  <a:pt x="290955" y="32383"/>
                </a:cubicBezTo>
                <a:lnTo>
                  <a:pt x="282397" y="15472"/>
                </a:lnTo>
                <a:close/>
                <a:moveTo>
                  <a:pt x="28559" y="9376"/>
                </a:moveTo>
                <a:cubicBezTo>
                  <a:pt x="18075" y="9376"/>
                  <a:pt x="9761" y="18032"/>
                  <a:pt x="9761" y="28129"/>
                </a:cubicBezTo>
                <a:lnTo>
                  <a:pt x="9761" y="47603"/>
                </a:lnTo>
                <a:lnTo>
                  <a:pt x="172802" y="47603"/>
                </a:lnTo>
                <a:lnTo>
                  <a:pt x="172802" y="28129"/>
                </a:lnTo>
                <a:cubicBezTo>
                  <a:pt x="172802" y="18032"/>
                  <a:pt x="164126" y="9376"/>
                  <a:pt x="154003" y="9376"/>
                </a:cubicBezTo>
                <a:lnTo>
                  <a:pt x="28559" y="9376"/>
                </a:lnTo>
                <a:close/>
                <a:moveTo>
                  <a:pt x="278119" y="3238"/>
                </a:moveTo>
                <a:cubicBezTo>
                  <a:pt x="279902" y="0"/>
                  <a:pt x="284893" y="0"/>
                  <a:pt x="286676" y="3238"/>
                </a:cubicBezTo>
                <a:lnTo>
                  <a:pt x="314844" y="57570"/>
                </a:lnTo>
                <a:cubicBezTo>
                  <a:pt x="314844" y="57570"/>
                  <a:pt x="314844" y="57570"/>
                  <a:pt x="315200" y="57570"/>
                </a:cubicBezTo>
                <a:cubicBezTo>
                  <a:pt x="315200" y="57929"/>
                  <a:pt x="315200" y="58649"/>
                  <a:pt x="315557" y="59009"/>
                </a:cubicBezTo>
                <a:cubicBezTo>
                  <a:pt x="315557" y="59369"/>
                  <a:pt x="315557" y="59369"/>
                  <a:pt x="315557" y="59369"/>
                </a:cubicBezTo>
                <a:lnTo>
                  <a:pt x="315557" y="59728"/>
                </a:lnTo>
                <a:lnTo>
                  <a:pt x="315557" y="274535"/>
                </a:lnTo>
                <a:lnTo>
                  <a:pt x="315557" y="304039"/>
                </a:lnTo>
                <a:cubicBezTo>
                  <a:pt x="315557" y="305838"/>
                  <a:pt x="314487" y="307638"/>
                  <a:pt x="312704" y="308357"/>
                </a:cubicBezTo>
                <a:cubicBezTo>
                  <a:pt x="303077" y="313035"/>
                  <a:pt x="292737" y="315553"/>
                  <a:pt x="282397" y="315553"/>
                </a:cubicBezTo>
                <a:cubicBezTo>
                  <a:pt x="272414" y="315553"/>
                  <a:pt x="261718" y="313035"/>
                  <a:pt x="252091" y="308357"/>
                </a:cubicBezTo>
                <a:cubicBezTo>
                  <a:pt x="250308" y="307638"/>
                  <a:pt x="249238" y="305838"/>
                  <a:pt x="249238" y="304039"/>
                </a:cubicBezTo>
                <a:lnTo>
                  <a:pt x="249238" y="274895"/>
                </a:lnTo>
                <a:cubicBezTo>
                  <a:pt x="249238" y="274535"/>
                  <a:pt x="249238" y="274535"/>
                  <a:pt x="249238" y="274535"/>
                </a:cubicBezTo>
                <a:lnTo>
                  <a:pt x="249238" y="59728"/>
                </a:lnTo>
                <a:lnTo>
                  <a:pt x="249238" y="59369"/>
                </a:lnTo>
                <a:cubicBezTo>
                  <a:pt x="249238" y="59369"/>
                  <a:pt x="249238" y="59369"/>
                  <a:pt x="249238" y="59009"/>
                </a:cubicBezTo>
                <a:cubicBezTo>
                  <a:pt x="249238" y="58649"/>
                  <a:pt x="249595" y="57929"/>
                  <a:pt x="249951" y="57570"/>
                </a:cubicBezTo>
                <a:lnTo>
                  <a:pt x="278119" y="3238"/>
                </a:lnTo>
                <a:close/>
                <a:moveTo>
                  <a:pt x="28559" y="0"/>
                </a:moveTo>
                <a:lnTo>
                  <a:pt x="154003" y="0"/>
                </a:lnTo>
                <a:cubicBezTo>
                  <a:pt x="169548" y="0"/>
                  <a:pt x="182201" y="12622"/>
                  <a:pt x="182201" y="28129"/>
                </a:cubicBezTo>
                <a:lnTo>
                  <a:pt x="182201" y="52292"/>
                </a:lnTo>
                <a:cubicBezTo>
                  <a:pt x="182201" y="55177"/>
                  <a:pt x="180032" y="57340"/>
                  <a:pt x="177502" y="57340"/>
                </a:cubicBezTo>
                <a:lnTo>
                  <a:pt x="9761" y="57340"/>
                </a:lnTo>
                <a:lnTo>
                  <a:pt x="9761" y="258212"/>
                </a:lnTo>
                <a:lnTo>
                  <a:pt x="177502" y="258212"/>
                </a:lnTo>
                <a:cubicBezTo>
                  <a:pt x="180032" y="258212"/>
                  <a:pt x="182201" y="260376"/>
                  <a:pt x="182201" y="262900"/>
                </a:cubicBezTo>
                <a:lnTo>
                  <a:pt x="182201" y="287423"/>
                </a:lnTo>
                <a:cubicBezTo>
                  <a:pt x="182201" y="302930"/>
                  <a:pt x="169548" y="315553"/>
                  <a:pt x="154003" y="315553"/>
                </a:cubicBezTo>
                <a:lnTo>
                  <a:pt x="28559" y="315553"/>
                </a:lnTo>
                <a:cubicBezTo>
                  <a:pt x="13014" y="315553"/>
                  <a:pt x="0" y="302930"/>
                  <a:pt x="0" y="287423"/>
                </a:cubicBezTo>
                <a:lnTo>
                  <a:pt x="0" y="28129"/>
                </a:lnTo>
                <a:cubicBezTo>
                  <a:pt x="0" y="12622"/>
                  <a:pt x="13014" y="0"/>
                  <a:pt x="28559" y="0"/>
                </a:cubicBezTo>
                <a:close/>
              </a:path>
            </a:pathLst>
          </a:custGeom>
          <a:solidFill>
            <a:schemeClr val="bg1"/>
          </a:solidFill>
          <a:ln>
            <a:noFill/>
          </a:ln>
          <a:effectLst/>
        </p:spPr>
        <p:txBody>
          <a:bodyPr anchor="ctr"/>
          <a:lstStyle/>
          <a:p>
            <a:endParaRPr lang="en-US" sz="900">
              <a:latin typeface="+mj-lt"/>
            </a:endParaRPr>
          </a:p>
        </p:txBody>
      </p:sp>
      <p:sp>
        <p:nvSpPr>
          <p:cNvPr id="15" name="Freeform 880">
            <a:extLst>
              <a:ext uri="{FF2B5EF4-FFF2-40B4-BE49-F238E27FC236}">
                <a16:creationId xmlns:a16="http://schemas.microsoft.com/office/drawing/2014/main" id="{6819587B-F781-AA42-AF2C-353226687A27}"/>
              </a:ext>
            </a:extLst>
          </p:cNvPr>
          <p:cNvSpPr>
            <a:spLocks noChangeArrowheads="1"/>
          </p:cNvSpPr>
          <p:nvPr userDrawn="1"/>
        </p:nvSpPr>
        <p:spPr bwMode="auto">
          <a:xfrm>
            <a:off x="8854303" y="2140571"/>
            <a:ext cx="590162" cy="587197"/>
          </a:xfrm>
          <a:custGeom>
            <a:avLst/>
            <a:gdLst/>
            <a:ahLst/>
            <a:cxnLst/>
            <a:rect l="0" t="0" r="r" b="b"/>
            <a:pathLst>
              <a:path w="315552" h="313965">
                <a:moveTo>
                  <a:pt x="90260" y="273378"/>
                </a:moveTo>
                <a:cubicBezTo>
                  <a:pt x="91961" y="271462"/>
                  <a:pt x="95023" y="271462"/>
                  <a:pt x="96724" y="273378"/>
                </a:cubicBezTo>
                <a:cubicBezTo>
                  <a:pt x="97744" y="274145"/>
                  <a:pt x="98085" y="275677"/>
                  <a:pt x="98085" y="277210"/>
                </a:cubicBezTo>
                <a:cubicBezTo>
                  <a:pt x="98085" y="278360"/>
                  <a:pt x="97744" y="279509"/>
                  <a:pt x="96724" y="280659"/>
                </a:cubicBezTo>
                <a:cubicBezTo>
                  <a:pt x="96044" y="281426"/>
                  <a:pt x="95023" y="282192"/>
                  <a:pt x="93662" y="282192"/>
                </a:cubicBezTo>
                <a:cubicBezTo>
                  <a:pt x="92302" y="282192"/>
                  <a:pt x="91281" y="281426"/>
                  <a:pt x="90260" y="280659"/>
                </a:cubicBezTo>
                <a:cubicBezTo>
                  <a:pt x="89580" y="279509"/>
                  <a:pt x="88900" y="278360"/>
                  <a:pt x="88900" y="277210"/>
                </a:cubicBezTo>
                <a:cubicBezTo>
                  <a:pt x="88900" y="275677"/>
                  <a:pt x="89580" y="274145"/>
                  <a:pt x="90260" y="273378"/>
                </a:cubicBezTo>
                <a:close/>
                <a:moveTo>
                  <a:pt x="33110" y="273378"/>
                </a:moveTo>
                <a:cubicBezTo>
                  <a:pt x="34811" y="271462"/>
                  <a:pt x="37873" y="271462"/>
                  <a:pt x="39574" y="273378"/>
                </a:cubicBezTo>
                <a:cubicBezTo>
                  <a:pt x="40594" y="274145"/>
                  <a:pt x="40935" y="275677"/>
                  <a:pt x="40935" y="277210"/>
                </a:cubicBezTo>
                <a:cubicBezTo>
                  <a:pt x="40935" y="278360"/>
                  <a:pt x="40594" y="279509"/>
                  <a:pt x="39574" y="280659"/>
                </a:cubicBezTo>
                <a:cubicBezTo>
                  <a:pt x="38553" y="281426"/>
                  <a:pt x="37533" y="282192"/>
                  <a:pt x="36172" y="282192"/>
                </a:cubicBezTo>
                <a:cubicBezTo>
                  <a:pt x="35152" y="282192"/>
                  <a:pt x="34131" y="281426"/>
                  <a:pt x="33110" y="280659"/>
                </a:cubicBezTo>
                <a:cubicBezTo>
                  <a:pt x="32090" y="279509"/>
                  <a:pt x="31750" y="278360"/>
                  <a:pt x="31750" y="277210"/>
                </a:cubicBezTo>
                <a:cubicBezTo>
                  <a:pt x="31750" y="275677"/>
                  <a:pt x="32090" y="274145"/>
                  <a:pt x="33110" y="273378"/>
                </a:cubicBezTo>
                <a:close/>
                <a:moveTo>
                  <a:pt x="249518" y="271462"/>
                </a:moveTo>
                <a:lnTo>
                  <a:pt x="282295" y="271462"/>
                </a:lnTo>
                <a:cubicBezTo>
                  <a:pt x="284816" y="271462"/>
                  <a:pt x="286977" y="273503"/>
                  <a:pt x="286977" y="276225"/>
                </a:cubicBezTo>
                <a:cubicBezTo>
                  <a:pt x="286977" y="278606"/>
                  <a:pt x="284816" y="280647"/>
                  <a:pt x="282295" y="280647"/>
                </a:cubicBezTo>
                <a:lnTo>
                  <a:pt x="249518" y="280647"/>
                </a:lnTo>
                <a:cubicBezTo>
                  <a:pt x="246636" y="280647"/>
                  <a:pt x="244475" y="278606"/>
                  <a:pt x="244475" y="276225"/>
                </a:cubicBezTo>
                <a:cubicBezTo>
                  <a:pt x="244475" y="273503"/>
                  <a:pt x="246636" y="271462"/>
                  <a:pt x="249518" y="271462"/>
                </a:cubicBezTo>
                <a:close/>
                <a:moveTo>
                  <a:pt x="64747" y="271462"/>
                </a:moveTo>
                <a:cubicBezTo>
                  <a:pt x="67469" y="271462"/>
                  <a:pt x="69510" y="273503"/>
                  <a:pt x="69510" y="276225"/>
                </a:cubicBezTo>
                <a:cubicBezTo>
                  <a:pt x="69510" y="278606"/>
                  <a:pt x="67469" y="280647"/>
                  <a:pt x="64747" y="280647"/>
                </a:cubicBezTo>
                <a:cubicBezTo>
                  <a:pt x="62366" y="280647"/>
                  <a:pt x="60325" y="278606"/>
                  <a:pt x="60325" y="276225"/>
                </a:cubicBezTo>
                <a:cubicBezTo>
                  <a:pt x="60325" y="273503"/>
                  <a:pt x="62366" y="271462"/>
                  <a:pt x="64747" y="271462"/>
                </a:cubicBezTo>
                <a:close/>
                <a:moveTo>
                  <a:pt x="191636" y="251604"/>
                </a:moveTo>
                <a:lnTo>
                  <a:pt x="191636" y="304593"/>
                </a:lnTo>
                <a:lnTo>
                  <a:pt x="286735" y="304593"/>
                </a:lnTo>
                <a:cubicBezTo>
                  <a:pt x="297181" y="304593"/>
                  <a:pt x="305826" y="295941"/>
                  <a:pt x="305826" y="285128"/>
                </a:cubicBezTo>
                <a:lnTo>
                  <a:pt x="305826" y="271069"/>
                </a:lnTo>
                <a:cubicBezTo>
                  <a:pt x="305826" y="260255"/>
                  <a:pt x="297181" y="251604"/>
                  <a:pt x="286735" y="251604"/>
                </a:cubicBezTo>
                <a:lnTo>
                  <a:pt x="191636" y="251604"/>
                </a:lnTo>
                <a:close/>
                <a:moveTo>
                  <a:pt x="28817" y="251604"/>
                </a:moveTo>
                <a:cubicBezTo>
                  <a:pt x="18011" y="251604"/>
                  <a:pt x="9365" y="260255"/>
                  <a:pt x="9365" y="271069"/>
                </a:cubicBezTo>
                <a:lnTo>
                  <a:pt x="9365" y="285128"/>
                </a:lnTo>
                <a:cubicBezTo>
                  <a:pt x="9365" y="295941"/>
                  <a:pt x="18011" y="304593"/>
                  <a:pt x="28817" y="304593"/>
                </a:cubicBezTo>
                <a:lnTo>
                  <a:pt x="122474" y="304593"/>
                </a:lnTo>
                <a:lnTo>
                  <a:pt x="122474" y="251604"/>
                </a:lnTo>
                <a:lnTo>
                  <a:pt x="28817" y="251604"/>
                </a:lnTo>
                <a:close/>
                <a:moveTo>
                  <a:pt x="90260" y="211466"/>
                </a:moveTo>
                <a:cubicBezTo>
                  <a:pt x="91961" y="209550"/>
                  <a:pt x="95023" y="209550"/>
                  <a:pt x="96724" y="211849"/>
                </a:cubicBezTo>
                <a:cubicBezTo>
                  <a:pt x="97744" y="212615"/>
                  <a:pt x="98085" y="213765"/>
                  <a:pt x="98085" y="215297"/>
                </a:cubicBezTo>
                <a:cubicBezTo>
                  <a:pt x="98085" y="216447"/>
                  <a:pt x="97744" y="217980"/>
                  <a:pt x="96724" y="218746"/>
                </a:cubicBezTo>
                <a:cubicBezTo>
                  <a:pt x="96044" y="219896"/>
                  <a:pt x="95023" y="220279"/>
                  <a:pt x="93662" y="220279"/>
                </a:cubicBezTo>
                <a:cubicBezTo>
                  <a:pt x="92302" y="220279"/>
                  <a:pt x="91281" y="219896"/>
                  <a:pt x="90260" y="218746"/>
                </a:cubicBezTo>
                <a:cubicBezTo>
                  <a:pt x="89580" y="217980"/>
                  <a:pt x="88900" y="216447"/>
                  <a:pt x="88900" y="215297"/>
                </a:cubicBezTo>
                <a:cubicBezTo>
                  <a:pt x="88900" y="213765"/>
                  <a:pt x="89580" y="212615"/>
                  <a:pt x="90260" y="211466"/>
                </a:cubicBezTo>
                <a:close/>
                <a:moveTo>
                  <a:pt x="33110" y="211466"/>
                </a:moveTo>
                <a:cubicBezTo>
                  <a:pt x="34811" y="209550"/>
                  <a:pt x="37873" y="209550"/>
                  <a:pt x="39574" y="211849"/>
                </a:cubicBezTo>
                <a:cubicBezTo>
                  <a:pt x="40594" y="212615"/>
                  <a:pt x="40935" y="213765"/>
                  <a:pt x="40935" y="215297"/>
                </a:cubicBezTo>
                <a:cubicBezTo>
                  <a:pt x="40935" y="216447"/>
                  <a:pt x="40594" y="217980"/>
                  <a:pt x="39574" y="218746"/>
                </a:cubicBezTo>
                <a:cubicBezTo>
                  <a:pt x="38553" y="219896"/>
                  <a:pt x="37533" y="220279"/>
                  <a:pt x="36512" y="220279"/>
                </a:cubicBezTo>
                <a:cubicBezTo>
                  <a:pt x="35152" y="220279"/>
                  <a:pt x="34131" y="219896"/>
                  <a:pt x="33110" y="218746"/>
                </a:cubicBezTo>
                <a:cubicBezTo>
                  <a:pt x="32090" y="217980"/>
                  <a:pt x="31750" y="216447"/>
                  <a:pt x="31750" y="215297"/>
                </a:cubicBezTo>
                <a:cubicBezTo>
                  <a:pt x="31750" y="213765"/>
                  <a:pt x="32090" y="212615"/>
                  <a:pt x="33110" y="211466"/>
                </a:cubicBezTo>
                <a:close/>
                <a:moveTo>
                  <a:pt x="249518" y="209550"/>
                </a:moveTo>
                <a:lnTo>
                  <a:pt x="282295" y="209550"/>
                </a:lnTo>
                <a:cubicBezTo>
                  <a:pt x="284816" y="209550"/>
                  <a:pt x="286977" y="211667"/>
                  <a:pt x="286977" y="214136"/>
                </a:cubicBezTo>
                <a:cubicBezTo>
                  <a:pt x="286977" y="216605"/>
                  <a:pt x="284816" y="218722"/>
                  <a:pt x="282295" y="218722"/>
                </a:cubicBezTo>
                <a:lnTo>
                  <a:pt x="249518" y="218722"/>
                </a:lnTo>
                <a:cubicBezTo>
                  <a:pt x="246636" y="218722"/>
                  <a:pt x="244475" y="216605"/>
                  <a:pt x="244475" y="214136"/>
                </a:cubicBezTo>
                <a:cubicBezTo>
                  <a:pt x="244475" y="211667"/>
                  <a:pt x="246636" y="209550"/>
                  <a:pt x="249518" y="209550"/>
                </a:cubicBezTo>
                <a:close/>
                <a:moveTo>
                  <a:pt x="65689" y="209550"/>
                </a:moveTo>
                <a:cubicBezTo>
                  <a:pt x="68755" y="209550"/>
                  <a:pt x="71054" y="211667"/>
                  <a:pt x="71054" y="214136"/>
                </a:cubicBezTo>
                <a:cubicBezTo>
                  <a:pt x="71054" y="216605"/>
                  <a:pt x="68755" y="218722"/>
                  <a:pt x="65689" y="218722"/>
                </a:cubicBezTo>
                <a:cubicBezTo>
                  <a:pt x="63007" y="218722"/>
                  <a:pt x="60325" y="216605"/>
                  <a:pt x="60325" y="214136"/>
                </a:cubicBezTo>
                <a:cubicBezTo>
                  <a:pt x="60325" y="211667"/>
                  <a:pt x="63007" y="209550"/>
                  <a:pt x="65689" y="209550"/>
                </a:cubicBezTo>
                <a:close/>
                <a:moveTo>
                  <a:pt x="191636" y="188883"/>
                </a:moveTo>
                <a:lnTo>
                  <a:pt x="191636" y="242232"/>
                </a:lnTo>
                <a:lnTo>
                  <a:pt x="286735" y="242232"/>
                </a:lnTo>
                <a:cubicBezTo>
                  <a:pt x="297181" y="242232"/>
                  <a:pt x="305826" y="233220"/>
                  <a:pt x="305826" y="222767"/>
                </a:cubicBezTo>
                <a:lnTo>
                  <a:pt x="305826" y="208348"/>
                </a:lnTo>
                <a:cubicBezTo>
                  <a:pt x="305826" y="197534"/>
                  <a:pt x="297181" y="188883"/>
                  <a:pt x="286735" y="188883"/>
                </a:cubicBezTo>
                <a:lnTo>
                  <a:pt x="191636" y="188883"/>
                </a:lnTo>
                <a:close/>
                <a:moveTo>
                  <a:pt x="28817" y="188883"/>
                </a:moveTo>
                <a:cubicBezTo>
                  <a:pt x="18011" y="188883"/>
                  <a:pt x="9365" y="197534"/>
                  <a:pt x="9365" y="208348"/>
                </a:cubicBezTo>
                <a:lnTo>
                  <a:pt x="9365" y="222767"/>
                </a:lnTo>
                <a:cubicBezTo>
                  <a:pt x="9365" y="233220"/>
                  <a:pt x="18011" y="242232"/>
                  <a:pt x="28817" y="242232"/>
                </a:cubicBezTo>
                <a:lnTo>
                  <a:pt x="122474" y="242232"/>
                </a:lnTo>
                <a:lnTo>
                  <a:pt x="122474" y="188883"/>
                </a:lnTo>
                <a:lnTo>
                  <a:pt x="28817" y="188883"/>
                </a:lnTo>
                <a:close/>
                <a:moveTo>
                  <a:pt x="145168" y="9372"/>
                </a:moveTo>
                <a:cubicBezTo>
                  <a:pt x="109146" y="9372"/>
                  <a:pt x="79608" y="38930"/>
                  <a:pt x="79608" y="74977"/>
                </a:cubicBezTo>
                <a:cubicBezTo>
                  <a:pt x="79608" y="78942"/>
                  <a:pt x="79968" y="82907"/>
                  <a:pt x="80689" y="87232"/>
                </a:cubicBezTo>
                <a:cubicBezTo>
                  <a:pt x="81049" y="88674"/>
                  <a:pt x="80689" y="90116"/>
                  <a:pt x="79608" y="91197"/>
                </a:cubicBezTo>
                <a:cubicBezTo>
                  <a:pt x="78527" y="92639"/>
                  <a:pt x="76726" y="93000"/>
                  <a:pt x="74925" y="92639"/>
                </a:cubicBezTo>
                <a:cubicBezTo>
                  <a:pt x="71323" y="91918"/>
                  <a:pt x="67721" y="91197"/>
                  <a:pt x="63759" y="91197"/>
                </a:cubicBezTo>
                <a:cubicBezTo>
                  <a:pt x="58355" y="91197"/>
                  <a:pt x="53312" y="92279"/>
                  <a:pt x="47909" y="94081"/>
                </a:cubicBezTo>
                <a:cubicBezTo>
                  <a:pt x="24855" y="101651"/>
                  <a:pt x="9365" y="124000"/>
                  <a:pt x="9365" y="149232"/>
                </a:cubicBezTo>
                <a:lnTo>
                  <a:pt x="9365" y="160046"/>
                </a:lnTo>
                <a:cubicBezTo>
                  <a:pt x="9365" y="170860"/>
                  <a:pt x="18011" y="179511"/>
                  <a:pt x="28817" y="179511"/>
                </a:cubicBezTo>
                <a:lnTo>
                  <a:pt x="122474" y="179511"/>
                </a:lnTo>
                <a:lnTo>
                  <a:pt x="122474" y="151035"/>
                </a:lnTo>
                <a:lnTo>
                  <a:pt x="87173" y="151035"/>
                </a:lnTo>
                <a:cubicBezTo>
                  <a:pt x="85372" y="151035"/>
                  <a:pt x="83571" y="149953"/>
                  <a:pt x="82850" y="147790"/>
                </a:cubicBezTo>
                <a:cubicBezTo>
                  <a:pt x="82130" y="146348"/>
                  <a:pt x="82490" y="144186"/>
                  <a:pt x="83931" y="142744"/>
                </a:cubicBezTo>
                <a:lnTo>
                  <a:pt x="154173" y="72453"/>
                </a:lnTo>
                <a:cubicBezTo>
                  <a:pt x="155975" y="70651"/>
                  <a:pt x="158856" y="70651"/>
                  <a:pt x="161018" y="72453"/>
                </a:cubicBezTo>
                <a:lnTo>
                  <a:pt x="231260" y="142744"/>
                </a:lnTo>
                <a:cubicBezTo>
                  <a:pt x="232701" y="144186"/>
                  <a:pt x="233061" y="146348"/>
                  <a:pt x="232341" y="147790"/>
                </a:cubicBezTo>
                <a:cubicBezTo>
                  <a:pt x="231621" y="149953"/>
                  <a:pt x="229819" y="151035"/>
                  <a:pt x="227658" y="151035"/>
                </a:cubicBezTo>
                <a:lnTo>
                  <a:pt x="191636" y="151035"/>
                </a:lnTo>
                <a:lnTo>
                  <a:pt x="191636" y="179511"/>
                </a:lnTo>
                <a:lnTo>
                  <a:pt x="286735" y="179511"/>
                </a:lnTo>
                <a:cubicBezTo>
                  <a:pt x="297181" y="179511"/>
                  <a:pt x="305826" y="170860"/>
                  <a:pt x="305826" y="160046"/>
                </a:cubicBezTo>
                <a:lnTo>
                  <a:pt x="305826" y="158604"/>
                </a:lnTo>
                <a:cubicBezTo>
                  <a:pt x="305826" y="140221"/>
                  <a:pt x="294299" y="124000"/>
                  <a:pt x="277369" y="119314"/>
                </a:cubicBezTo>
                <a:cubicBezTo>
                  <a:pt x="276288" y="119314"/>
                  <a:pt x="275568" y="118953"/>
                  <a:pt x="274487" y="118593"/>
                </a:cubicBezTo>
                <a:cubicBezTo>
                  <a:pt x="272686" y="118593"/>
                  <a:pt x="271605" y="117511"/>
                  <a:pt x="270885" y="116069"/>
                </a:cubicBezTo>
                <a:cubicBezTo>
                  <a:pt x="270164" y="114628"/>
                  <a:pt x="270164" y="112825"/>
                  <a:pt x="270885" y="111744"/>
                </a:cubicBezTo>
                <a:cubicBezTo>
                  <a:pt x="274847" y="104895"/>
                  <a:pt x="276288" y="96965"/>
                  <a:pt x="274847" y="89395"/>
                </a:cubicBezTo>
                <a:cubicBezTo>
                  <a:pt x="272686" y="74616"/>
                  <a:pt x="260439" y="62721"/>
                  <a:pt x="245670" y="60918"/>
                </a:cubicBezTo>
                <a:cubicBezTo>
                  <a:pt x="235583" y="59477"/>
                  <a:pt x="225497" y="62721"/>
                  <a:pt x="218292" y="69570"/>
                </a:cubicBezTo>
                <a:cubicBezTo>
                  <a:pt x="216852" y="70651"/>
                  <a:pt x="215050" y="71011"/>
                  <a:pt x="213249" y="70291"/>
                </a:cubicBezTo>
                <a:cubicBezTo>
                  <a:pt x="211808" y="69930"/>
                  <a:pt x="210368" y="68128"/>
                  <a:pt x="210368" y="66686"/>
                </a:cubicBezTo>
                <a:cubicBezTo>
                  <a:pt x="206045" y="33884"/>
                  <a:pt x="177948" y="9372"/>
                  <a:pt x="145168" y="9372"/>
                </a:cubicBezTo>
                <a:close/>
                <a:moveTo>
                  <a:pt x="145168" y="0"/>
                </a:moveTo>
                <a:cubicBezTo>
                  <a:pt x="180109" y="0"/>
                  <a:pt x="210368" y="24151"/>
                  <a:pt x="218292" y="57314"/>
                </a:cubicBezTo>
                <a:cubicBezTo>
                  <a:pt x="226577" y="52267"/>
                  <a:pt x="236664" y="50104"/>
                  <a:pt x="246750" y="51186"/>
                </a:cubicBezTo>
                <a:cubicBezTo>
                  <a:pt x="265842" y="53709"/>
                  <a:pt x="281331" y="68488"/>
                  <a:pt x="284573" y="87593"/>
                </a:cubicBezTo>
                <a:cubicBezTo>
                  <a:pt x="285654" y="95523"/>
                  <a:pt x="284933" y="103814"/>
                  <a:pt x="282052" y="111023"/>
                </a:cubicBezTo>
                <a:cubicBezTo>
                  <a:pt x="301864" y="117151"/>
                  <a:pt x="315552" y="136616"/>
                  <a:pt x="315552" y="158604"/>
                </a:cubicBezTo>
                <a:lnTo>
                  <a:pt x="315552" y="160046"/>
                </a:lnTo>
                <a:cubicBezTo>
                  <a:pt x="315552" y="170139"/>
                  <a:pt x="310149" y="179151"/>
                  <a:pt x="302584" y="184197"/>
                </a:cubicBezTo>
                <a:cubicBezTo>
                  <a:pt x="310149" y="189244"/>
                  <a:pt x="315552" y="198255"/>
                  <a:pt x="315552" y="208348"/>
                </a:cubicBezTo>
                <a:lnTo>
                  <a:pt x="315552" y="222767"/>
                </a:lnTo>
                <a:cubicBezTo>
                  <a:pt x="315552" y="232860"/>
                  <a:pt x="310149" y="241872"/>
                  <a:pt x="302584" y="246918"/>
                </a:cubicBezTo>
                <a:cubicBezTo>
                  <a:pt x="310149" y="251965"/>
                  <a:pt x="315552" y="260616"/>
                  <a:pt x="315552" y="271069"/>
                </a:cubicBezTo>
                <a:lnTo>
                  <a:pt x="315552" y="285128"/>
                </a:lnTo>
                <a:cubicBezTo>
                  <a:pt x="315552" y="300988"/>
                  <a:pt x="302584" y="313965"/>
                  <a:pt x="286735" y="313965"/>
                </a:cubicBezTo>
                <a:lnTo>
                  <a:pt x="186953" y="313965"/>
                </a:lnTo>
                <a:cubicBezTo>
                  <a:pt x="184432" y="313965"/>
                  <a:pt x="181910" y="311802"/>
                  <a:pt x="181910" y="309279"/>
                </a:cubicBezTo>
                <a:lnTo>
                  <a:pt x="181910" y="308918"/>
                </a:lnTo>
                <a:lnTo>
                  <a:pt x="181910" y="146348"/>
                </a:lnTo>
                <a:cubicBezTo>
                  <a:pt x="181910" y="143465"/>
                  <a:pt x="184432" y="141302"/>
                  <a:pt x="186953" y="141302"/>
                </a:cubicBezTo>
                <a:lnTo>
                  <a:pt x="216491" y="141302"/>
                </a:lnTo>
                <a:lnTo>
                  <a:pt x="157415" y="82546"/>
                </a:lnTo>
                <a:lnTo>
                  <a:pt x="99060" y="141302"/>
                </a:lnTo>
                <a:lnTo>
                  <a:pt x="127157" y="141302"/>
                </a:lnTo>
                <a:cubicBezTo>
                  <a:pt x="129679" y="141302"/>
                  <a:pt x="131840" y="143465"/>
                  <a:pt x="131840" y="146348"/>
                </a:cubicBezTo>
                <a:lnTo>
                  <a:pt x="131840" y="308918"/>
                </a:lnTo>
                <a:lnTo>
                  <a:pt x="131840" y="309279"/>
                </a:lnTo>
                <a:cubicBezTo>
                  <a:pt x="131840" y="311802"/>
                  <a:pt x="129679" y="313965"/>
                  <a:pt x="127157" y="313965"/>
                </a:cubicBezTo>
                <a:lnTo>
                  <a:pt x="28817" y="313965"/>
                </a:lnTo>
                <a:cubicBezTo>
                  <a:pt x="12968" y="313965"/>
                  <a:pt x="0" y="300988"/>
                  <a:pt x="0" y="285128"/>
                </a:cubicBezTo>
                <a:lnTo>
                  <a:pt x="0" y="271069"/>
                </a:lnTo>
                <a:cubicBezTo>
                  <a:pt x="0" y="260616"/>
                  <a:pt x="5043" y="251965"/>
                  <a:pt x="12968" y="246918"/>
                </a:cubicBezTo>
                <a:cubicBezTo>
                  <a:pt x="5043" y="241872"/>
                  <a:pt x="0" y="232860"/>
                  <a:pt x="0" y="222767"/>
                </a:cubicBezTo>
                <a:lnTo>
                  <a:pt x="0" y="208348"/>
                </a:lnTo>
                <a:cubicBezTo>
                  <a:pt x="0" y="198255"/>
                  <a:pt x="5043" y="189244"/>
                  <a:pt x="12968" y="184197"/>
                </a:cubicBezTo>
                <a:cubicBezTo>
                  <a:pt x="5043" y="179151"/>
                  <a:pt x="0" y="170139"/>
                  <a:pt x="0" y="160046"/>
                </a:cubicBezTo>
                <a:lnTo>
                  <a:pt x="0" y="149232"/>
                </a:lnTo>
                <a:cubicBezTo>
                  <a:pt x="0" y="119674"/>
                  <a:pt x="18011" y="93721"/>
                  <a:pt x="44667" y="85070"/>
                </a:cubicBezTo>
                <a:cubicBezTo>
                  <a:pt x="53312" y="82186"/>
                  <a:pt x="61597" y="81465"/>
                  <a:pt x="70603" y="82186"/>
                </a:cubicBezTo>
                <a:cubicBezTo>
                  <a:pt x="70242" y="79663"/>
                  <a:pt x="70242" y="77500"/>
                  <a:pt x="70242" y="74977"/>
                </a:cubicBezTo>
                <a:cubicBezTo>
                  <a:pt x="70242" y="33523"/>
                  <a:pt x="103743" y="0"/>
                  <a:pt x="145168" y="0"/>
                </a:cubicBezTo>
                <a:close/>
              </a:path>
            </a:pathLst>
          </a:custGeom>
          <a:solidFill>
            <a:schemeClr val="bg1"/>
          </a:solidFill>
          <a:ln>
            <a:noFill/>
          </a:ln>
          <a:effectLst/>
        </p:spPr>
        <p:txBody>
          <a:bodyPr anchor="ctr"/>
          <a:lstStyle/>
          <a:p>
            <a:endParaRPr lang="en-US" sz="900">
              <a:latin typeface="+mj-lt"/>
            </a:endParaRPr>
          </a:p>
        </p:txBody>
      </p:sp>
      <p:sp>
        <p:nvSpPr>
          <p:cNvPr id="21" name="Freeform 338">
            <a:extLst>
              <a:ext uri="{FF2B5EF4-FFF2-40B4-BE49-F238E27FC236}">
                <a16:creationId xmlns:a16="http://schemas.microsoft.com/office/drawing/2014/main" id="{0325E44D-B957-CA6C-3A34-27AFCAB1099C}"/>
              </a:ext>
            </a:extLst>
          </p:cNvPr>
          <p:cNvSpPr>
            <a:spLocks noChangeArrowheads="1"/>
          </p:cNvSpPr>
          <p:nvPr userDrawn="1"/>
        </p:nvSpPr>
        <p:spPr bwMode="auto">
          <a:xfrm>
            <a:off x="8854303" y="4261876"/>
            <a:ext cx="590163" cy="593128"/>
          </a:xfrm>
          <a:custGeom>
            <a:avLst/>
            <a:gdLst>
              <a:gd name="T0" fmla="*/ 47909 w 877"/>
              <a:gd name="T1" fmla="*/ 249670 h 880"/>
              <a:gd name="T2" fmla="*/ 299703 w 877"/>
              <a:gd name="T3" fmla="*/ 197355 h 880"/>
              <a:gd name="T4" fmla="*/ 49710 w 877"/>
              <a:gd name="T5" fmla="*/ 142514 h 880"/>
              <a:gd name="T6" fmla="*/ 85372 w 877"/>
              <a:gd name="T7" fmla="*/ 172821 h 880"/>
              <a:gd name="T8" fmla="*/ 94738 w 877"/>
              <a:gd name="T9" fmla="*/ 171378 h 880"/>
              <a:gd name="T10" fmla="*/ 96179 w 877"/>
              <a:gd name="T11" fmla="*/ 156585 h 880"/>
              <a:gd name="T12" fmla="*/ 103383 w 877"/>
              <a:gd name="T13" fmla="*/ 154420 h 880"/>
              <a:gd name="T14" fmla="*/ 109507 w 877"/>
              <a:gd name="T15" fmla="*/ 151895 h 880"/>
              <a:gd name="T16" fmla="*/ 115631 w 877"/>
              <a:gd name="T17" fmla="*/ 148287 h 880"/>
              <a:gd name="T18" fmla="*/ 123195 w 877"/>
              <a:gd name="T19" fmla="*/ 142153 h 880"/>
              <a:gd name="T20" fmla="*/ 130760 w 877"/>
              <a:gd name="T21" fmla="*/ 147205 h 880"/>
              <a:gd name="T22" fmla="*/ 129319 w 877"/>
              <a:gd name="T23" fmla="*/ 176790 h 880"/>
              <a:gd name="T24" fmla="*/ 140846 w 877"/>
              <a:gd name="T25" fmla="*/ 150452 h 880"/>
              <a:gd name="T26" fmla="*/ 219734 w 877"/>
              <a:gd name="T27" fmla="*/ 124835 h 880"/>
              <a:gd name="T28" fmla="*/ 49710 w 877"/>
              <a:gd name="T29" fmla="*/ 142514 h 880"/>
              <a:gd name="T30" fmla="*/ 81770 w 877"/>
              <a:gd name="T31" fmla="*/ 82983 h 880"/>
              <a:gd name="T32" fmla="*/ 87173 w 877"/>
              <a:gd name="T33" fmla="*/ 74685 h 880"/>
              <a:gd name="T34" fmla="*/ 75646 w 877"/>
              <a:gd name="T35" fmla="*/ 57366 h 880"/>
              <a:gd name="T36" fmla="*/ 86093 w 877"/>
              <a:gd name="T37" fmla="*/ 31750 h 880"/>
              <a:gd name="T38" fmla="*/ 127878 w 877"/>
              <a:gd name="T39" fmla="*/ 59531 h 880"/>
              <a:gd name="T40" fmla="*/ 136523 w 877"/>
              <a:gd name="T41" fmla="*/ 55202 h 880"/>
              <a:gd name="T42" fmla="*/ 168223 w 877"/>
              <a:gd name="T43" fmla="*/ 12628 h 880"/>
              <a:gd name="T44" fmla="*/ 190917 w 877"/>
              <a:gd name="T45" fmla="*/ 59892 h 880"/>
              <a:gd name="T46" fmla="*/ 202083 w 877"/>
              <a:gd name="T47" fmla="*/ 43295 h 880"/>
              <a:gd name="T48" fmla="*/ 226218 w 877"/>
              <a:gd name="T49" fmla="*/ 33915 h 880"/>
              <a:gd name="T50" fmla="*/ 232702 w 877"/>
              <a:gd name="T51" fmla="*/ 67108 h 880"/>
              <a:gd name="T52" fmla="*/ 236304 w 877"/>
              <a:gd name="T53" fmla="*/ 76128 h 880"/>
              <a:gd name="T54" fmla="*/ 250713 w 877"/>
              <a:gd name="T55" fmla="*/ 74685 h 880"/>
              <a:gd name="T56" fmla="*/ 224777 w 877"/>
              <a:gd name="T57" fmla="*/ 115455 h 880"/>
              <a:gd name="T58" fmla="*/ 221175 w 877"/>
              <a:gd name="T59" fmla="*/ 96332 h 880"/>
              <a:gd name="T60" fmla="*/ 215051 w 877"/>
              <a:gd name="T61" fmla="*/ 114011 h 880"/>
              <a:gd name="T62" fmla="*/ 181911 w 877"/>
              <a:gd name="T63" fmla="*/ 120506 h 880"/>
              <a:gd name="T64" fmla="*/ 172545 w 877"/>
              <a:gd name="T65" fmla="*/ 110043 h 880"/>
              <a:gd name="T66" fmla="*/ 169664 w 877"/>
              <a:gd name="T67" fmla="*/ 127722 h 880"/>
              <a:gd name="T68" fmla="*/ 134002 w 877"/>
              <a:gd name="T69" fmla="*/ 138185 h 880"/>
              <a:gd name="T70" fmla="*/ 129679 w 877"/>
              <a:gd name="T71" fmla="*/ 134938 h 880"/>
              <a:gd name="T72" fmla="*/ 134362 w 877"/>
              <a:gd name="T73" fmla="*/ 109682 h 880"/>
              <a:gd name="T74" fmla="*/ 119593 w 877"/>
              <a:gd name="T75" fmla="*/ 132051 h 880"/>
              <a:gd name="T76" fmla="*/ 114190 w 877"/>
              <a:gd name="T77" fmla="*/ 137463 h 880"/>
              <a:gd name="T78" fmla="*/ 106985 w 877"/>
              <a:gd name="T79" fmla="*/ 142153 h 880"/>
              <a:gd name="T80" fmla="*/ 100141 w 877"/>
              <a:gd name="T81" fmla="*/ 145401 h 880"/>
              <a:gd name="T82" fmla="*/ 92577 w 877"/>
              <a:gd name="T83" fmla="*/ 147205 h 880"/>
              <a:gd name="T84" fmla="*/ 85012 w 877"/>
              <a:gd name="T85" fmla="*/ 147565 h 880"/>
              <a:gd name="T86" fmla="*/ 315553 w 877"/>
              <a:gd name="T87" fmla="*/ 192665 h 880"/>
              <a:gd name="T88" fmla="*/ 315193 w 877"/>
              <a:gd name="T89" fmla="*/ 190861 h 880"/>
              <a:gd name="T90" fmla="*/ 314832 w 877"/>
              <a:gd name="T91" fmla="*/ 190500 h 880"/>
              <a:gd name="T92" fmla="*/ 281692 w 877"/>
              <a:gd name="T93" fmla="*/ 106074 h 880"/>
              <a:gd name="T94" fmla="*/ 227659 w 877"/>
              <a:gd name="T95" fmla="*/ 24534 h 880"/>
              <a:gd name="T96" fmla="*/ 126797 w 877"/>
              <a:gd name="T97" fmla="*/ 27420 h 880"/>
              <a:gd name="T98" fmla="*/ 66280 w 877"/>
              <a:gd name="T99" fmla="*/ 47264 h 880"/>
              <a:gd name="T100" fmla="*/ 1081 w 877"/>
              <a:gd name="T101" fmla="*/ 189778 h 880"/>
              <a:gd name="T102" fmla="*/ 360 w 877"/>
              <a:gd name="T103" fmla="*/ 190861 h 880"/>
              <a:gd name="T104" fmla="*/ 0 w 877"/>
              <a:gd name="T105" fmla="*/ 192304 h 880"/>
              <a:gd name="T106" fmla="*/ 0 w 877"/>
              <a:gd name="T107" fmla="*/ 312088 h 880"/>
              <a:gd name="T108" fmla="*/ 315553 w 877"/>
              <a:gd name="T109" fmla="*/ 193026 h 88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77" h="880">
                <a:moveTo>
                  <a:pt x="849" y="852"/>
                </a:moveTo>
                <a:lnTo>
                  <a:pt x="26" y="852"/>
                </a:lnTo>
                <a:lnTo>
                  <a:pt x="26" y="571"/>
                </a:lnTo>
                <a:lnTo>
                  <a:pt x="123" y="687"/>
                </a:lnTo>
                <a:cubicBezTo>
                  <a:pt x="125" y="690"/>
                  <a:pt x="128" y="692"/>
                  <a:pt x="133" y="692"/>
                </a:cubicBezTo>
                <a:lnTo>
                  <a:pt x="730" y="692"/>
                </a:lnTo>
                <a:cubicBezTo>
                  <a:pt x="734" y="692"/>
                  <a:pt x="737" y="690"/>
                  <a:pt x="739" y="688"/>
                </a:cubicBezTo>
                <a:lnTo>
                  <a:pt x="849" y="569"/>
                </a:lnTo>
                <a:lnTo>
                  <a:pt x="849" y="852"/>
                </a:lnTo>
                <a:close/>
                <a:moveTo>
                  <a:pt x="832" y="547"/>
                </a:moveTo>
                <a:lnTo>
                  <a:pt x="724" y="666"/>
                </a:lnTo>
                <a:lnTo>
                  <a:pt x="139" y="666"/>
                </a:lnTo>
                <a:lnTo>
                  <a:pt x="42" y="547"/>
                </a:lnTo>
                <a:lnTo>
                  <a:pt x="832" y="547"/>
                </a:lnTo>
                <a:close/>
                <a:moveTo>
                  <a:pt x="138" y="395"/>
                </a:moveTo>
                <a:lnTo>
                  <a:pt x="138" y="395"/>
                </a:lnTo>
                <a:cubicBezTo>
                  <a:pt x="159" y="415"/>
                  <a:pt x="186" y="429"/>
                  <a:pt x="216" y="434"/>
                </a:cubicBezTo>
                <a:cubicBezTo>
                  <a:pt x="219" y="434"/>
                  <a:pt x="222" y="435"/>
                  <a:pt x="226" y="435"/>
                </a:cubicBezTo>
                <a:cubicBezTo>
                  <a:pt x="229" y="444"/>
                  <a:pt x="234" y="461"/>
                  <a:pt x="237" y="479"/>
                </a:cubicBezTo>
                <a:cubicBezTo>
                  <a:pt x="238" y="485"/>
                  <a:pt x="244" y="490"/>
                  <a:pt x="250" y="490"/>
                </a:cubicBezTo>
                <a:cubicBezTo>
                  <a:pt x="251" y="490"/>
                  <a:pt x="251" y="490"/>
                  <a:pt x="252" y="490"/>
                </a:cubicBezTo>
                <a:cubicBezTo>
                  <a:pt x="259" y="489"/>
                  <a:pt x="264" y="482"/>
                  <a:pt x="263" y="475"/>
                </a:cubicBezTo>
                <a:cubicBezTo>
                  <a:pt x="262" y="469"/>
                  <a:pt x="259" y="451"/>
                  <a:pt x="254" y="435"/>
                </a:cubicBezTo>
                <a:cubicBezTo>
                  <a:pt x="257" y="435"/>
                  <a:pt x="259" y="435"/>
                  <a:pt x="261" y="434"/>
                </a:cubicBezTo>
                <a:cubicBezTo>
                  <a:pt x="263" y="434"/>
                  <a:pt x="265" y="434"/>
                  <a:pt x="267" y="434"/>
                </a:cubicBezTo>
                <a:cubicBezTo>
                  <a:pt x="269" y="433"/>
                  <a:pt x="272" y="432"/>
                  <a:pt x="274" y="432"/>
                </a:cubicBezTo>
                <a:cubicBezTo>
                  <a:pt x="276" y="431"/>
                  <a:pt x="278" y="431"/>
                  <a:pt x="279" y="430"/>
                </a:cubicBezTo>
                <a:cubicBezTo>
                  <a:pt x="282" y="429"/>
                  <a:pt x="284" y="429"/>
                  <a:pt x="287" y="428"/>
                </a:cubicBezTo>
                <a:cubicBezTo>
                  <a:pt x="288" y="428"/>
                  <a:pt x="290" y="426"/>
                  <a:pt x="292" y="426"/>
                </a:cubicBezTo>
                <a:cubicBezTo>
                  <a:pt x="294" y="425"/>
                  <a:pt x="297" y="424"/>
                  <a:pt x="298" y="424"/>
                </a:cubicBezTo>
                <a:cubicBezTo>
                  <a:pt x="301" y="422"/>
                  <a:pt x="302" y="422"/>
                  <a:pt x="304" y="421"/>
                </a:cubicBezTo>
                <a:cubicBezTo>
                  <a:pt x="307" y="420"/>
                  <a:pt x="308" y="419"/>
                  <a:pt x="310" y="418"/>
                </a:cubicBezTo>
                <a:cubicBezTo>
                  <a:pt x="312" y="416"/>
                  <a:pt x="314" y="415"/>
                  <a:pt x="316" y="414"/>
                </a:cubicBezTo>
                <a:cubicBezTo>
                  <a:pt x="318" y="413"/>
                  <a:pt x="319" y="412"/>
                  <a:pt x="321" y="411"/>
                </a:cubicBezTo>
                <a:cubicBezTo>
                  <a:pt x="323" y="409"/>
                  <a:pt x="326" y="408"/>
                  <a:pt x="328" y="406"/>
                </a:cubicBezTo>
                <a:cubicBezTo>
                  <a:pt x="329" y="405"/>
                  <a:pt x="331" y="404"/>
                  <a:pt x="332" y="403"/>
                </a:cubicBezTo>
                <a:cubicBezTo>
                  <a:pt x="335" y="400"/>
                  <a:pt x="339" y="397"/>
                  <a:pt x="342" y="394"/>
                </a:cubicBezTo>
                <a:cubicBezTo>
                  <a:pt x="346" y="398"/>
                  <a:pt x="350" y="401"/>
                  <a:pt x="355" y="404"/>
                </a:cubicBezTo>
                <a:cubicBezTo>
                  <a:pt x="357" y="404"/>
                  <a:pt x="358" y="405"/>
                  <a:pt x="359" y="406"/>
                </a:cubicBezTo>
                <a:cubicBezTo>
                  <a:pt x="360" y="406"/>
                  <a:pt x="362" y="407"/>
                  <a:pt x="363" y="408"/>
                </a:cubicBezTo>
                <a:cubicBezTo>
                  <a:pt x="363" y="421"/>
                  <a:pt x="360" y="446"/>
                  <a:pt x="348" y="471"/>
                </a:cubicBezTo>
                <a:cubicBezTo>
                  <a:pt x="344" y="477"/>
                  <a:pt x="347" y="485"/>
                  <a:pt x="353" y="489"/>
                </a:cubicBezTo>
                <a:cubicBezTo>
                  <a:pt x="355" y="490"/>
                  <a:pt x="357" y="490"/>
                  <a:pt x="359" y="490"/>
                </a:cubicBezTo>
                <a:cubicBezTo>
                  <a:pt x="364" y="490"/>
                  <a:pt x="369" y="487"/>
                  <a:pt x="371" y="483"/>
                </a:cubicBezTo>
                <a:cubicBezTo>
                  <a:pt x="384" y="458"/>
                  <a:pt x="388" y="433"/>
                  <a:pt x="389" y="416"/>
                </a:cubicBezTo>
                <a:cubicBezTo>
                  <a:pt x="390" y="416"/>
                  <a:pt x="390" y="416"/>
                  <a:pt x="391" y="417"/>
                </a:cubicBezTo>
                <a:cubicBezTo>
                  <a:pt x="428" y="423"/>
                  <a:pt x="465" y="407"/>
                  <a:pt x="487" y="377"/>
                </a:cubicBezTo>
                <a:cubicBezTo>
                  <a:pt x="496" y="381"/>
                  <a:pt x="504" y="384"/>
                  <a:pt x="514" y="386"/>
                </a:cubicBezTo>
                <a:cubicBezTo>
                  <a:pt x="552" y="392"/>
                  <a:pt x="589" y="376"/>
                  <a:pt x="610" y="346"/>
                </a:cubicBezTo>
                <a:cubicBezTo>
                  <a:pt x="625" y="363"/>
                  <a:pt x="645" y="373"/>
                  <a:pt x="668" y="376"/>
                </a:cubicBezTo>
                <a:cubicBezTo>
                  <a:pt x="686" y="379"/>
                  <a:pt x="704" y="377"/>
                  <a:pt x="720" y="371"/>
                </a:cubicBezTo>
                <a:lnTo>
                  <a:pt x="836" y="521"/>
                </a:lnTo>
                <a:lnTo>
                  <a:pt x="40" y="521"/>
                </a:lnTo>
                <a:lnTo>
                  <a:pt x="138" y="395"/>
                </a:lnTo>
                <a:close/>
                <a:moveTo>
                  <a:pt x="121" y="270"/>
                </a:moveTo>
                <a:lnTo>
                  <a:pt x="121" y="270"/>
                </a:lnTo>
                <a:cubicBezTo>
                  <a:pt x="127" y="230"/>
                  <a:pt x="153" y="197"/>
                  <a:pt x="188" y="180"/>
                </a:cubicBezTo>
                <a:cubicBezTo>
                  <a:pt x="196" y="200"/>
                  <a:pt x="210" y="218"/>
                  <a:pt x="227" y="230"/>
                </a:cubicBezTo>
                <a:cubicBezTo>
                  <a:pt x="229" y="232"/>
                  <a:pt x="232" y="232"/>
                  <a:pt x="235" y="232"/>
                </a:cubicBezTo>
                <a:cubicBezTo>
                  <a:pt x="239" y="232"/>
                  <a:pt x="243" y="230"/>
                  <a:pt x="246" y="226"/>
                </a:cubicBezTo>
                <a:cubicBezTo>
                  <a:pt x="250" y="220"/>
                  <a:pt x="248" y="212"/>
                  <a:pt x="242" y="207"/>
                </a:cubicBezTo>
                <a:cubicBezTo>
                  <a:pt x="226" y="197"/>
                  <a:pt x="214" y="179"/>
                  <a:pt x="210" y="160"/>
                </a:cubicBezTo>
                <a:lnTo>
                  <a:pt x="210" y="159"/>
                </a:lnTo>
                <a:cubicBezTo>
                  <a:pt x="209" y="151"/>
                  <a:pt x="209" y="143"/>
                  <a:pt x="210" y="135"/>
                </a:cubicBezTo>
                <a:cubicBezTo>
                  <a:pt x="213" y="116"/>
                  <a:pt x="224" y="99"/>
                  <a:pt x="239" y="88"/>
                </a:cubicBezTo>
                <a:cubicBezTo>
                  <a:pt x="256" y="76"/>
                  <a:pt x="274" y="72"/>
                  <a:pt x="294" y="75"/>
                </a:cubicBezTo>
                <a:cubicBezTo>
                  <a:pt x="315" y="78"/>
                  <a:pt x="333" y="91"/>
                  <a:pt x="345" y="109"/>
                </a:cubicBezTo>
                <a:cubicBezTo>
                  <a:pt x="343" y="129"/>
                  <a:pt x="347" y="147"/>
                  <a:pt x="355" y="165"/>
                </a:cubicBezTo>
                <a:cubicBezTo>
                  <a:pt x="358" y="170"/>
                  <a:pt x="362" y="173"/>
                  <a:pt x="368" y="173"/>
                </a:cubicBezTo>
                <a:cubicBezTo>
                  <a:pt x="369" y="173"/>
                  <a:pt x="371" y="172"/>
                  <a:pt x="373" y="171"/>
                </a:cubicBezTo>
                <a:cubicBezTo>
                  <a:pt x="380" y="168"/>
                  <a:pt x="382" y="160"/>
                  <a:pt x="379" y="153"/>
                </a:cubicBezTo>
                <a:cubicBezTo>
                  <a:pt x="372" y="139"/>
                  <a:pt x="369" y="123"/>
                  <a:pt x="372" y="108"/>
                </a:cubicBezTo>
                <a:cubicBezTo>
                  <a:pt x="372" y="106"/>
                  <a:pt x="372" y="105"/>
                  <a:pt x="372" y="104"/>
                </a:cubicBezTo>
                <a:cubicBezTo>
                  <a:pt x="379" y="59"/>
                  <a:pt x="422" y="28"/>
                  <a:pt x="467" y="35"/>
                </a:cubicBezTo>
                <a:cubicBezTo>
                  <a:pt x="504" y="41"/>
                  <a:pt x="533" y="71"/>
                  <a:pt x="537" y="108"/>
                </a:cubicBezTo>
                <a:cubicBezTo>
                  <a:pt x="527" y="120"/>
                  <a:pt x="521" y="135"/>
                  <a:pt x="519" y="150"/>
                </a:cubicBezTo>
                <a:cubicBezTo>
                  <a:pt x="517" y="158"/>
                  <a:pt x="523" y="164"/>
                  <a:pt x="530" y="166"/>
                </a:cubicBezTo>
                <a:cubicBezTo>
                  <a:pt x="530" y="166"/>
                  <a:pt x="531" y="166"/>
                  <a:pt x="532" y="166"/>
                </a:cubicBezTo>
                <a:cubicBezTo>
                  <a:pt x="538" y="166"/>
                  <a:pt x="544" y="162"/>
                  <a:pt x="545" y="155"/>
                </a:cubicBezTo>
                <a:cubicBezTo>
                  <a:pt x="547" y="142"/>
                  <a:pt x="553" y="130"/>
                  <a:pt x="561" y="120"/>
                </a:cubicBezTo>
                <a:cubicBezTo>
                  <a:pt x="561" y="119"/>
                  <a:pt x="561" y="119"/>
                  <a:pt x="561" y="119"/>
                </a:cubicBezTo>
                <a:cubicBezTo>
                  <a:pt x="578" y="100"/>
                  <a:pt x="604" y="91"/>
                  <a:pt x="628" y="94"/>
                </a:cubicBezTo>
                <a:cubicBezTo>
                  <a:pt x="668" y="101"/>
                  <a:pt x="695" y="138"/>
                  <a:pt x="689" y="178"/>
                </a:cubicBezTo>
                <a:cubicBezTo>
                  <a:pt x="689" y="179"/>
                  <a:pt x="689" y="179"/>
                  <a:pt x="689" y="179"/>
                </a:cubicBezTo>
                <a:cubicBezTo>
                  <a:pt x="674" y="179"/>
                  <a:pt x="660" y="181"/>
                  <a:pt x="646" y="186"/>
                </a:cubicBezTo>
                <a:cubicBezTo>
                  <a:pt x="639" y="189"/>
                  <a:pt x="636" y="197"/>
                  <a:pt x="638" y="204"/>
                </a:cubicBezTo>
                <a:cubicBezTo>
                  <a:pt x="641" y="209"/>
                  <a:pt x="645" y="212"/>
                  <a:pt x="651" y="212"/>
                </a:cubicBezTo>
                <a:cubicBezTo>
                  <a:pt x="652" y="212"/>
                  <a:pt x="654" y="212"/>
                  <a:pt x="656" y="211"/>
                </a:cubicBezTo>
                <a:cubicBezTo>
                  <a:pt x="668" y="205"/>
                  <a:pt x="682" y="204"/>
                  <a:pt x="695" y="206"/>
                </a:cubicBezTo>
                <a:lnTo>
                  <a:pt x="696" y="207"/>
                </a:lnTo>
                <a:cubicBezTo>
                  <a:pt x="735" y="214"/>
                  <a:pt x="762" y="251"/>
                  <a:pt x="755" y="290"/>
                </a:cubicBezTo>
                <a:cubicBezTo>
                  <a:pt x="749" y="330"/>
                  <a:pt x="712" y="356"/>
                  <a:pt x="672" y="351"/>
                </a:cubicBezTo>
                <a:cubicBezTo>
                  <a:pt x="652" y="347"/>
                  <a:pt x="635" y="336"/>
                  <a:pt x="624" y="320"/>
                </a:cubicBezTo>
                <a:cubicBezTo>
                  <a:pt x="625" y="315"/>
                  <a:pt x="627" y="309"/>
                  <a:pt x="628" y="303"/>
                </a:cubicBezTo>
                <a:cubicBezTo>
                  <a:pt x="630" y="295"/>
                  <a:pt x="630" y="287"/>
                  <a:pt x="629" y="278"/>
                </a:cubicBezTo>
                <a:cubicBezTo>
                  <a:pt x="628" y="271"/>
                  <a:pt x="622" y="265"/>
                  <a:pt x="614" y="267"/>
                </a:cubicBezTo>
                <a:cubicBezTo>
                  <a:pt x="607" y="267"/>
                  <a:pt x="602" y="274"/>
                  <a:pt x="603" y="281"/>
                </a:cubicBezTo>
                <a:cubicBezTo>
                  <a:pt x="603" y="287"/>
                  <a:pt x="603" y="293"/>
                  <a:pt x="602" y="299"/>
                </a:cubicBezTo>
                <a:cubicBezTo>
                  <a:pt x="601" y="305"/>
                  <a:pt x="599" y="311"/>
                  <a:pt x="597" y="316"/>
                </a:cubicBezTo>
                <a:cubicBezTo>
                  <a:pt x="584" y="347"/>
                  <a:pt x="551" y="365"/>
                  <a:pt x="519" y="359"/>
                </a:cubicBezTo>
                <a:cubicBezTo>
                  <a:pt x="511" y="358"/>
                  <a:pt x="506" y="356"/>
                  <a:pt x="499" y="354"/>
                </a:cubicBezTo>
                <a:cubicBezTo>
                  <a:pt x="502" y="348"/>
                  <a:pt x="504" y="341"/>
                  <a:pt x="505" y="334"/>
                </a:cubicBezTo>
                <a:cubicBezTo>
                  <a:pt x="507" y="323"/>
                  <a:pt x="507" y="312"/>
                  <a:pt x="504" y="301"/>
                </a:cubicBezTo>
                <a:cubicBezTo>
                  <a:pt x="503" y="294"/>
                  <a:pt x="496" y="289"/>
                  <a:pt x="489" y="290"/>
                </a:cubicBezTo>
                <a:cubicBezTo>
                  <a:pt x="482" y="291"/>
                  <a:pt x="477" y="298"/>
                  <a:pt x="479" y="305"/>
                </a:cubicBezTo>
                <a:cubicBezTo>
                  <a:pt x="480" y="314"/>
                  <a:pt x="480" y="322"/>
                  <a:pt x="479" y="330"/>
                </a:cubicBezTo>
                <a:cubicBezTo>
                  <a:pt x="477" y="338"/>
                  <a:pt x="474" y="346"/>
                  <a:pt x="471" y="354"/>
                </a:cubicBezTo>
                <a:cubicBezTo>
                  <a:pt x="470" y="354"/>
                  <a:pt x="470" y="354"/>
                  <a:pt x="470" y="354"/>
                </a:cubicBezTo>
                <a:cubicBezTo>
                  <a:pt x="456" y="381"/>
                  <a:pt x="425" y="395"/>
                  <a:pt x="395" y="391"/>
                </a:cubicBezTo>
                <a:cubicBezTo>
                  <a:pt x="387" y="389"/>
                  <a:pt x="379" y="386"/>
                  <a:pt x="372" y="383"/>
                </a:cubicBezTo>
                <a:cubicBezTo>
                  <a:pt x="371" y="383"/>
                  <a:pt x="370" y="382"/>
                  <a:pt x="370" y="381"/>
                </a:cubicBezTo>
                <a:cubicBezTo>
                  <a:pt x="368" y="380"/>
                  <a:pt x="365" y="378"/>
                  <a:pt x="362" y="376"/>
                </a:cubicBezTo>
                <a:cubicBezTo>
                  <a:pt x="362" y="376"/>
                  <a:pt x="360" y="375"/>
                  <a:pt x="360" y="374"/>
                </a:cubicBezTo>
                <a:cubicBezTo>
                  <a:pt x="359" y="374"/>
                  <a:pt x="359" y="374"/>
                  <a:pt x="359" y="374"/>
                </a:cubicBezTo>
                <a:cubicBezTo>
                  <a:pt x="370" y="358"/>
                  <a:pt x="379" y="340"/>
                  <a:pt x="383" y="320"/>
                </a:cubicBezTo>
                <a:cubicBezTo>
                  <a:pt x="385" y="313"/>
                  <a:pt x="380" y="306"/>
                  <a:pt x="373" y="304"/>
                </a:cubicBezTo>
                <a:cubicBezTo>
                  <a:pt x="366" y="303"/>
                  <a:pt x="359" y="308"/>
                  <a:pt x="357" y="315"/>
                </a:cubicBezTo>
                <a:cubicBezTo>
                  <a:pt x="353" y="334"/>
                  <a:pt x="344" y="351"/>
                  <a:pt x="332" y="366"/>
                </a:cubicBezTo>
                <a:cubicBezTo>
                  <a:pt x="331" y="366"/>
                  <a:pt x="331" y="367"/>
                  <a:pt x="331" y="367"/>
                </a:cubicBezTo>
                <a:cubicBezTo>
                  <a:pt x="328" y="371"/>
                  <a:pt x="324" y="375"/>
                  <a:pt x="321" y="378"/>
                </a:cubicBezTo>
                <a:cubicBezTo>
                  <a:pt x="319" y="379"/>
                  <a:pt x="318" y="380"/>
                  <a:pt x="317" y="381"/>
                </a:cubicBezTo>
                <a:cubicBezTo>
                  <a:pt x="314" y="383"/>
                  <a:pt x="312" y="385"/>
                  <a:pt x="309" y="387"/>
                </a:cubicBezTo>
                <a:cubicBezTo>
                  <a:pt x="308" y="388"/>
                  <a:pt x="306" y="389"/>
                  <a:pt x="304" y="391"/>
                </a:cubicBezTo>
                <a:cubicBezTo>
                  <a:pt x="302" y="392"/>
                  <a:pt x="299" y="393"/>
                  <a:pt x="297" y="394"/>
                </a:cubicBezTo>
                <a:cubicBezTo>
                  <a:pt x="295" y="395"/>
                  <a:pt x="293" y="396"/>
                  <a:pt x="291" y="398"/>
                </a:cubicBezTo>
                <a:cubicBezTo>
                  <a:pt x="289" y="399"/>
                  <a:pt x="287" y="399"/>
                  <a:pt x="285" y="401"/>
                </a:cubicBezTo>
                <a:cubicBezTo>
                  <a:pt x="282" y="401"/>
                  <a:pt x="280" y="402"/>
                  <a:pt x="278" y="403"/>
                </a:cubicBezTo>
                <a:cubicBezTo>
                  <a:pt x="275" y="404"/>
                  <a:pt x="273" y="404"/>
                  <a:pt x="271" y="405"/>
                </a:cubicBezTo>
                <a:cubicBezTo>
                  <a:pt x="269" y="405"/>
                  <a:pt x="267" y="406"/>
                  <a:pt x="264" y="406"/>
                </a:cubicBezTo>
                <a:cubicBezTo>
                  <a:pt x="262" y="407"/>
                  <a:pt x="259" y="408"/>
                  <a:pt x="257" y="408"/>
                </a:cubicBezTo>
                <a:cubicBezTo>
                  <a:pt x="254" y="408"/>
                  <a:pt x="252" y="409"/>
                  <a:pt x="250" y="409"/>
                </a:cubicBezTo>
                <a:cubicBezTo>
                  <a:pt x="247" y="409"/>
                  <a:pt x="244" y="409"/>
                  <a:pt x="241" y="409"/>
                </a:cubicBezTo>
                <a:cubicBezTo>
                  <a:pt x="239" y="409"/>
                  <a:pt x="238" y="409"/>
                  <a:pt x="236" y="409"/>
                </a:cubicBezTo>
                <a:cubicBezTo>
                  <a:pt x="231" y="409"/>
                  <a:pt x="226" y="408"/>
                  <a:pt x="221" y="408"/>
                </a:cubicBezTo>
                <a:cubicBezTo>
                  <a:pt x="189" y="402"/>
                  <a:pt x="161" y="385"/>
                  <a:pt x="142" y="359"/>
                </a:cubicBezTo>
                <a:cubicBezTo>
                  <a:pt x="123" y="334"/>
                  <a:pt x="116" y="302"/>
                  <a:pt x="121" y="270"/>
                </a:cubicBezTo>
                <a:lnTo>
                  <a:pt x="876" y="534"/>
                </a:lnTo>
                <a:cubicBezTo>
                  <a:pt x="876" y="533"/>
                  <a:pt x="876" y="533"/>
                  <a:pt x="876" y="533"/>
                </a:cubicBezTo>
                <a:cubicBezTo>
                  <a:pt x="876" y="532"/>
                  <a:pt x="876" y="532"/>
                  <a:pt x="875" y="532"/>
                </a:cubicBezTo>
                <a:cubicBezTo>
                  <a:pt x="875" y="531"/>
                  <a:pt x="875" y="530"/>
                  <a:pt x="875" y="529"/>
                </a:cubicBezTo>
                <a:lnTo>
                  <a:pt x="874" y="528"/>
                </a:lnTo>
                <a:cubicBezTo>
                  <a:pt x="874" y="527"/>
                  <a:pt x="873" y="527"/>
                  <a:pt x="873" y="526"/>
                </a:cubicBezTo>
                <a:lnTo>
                  <a:pt x="744" y="358"/>
                </a:lnTo>
                <a:cubicBezTo>
                  <a:pt x="763" y="343"/>
                  <a:pt x="777" y="321"/>
                  <a:pt x="782" y="294"/>
                </a:cubicBezTo>
                <a:cubicBezTo>
                  <a:pt x="789" y="245"/>
                  <a:pt x="760" y="199"/>
                  <a:pt x="715" y="184"/>
                </a:cubicBezTo>
                <a:cubicBezTo>
                  <a:pt x="715" y="183"/>
                  <a:pt x="715" y="183"/>
                  <a:pt x="715" y="182"/>
                </a:cubicBezTo>
                <a:cubicBezTo>
                  <a:pt x="724" y="128"/>
                  <a:pt x="686" y="77"/>
                  <a:pt x="632" y="68"/>
                </a:cubicBezTo>
                <a:cubicBezTo>
                  <a:pt x="607" y="64"/>
                  <a:pt x="580" y="71"/>
                  <a:pt x="559" y="85"/>
                </a:cubicBezTo>
                <a:cubicBezTo>
                  <a:pt x="547" y="46"/>
                  <a:pt x="513" y="15"/>
                  <a:pt x="472" y="9"/>
                </a:cubicBezTo>
                <a:cubicBezTo>
                  <a:pt x="420" y="0"/>
                  <a:pt x="371" y="29"/>
                  <a:pt x="352" y="76"/>
                </a:cubicBezTo>
                <a:cubicBezTo>
                  <a:pt x="338" y="61"/>
                  <a:pt x="319" y="52"/>
                  <a:pt x="298" y="48"/>
                </a:cubicBezTo>
                <a:cubicBezTo>
                  <a:pt x="272" y="44"/>
                  <a:pt x="246" y="51"/>
                  <a:pt x="224" y="66"/>
                </a:cubicBezTo>
                <a:cubicBezTo>
                  <a:pt x="203" y="82"/>
                  <a:pt x="188" y="104"/>
                  <a:pt x="184" y="131"/>
                </a:cubicBezTo>
                <a:cubicBezTo>
                  <a:pt x="183" y="139"/>
                  <a:pt x="183" y="146"/>
                  <a:pt x="183" y="153"/>
                </a:cubicBezTo>
                <a:cubicBezTo>
                  <a:pt x="136" y="173"/>
                  <a:pt x="103" y="215"/>
                  <a:pt x="95" y="265"/>
                </a:cubicBezTo>
                <a:cubicBezTo>
                  <a:pt x="88" y="304"/>
                  <a:pt x="97" y="343"/>
                  <a:pt x="120" y="374"/>
                </a:cubicBezTo>
                <a:lnTo>
                  <a:pt x="3" y="526"/>
                </a:lnTo>
                <a:cubicBezTo>
                  <a:pt x="2" y="527"/>
                  <a:pt x="2" y="527"/>
                  <a:pt x="2" y="527"/>
                </a:cubicBezTo>
                <a:cubicBezTo>
                  <a:pt x="2" y="528"/>
                  <a:pt x="1" y="528"/>
                  <a:pt x="1" y="529"/>
                </a:cubicBezTo>
                <a:cubicBezTo>
                  <a:pt x="0" y="530"/>
                  <a:pt x="0" y="530"/>
                  <a:pt x="0" y="531"/>
                </a:cubicBezTo>
                <a:cubicBezTo>
                  <a:pt x="0" y="532"/>
                  <a:pt x="0" y="532"/>
                  <a:pt x="0" y="533"/>
                </a:cubicBezTo>
                <a:cubicBezTo>
                  <a:pt x="0" y="533"/>
                  <a:pt x="0" y="533"/>
                  <a:pt x="0" y="534"/>
                </a:cubicBezTo>
                <a:cubicBezTo>
                  <a:pt x="0" y="534"/>
                  <a:pt x="0" y="534"/>
                  <a:pt x="0" y="535"/>
                </a:cubicBezTo>
                <a:lnTo>
                  <a:pt x="0" y="865"/>
                </a:lnTo>
                <a:cubicBezTo>
                  <a:pt x="0" y="873"/>
                  <a:pt x="6" y="879"/>
                  <a:pt x="14" y="879"/>
                </a:cubicBezTo>
                <a:lnTo>
                  <a:pt x="863" y="879"/>
                </a:lnTo>
                <a:cubicBezTo>
                  <a:pt x="870" y="879"/>
                  <a:pt x="876" y="873"/>
                  <a:pt x="876" y="865"/>
                </a:cubicBezTo>
                <a:lnTo>
                  <a:pt x="876" y="535"/>
                </a:lnTo>
                <a:cubicBezTo>
                  <a:pt x="876" y="534"/>
                  <a:pt x="876" y="534"/>
                  <a:pt x="876" y="534"/>
                </a:cubicBezTo>
                <a:lnTo>
                  <a:pt x="121" y="270"/>
                </a:lnTo>
                <a:close/>
              </a:path>
            </a:pathLst>
          </a:custGeom>
          <a:solidFill>
            <a:schemeClr val="bg1"/>
          </a:solidFill>
          <a:ln>
            <a:noFill/>
          </a:ln>
          <a:effectLst/>
        </p:spPr>
        <p:txBody>
          <a:bodyPr wrap="none" anchor="ctr"/>
          <a:lstStyle/>
          <a:p>
            <a:endParaRPr lang="en-US" sz="900">
              <a:latin typeface="+mj-lt"/>
            </a:endParaRPr>
          </a:p>
        </p:txBody>
      </p:sp>
      <p:sp>
        <p:nvSpPr>
          <p:cNvPr id="30" name="Freeform 876">
            <a:extLst>
              <a:ext uri="{FF2B5EF4-FFF2-40B4-BE49-F238E27FC236}">
                <a16:creationId xmlns:a16="http://schemas.microsoft.com/office/drawing/2014/main" id="{965F2ACB-BDC4-8646-667D-376FF58E9ADC}"/>
              </a:ext>
            </a:extLst>
          </p:cNvPr>
          <p:cNvSpPr>
            <a:spLocks noChangeArrowheads="1"/>
          </p:cNvSpPr>
          <p:nvPr userDrawn="1"/>
        </p:nvSpPr>
        <p:spPr bwMode="auto">
          <a:xfrm>
            <a:off x="2753712" y="2140571"/>
            <a:ext cx="590164" cy="587105"/>
          </a:xfrm>
          <a:custGeom>
            <a:avLst/>
            <a:gdLst/>
            <a:ahLst/>
            <a:cxnLst/>
            <a:rect l="0" t="0" r="r" b="b"/>
            <a:pathLst>
              <a:path w="306029" h="304439">
                <a:moveTo>
                  <a:pt x="153988" y="209550"/>
                </a:moveTo>
                <a:cubicBezTo>
                  <a:pt x="156552" y="209550"/>
                  <a:pt x="158384" y="211715"/>
                  <a:pt x="158384" y="214240"/>
                </a:cubicBezTo>
                <a:lnTo>
                  <a:pt x="158384" y="299749"/>
                </a:lnTo>
                <a:cubicBezTo>
                  <a:pt x="158384" y="302635"/>
                  <a:pt x="156552" y="304439"/>
                  <a:pt x="153988" y="304439"/>
                </a:cubicBezTo>
                <a:cubicBezTo>
                  <a:pt x="151057" y="304439"/>
                  <a:pt x="149225" y="302635"/>
                  <a:pt x="149225" y="299749"/>
                </a:cubicBezTo>
                <a:lnTo>
                  <a:pt x="149225" y="214240"/>
                </a:lnTo>
                <a:cubicBezTo>
                  <a:pt x="149225" y="211715"/>
                  <a:pt x="151057" y="209550"/>
                  <a:pt x="153988" y="209550"/>
                </a:cubicBezTo>
                <a:close/>
                <a:moveTo>
                  <a:pt x="242108" y="180114"/>
                </a:moveTo>
                <a:cubicBezTo>
                  <a:pt x="244625" y="180842"/>
                  <a:pt x="245704" y="183751"/>
                  <a:pt x="244625" y="185932"/>
                </a:cubicBezTo>
                <a:cubicBezTo>
                  <a:pt x="234915" y="212840"/>
                  <a:pt x="214059" y="233567"/>
                  <a:pt x="187808" y="243748"/>
                </a:cubicBezTo>
                <a:cubicBezTo>
                  <a:pt x="187088" y="244112"/>
                  <a:pt x="186729" y="244112"/>
                  <a:pt x="186010" y="244112"/>
                </a:cubicBezTo>
                <a:cubicBezTo>
                  <a:pt x="184212" y="244112"/>
                  <a:pt x="182414" y="243021"/>
                  <a:pt x="181694" y="240839"/>
                </a:cubicBezTo>
                <a:cubicBezTo>
                  <a:pt x="180975" y="238657"/>
                  <a:pt x="182054" y="235748"/>
                  <a:pt x="184571" y="235021"/>
                </a:cubicBezTo>
                <a:cubicBezTo>
                  <a:pt x="208305" y="225931"/>
                  <a:pt x="227004" y="207022"/>
                  <a:pt x="235994" y="182660"/>
                </a:cubicBezTo>
                <a:cubicBezTo>
                  <a:pt x="237073" y="180114"/>
                  <a:pt x="239590" y="179387"/>
                  <a:pt x="242108" y="180114"/>
                </a:cubicBezTo>
                <a:close/>
                <a:moveTo>
                  <a:pt x="65509" y="180114"/>
                </a:moveTo>
                <a:cubicBezTo>
                  <a:pt x="67666" y="179387"/>
                  <a:pt x="70543" y="180478"/>
                  <a:pt x="71262" y="182660"/>
                </a:cubicBezTo>
                <a:cubicBezTo>
                  <a:pt x="80252" y="207022"/>
                  <a:pt x="98951" y="225931"/>
                  <a:pt x="123045" y="235021"/>
                </a:cubicBezTo>
                <a:cubicBezTo>
                  <a:pt x="125202" y="235748"/>
                  <a:pt x="126641" y="238657"/>
                  <a:pt x="125562" y="240839"/>
                </a:cubicBezTo>
                <a:cubicBezTo>
                  <a:pt x="124843" y="243021"/>
                  <a:pt x="123045" y="244112"/>
                  <a:pt x="121247" y="244112"/>
                </a:cubicBezTo>
                <a:cubicBezTo>
                  <a:pt x="120887" y="244112"/>
                  <a:pt x="120168" y="244112"/>
                  <a:pt x="119808" y="243748"/>
                </a:cubicBezTo>
                <a:cubicBezTo>
                  <a:pt x="93198" y="233567"/>
                  <a:pt x="72701" y="212840"/>
                  <a:pt x="62632" y="185932"/>
                </a:cubicBezTo>
                <a:cubicBezTo>
                  <a:pt x="61913" y="183751"/>
                  <a:pt x="62992" y="180842"/>
                  <a:pt x="65509" y="180114"/>
                </a:cubicBezTo>
                <a:close/>
                <a:moveTo>
                  <a:pt x="277567" y="179387"/>
                </a:moveTo>
                <a:cubicBezTo>
                  <a:pt x="280071" y="179387"/>
                  <a:pt x="282217" y="181534"/>
                  <a:pt x="282217" y="184038"/>
                </a:cubicBezTo>
                <a:lnTo>
                  <a:pt x="282217" y="275979"/>
                </a:lnTo>
                <a:cubicBezTo>
                  <a:pt x="282217" y="278483"/>
                  <a:pt x="280071" y="280629"/>
                  <a:pt x="277567" y="280629"/>
                </a:cubicBezTo>
                <a:lnTo>
                  <a:pt x="185268" y="280629"/>
                </a:lnTo>
                <a:cubicBezTo>
                  <a:pt x="182764" y="280629"/>
                  <a:pt x="180975" y="278483"/>
                  <a:pt x="180975" y="275979"/>
                </a:cubicBezTo>
                <a:cubicBezTo>
                  <a:pt x="180975" y="273474"/>
                  <a:pt x="182764" y="271686"/>
                  <a:pt x="185268" y="271686"/>
                </a:cubicBezTo>
                <a:lnTo>
                  <a:pt x="272916" y="271686"/>
                </a:lnTo>
                <a:lnTo>
                  <a:pt x="272916" y="184038"/>
                </a:lnTo>
                <a:cubicBezTo>
                  <a:pt x="272916" y="181534"/>
                  <a:pt x="275062" y="179387"/>
                  <a:pt x="277567" y="179387"/>
                </a:cubicBezTo>
                <a:close/>
                <a:moveTo>
                  <a:pt x="28464" y="179387"/>
                </a:moveTo>
                <a:cubicBezTo>
                  <a:pt x="30968" y="179387"/>
                  <a:pt x="33114" y="181534"/>
                  <a:pt x="33114" y="184038"/>
                </a:cubicBezTo>
                <a:lnTo>
                  <a:pt x="33114" y="271686"/>
                </a:lnTo>
                <a:lnTo>
                  <a:pt x="120405" y="271686"/>
                </a:lnTo>
                <a:cubicBezTo>
                  <a:pt x="122909" y="271686"/>
                  <a:pt x="125055" y="273474"/>
                  <a:pt x="125055" y="275979"/>
                </a:cubicBezTo>
                <a:cubicBezTo>
                  <a:pt x="125055" y="278483"/>
                  <a:pt x="122909" y="280629"/>
                  <a:pt x="120405" y="280629"/>
                </a:cubicBezTo>
                <a:lnTo>
                  <a:pt x="28464" y="280629"/>
                </a:lnTo>
                <a:cubicBezTo>
                  <a:pt x="25959" y="280629"/>
                  <a:pt x="23813" y="278483"/>
                  <a:pt x="23813" y="275979"/>
                </a:cubicBezTo>
                <a:lnTo>
                  <a:pt x="23813" y="184038"/>
                </a:lnTo>
                <a:cubicBezTo>
                  <a:pt x="23813" y="181534"/>
                  <a:pt x="25959" y="179387"/>
                  <a:pt x="28464" y="179387"/>
                </a:cubicBezTo>
                <a:close/>
                <a:moveTo>
                  <a:pt x="215811" y="147637"/>
                </a:moveTo>
                <a:lnTo>
                  <a:pt x="301356" y="147637"/>
                </a:lnTo>
                <a:cubicBezTo>
                  <a:pt x="303872" y="147637"/>
                  <a:pt x="306029" y="149754"/>
                  <a:pt x="306029" y="152223"/>
                </a:cubicBezTo>
                <a:cubicBezTo>
                  <a:pt x="306029" y="154693"/>
                  <a:pt x="303872" y="156809"/>
                  <a:pt x="301356" y="156809"/>
                </a:cubicBezTo>
                <a:lnTo>
                  <a:pt x="215811" y="156809"/>
                </a:lnTo>
                <a:cubicBezTo>
                  <a:pt x="213295" y="156809"/>
                  <a:pt x="211138" y="154693"/>
                  <a:pt x="211138" y="152223"/>
                </a:cubicBezTo>
                <a:cubicBezTo>
                  <a:pt x="211138" y="149754"/>
                  <a:pt x="213295" y="147637"/>
                  <a:pt x="215811" y="147637"/>
                </a:cubicBezTo>
                <a:close/>
                <a:moveTo>
                  <a:pt x="4673" y="147637"/>
                </a:moveTo>
                <a:lnTo>
                  <a:pt x="90218" y="147637"/>
                </a:lnTo>
                <a:cubicBezTo>
                  <a:pt x="92734" y="147637"/>
                  <a:pt x="94890" y="149754"/>
                  <a:pt x="94890" y="152223"/>
                </a:cubicBezTo>
                <a:cubicBezTo>
                  <a:pt x="94890" y="154693"/>
                  <a:pt x="92734" y="156809"/>
                  <a:pt x="90218" y="156809"/>
                </a:cubicBezTo>
                <a:lnTo>
                  <a:pt x="4673" y="156809"/>
                </a:lnTo>
                <a:cubicBezTo>
                  <a:pt x="2156" y="156809"/>
                  <a:pt x="0" y="154693"/>
                  <a:pt x="0" y="152223"/>
                </a:cubicBezTo>
                <a:cubicBezTo>
                  <a:pt x="0" y="149754"/>
                  <a:pt x="2156" y="147637"/>
                  <a:pt x="4673" y="147637"/>
                </a:cubicBezTo>
                <a:close/>
                <a:moveTo>
                  <a:pt x="153988" y="121773"/>
                </a:moveTo>
                <a:cubicBezTo>
                  <a:pt x="137030" y="121773"/>
                  <a:pt x="123681" y="135546"/>
                  <a:pt x="123681" y="152218"/>
                </a:cubicBezTo>
                <a:cubicBezTo>
                  <a:pt x="123681" y="168891"/>
                  <a:pt x="137030" y="182664"/>
                  <a:pt x="153988" y="182664"/>
                </a:cubicBezTo>
                <a:cubicBezTo>
                  <a:pt x="170223" y="182664"/>
                  <a:pt x="183934" y="168891"/>
                  <a:pt x="183934" y="152218"/>
                </a:cubicBezTo>
                <a:cubicBezTo>
                  <a:pt x="183934" y="135546"/>
                  <a:pt x="170223" y="121773"/>
                  <a:pt x="153988" y="121773"/>
                </a:cubicBezTo>
                <a:close/>
                <a:moveTo>
                  <a:pt x="153988" y="112712"/>
                </a:moveTo>
                <a:cubicBezTo>
                  <a:pt x="175275" y="112712"/>
                  <a:pt x="193314" y="130472"/>
                  <a:pt x="193314" y="152218"/>
                </a:cubicBezTo>
                <a:cubicBezTo>
                  <a:pt x="193314" y="173965"/>
                  <a:pt x="175275" y="191725"/>
                  <a:pt x="153988" y="191725"/>
                </a:cubicBezTo>
                <a:cubicBezTo>
                  <a:pt x="131979" y="191725"/>
                  <a:pt x="114300" y="173965"/>
                  <a:pt x="114300" y="152218"/>
                </a:cubicBezTo>
                <a:cubicBezTo>
                  <a:pt x="114300" y="130472"/>
                  <a:pt x="131979" y="112712"/>
                  <a:pt x="153988" y="112712"/>
                </a:cubicBezTo>
                <a:close/>
                <a:moveTo>
                  <a:pt x="187808" y="61410"/>
                </a:moveTo>
                <a:cubicBezTo>
                  <a:pt x="214059" y="71173"/>
                  <a:pt x="234915" y="92145"/>
                  <a:pt x="244984" y="118542"/>
                </a:cubicBezTo>
                <a:cubicBezTo>
                  <a:pt x="245704" y="121073"/>
                  <a:pt x="244625" y="123604"/>
                  <a:pt x="242108" y="124689"/>
                </a:cubicBezTo>
                <a:cubicBezTo>
                  <a:pt x="241388" y="124689"/>
                  <a:pt x="241029" y="125050"/>
                  <a:pt x="240309" y="125050"/>
                </a:cubicBezTo>
                <a:cubicBezTo>
                  <a:pt x="238511" y="125050"/>
                  <a:pt x="236713" y="123604"/>
                  <a:pt x="235994" y="122158"/>
                </a:cubicBezTo>
                <a:cubicBezTo>
                  <a:pt x="227004" y="97931"/>
                  <a:pt x="208305" y="79128"/>
                  <a:pt x="184571" y="70088"/>
                </a:cubicBezTo>
                <a:cubicBezTo>
                  <a:pt x="182054" y="69003"/>
                  <a:pt x="180975" y="66472"/>
                  <a:pt x="181694" y="63941"/>
                </a:cubicBezTo>
                <a:cubicBezTo>
                  <a:pt x="182773" y="61771"/>
                  <a:pt x="185290" y="60325"/>
                  <a:pt x="187808" y="61410"/>
                </a:cubicBezTo>
                <a:close/>
                <a:moveTo>
                  <a:pt x="119808" y="61410"/>
                </a:moveTo>
                <a:cubicBezTo>
                  <a:pt x="121966" y="60325"/>
                  <a:pt x="124843" y="61771"/>
                  <a:pt x="125562" y="63941"/>
                </a:cubicBezTo>
                <a:cubicBezTo>
                  <a:pt x="126641" y="66472"/>
                  <a:pt x="125202" y="69003"/>
                  <a:pt x="123045" y="70088"/>
                </a:cubicBezTo>
                <a:cubicBezTo>
                  <a:pt x="98951" y="79128"/>
                  <a:pt x="80252" y="97931"/>
                  <a:pt x="71262" y="122158"/>
                </a:cubicBezTo>
                <a:cubicBezTo>
                  <a:pt x="70903" y="123604"/>
                  <a:pt x="69105" y="125050"/>
                  <a:pt x="66947" y="125050"/>
                </a:cubicBezTo>
                <a:cubicBezTo>
                  <a:pt x="66588" y="125050"/>
                  <a:pt x="65868" y="124689"/>
                  <a:pt x="65509" y="124689"/>
                </a:cubicBezTo>
                <a:cubicBezTo>
                  <a:pt x="62992" y="123604"/>
                  <a:pt x="61913" y="121073"/>
                  <a:pt x="62632" y="118542"/>
                </a:cubicBezTo>
                <a:cubicBezTo>
                  <a:pt x="72701" y="92145"/>
                  <a:pt x="93198" y="71173"/>
                  <a:pt x="119808" y="61410"/>
                </a:cubicBezTo>
                <a:close/>
                <a:moveTo>
                  <a:pt x="185268" y="22225"/>
                </a:moveTo>
                <a:lnTo>
                  <a:pt x="277567" y="22225"/>
                </a:lnTo>
                <a:cubicBezTo>
                  <a:pt x="280071" y="22225"/>
                  <a:pt x="282217" y="24371"/>
                  <a:pt x="282217" y="26876"/>
                </a:cubicBezTo>
                <a:lnTo>
                  <a:pt x="282217" y="118817"/>
                </a:lnTo>
                <a:cubicBezTo>
                  <a:pt x="282217" y="121321"/>
                  <a:pt x="280071" y="123467"/>
                  <a:pt x="277567" y="123467"/>
                </a:cubicBezTo>
                <a:cubicBezTo>
                  <a:pt x="275062" y="123467"/>
                  <a:pt x="272916" y="121321"/>
                  <a:pt x="272916" y="118817"/>
                </a:cubicBezTo>
                <a:lnTo>
                  <a:pt x="272916" y="31526"/>
                </a:lnTo>
                <a:lnTo>
                  <a:pt x="185268" y="31526"/>
                </a:lnTo>
                <a:cubicBezTo>
                  <a:pt x="182764" y="31526"/>
                  <a:pt x="180975" y="29380"/>
                  <a:pt x="180975" y="26876"/>
                </a:cubicBezTo>
                <a:cubicBezTo>
                  <a:pt x="180975" y="24371"/>
                  <a:pt x="182764" y="22225"/>
                  <a:pt x="185268" y="22225"/>
                </a:cubicBezTo>
                <a:close/>
                <a:moveTo>
                  <a:pt x="28464" y="22225"/>
                </a:moveTo>
                <a:lnTo>
                  <a:pt x="120405" y="22225"/>
                </a:lnTo>
                <a:cubicBezTo>
                  <a:pt x="122909" y="22225"/>
                  <a:pt x="125055" y="24371"/>
                  <a:pt x="125055" y="26876"/>
                </a:cubicBezTo>
                <a:cubicBezTo>
                  <a:pt x="125055" y="29380"/>
                  <a:pt x="122909" y="31526"/>
                  <a:pt x="120405" y="31526"/>
                </a:cubicBezTo>
                <a:lnTo>
                  <a:pt x="33114" y="31526"/>
                </a:lnTo>
                <a:lnTo>
                  <a:pt x="33114" y="118817"/>
                </a:lnTo>
                <a:cubicBezTo>
                  <a:pt x="33114" y="121321"/>
                  <a:pt x="30968" y="123467"/>
                  <a:pt x="28464" y="123467"/>
                </a:cubicBezTo>
                <a:cubicBezTo>
                  <a:pt x="25959" y="123467"/>
                  <a:pt x="23813" y="121321"/>
                  <a:pt x="23813" y="118817"/>
                </a:cubicBezTo>
                <a:lnTo>
                  <a:pt x="23813" y="26876"/>
                </a:lnTo>
                <a:cubicBezTo>
                  <a:pt x="23813" y="24371"/>
                  <a:pt x="25959" y="22225"/>
                  <a:pt x="28464" y="22225"/>
                </a:cubicBezTo>
                <a:close/>
                <a:moveTo>
                  <a:pt x="153988" y="0"/>
                </a:moveTo>
                <a:cubicBezTo>
                  <a:pt x="156552" y="0"/>
                  <a:pt x="158384" y="1804"/>
                  <a:pt x="158384" y="4690"/>
                </a:cubicBezTo>
                <a:lnTo>
                  <a:pt x="158384" y="90560"/>
                </a:lnTo>
                <a:cubicBezTo>
                  <a:pt x="158384" y="92724"/>
                  <a:pt x="156552" y="94889"/>
                  <a:pt x="153988" y="94889"/>
                </a:cubicBezTo>
                <a:cubicBezTo>
                  <a:pt x="151057" y="94889"/>
                  <a:pt x="149225" y="92724"/>
                  <a:pt x="149225" y="90560"/>
                </a:cubicBezTo>
                <a:lnTo>
                  <a:pt x="149225" y="4690"/>
                </a:lnTo>
                <a:cubicBezTo>
                  <a:pt x="149225" y="1804"/>
                  <a:pt x="151057" y="0"/>
                  <a:pt x="153988" y="0"/>
                </a:cubicBezTo>
                <a:close/>
              </a:path>
            </a:pathLst>
          </a:custGeom>
          <a:solidFill>
            <a:schemeClr val="bg1"/>
          </a:solidFill>
          <a:ln>
            <a:noFill/>
          </a:ln>
          <a:effectLst/>
        </p:spPr>
        <p:txBody>
          <a:bodyPr anchor="ctr"/>
          <a:lstStyle/>
          <a:p>
            <a:endParaRPr lang="en-US" sz="900">
              <a:latin typeface="+mj-lt"/>
            </a:endParaRPr>
          </a:p>
        </p:txBody>
      </p:sp>
      <p:sp>
        <p:nvSpPr>
          <p:cNvPr id="31" name="Freeform 877">
            <a:extLst>
              <a:ext uri="{FF2B5EF4-FFF2-40B4-BE49-F238E27FC236}">
                <a16:creationId xmlns:a16="http://schemas.microsoft.com/office/drawing/2014/main" id="{21B14754-BE4F-2818-5579-3C337CFBCFCC}"/>
              </a:ext>
            </a:extLst>
          </p:cNvPr>
          <p:cNvSpPr>
            <a:spLocks noChangeArrowheads="1"/>
          </p:cNvSpPr>
          <p:nvPr userDrawn="1"/>
        </p:nvSpPr>
        <p:spPr bwMode="auto">
          <a:xfrm>
            <a:off x="2712857" y="4271030"/>
            <a:ext cx="590162" cy="584046"/>
          </a:xfrm>
          <a:custGeom>
            <a:avLst/>
            <a:gdLst/>
            <a:ahLst/>
            <a:cxnLst/>
            <a:rect l="0" t="0" r="r" b="b"/>
            <a:pathLst>
              <a:path w="306027" h="302853">
                <a:moveTo>
                  <a:pt x="297015" y="210165"/>
                </a:moveTo>
                <a:lnTo>
                  <a:pt x="258447" y="251839"/>
                </a:lnTo>
                <a:cubicBezTo>
                  <a:pt x="257726" y="252557"/>
                  <a:pt x="256284" y="253276"/>
                  <a:pt x="255202" y="253276"/>
                </a:cubicBezTo>
                <a:lnTo>
                  <a:pt x="46499" y="253276"/>
                </a:lnTo>
                <a:cubicBezTo>
                  <a:pt x="45057" y="253276"/>
                  <a:pt x="43976" y="252557"/>
                  <a:pt x="42894" y="251839"/>
                </a:cubicBezTo>
                <a:lnTo>
                  <a:pt x="9372" y="211243"/>
                </a:lnTo>
                <a:lnTo>
                  <a:pt x="9372" y="293512"/>
                </a:lnTo>
                <a:lnTo>
                  <a:pt x="297015" y="293512"/>
                </a:lnTo>
                <a:lnTo>
                  <a:pt x="297015" y="210165"/>
                </a:lnTo>
                <a:close/>
                <a:moveTo>
                  <a:pt x="204018" y="132566"/>
                </a:moveTo>
                <a:cubicBezTo>
                  <a:pt x="198611" y="140110"/>
                  <a:pt x="192123" y="146936"/>
                  <a:pt x="184553" y="152325"/>
                </a:cubicBezTo>
                <a:lnTo>
                  <a:pt x="222762" y="190765"/>
                </a:lnTo>
                <a:cubicBezTo>
                  <a:pt x="227087" y="194717"/>
                  <a:pt x="233936" y="194717"/>
                  <a:pt x="238261" y="190765"/>
                </a:cubicBezTo>
                <a:lnTo>
                  <a:pt x="242587" y="186454"/>
                </a:lnTo>
                <a:cubicBezTo>
                  <a:pt x="246912" y="182143"/>
                  <a:pt x="246912" y="175317"/>
                  <a:pt x="242587" y="171006"/>
                </a:cubicBezTo>
                <a:lnTo>
                  <a:pt x="204018" y="132566"/>
                </a:lnTo>
                <a:close/>
                <a:moveTo>
                  <a:pt x="212669" y="117836"/>
                </a:moveTo>
                <a:cubicBezTo>
                  <a:pt x="211587" y="120351"/>
                  <a:pt x="210506" y="122506"/>
                  <a:pt x="209064" y="125021"/>
                </a:cubicBezTo>
                <a:lnTo>
                  <a:pt x="249075" y="164539"/>
                </a:lnTo>
                <a:cubicBezTo>
                  <a:pt x="257005" y="172443"/>
                  <a:pt x="257005" y="185017"/>
                  <a:pt x="249075" y="192921"/>
                </a:cubicBezTo>
                <a:lnTo>
                  <a:pt x="244389" y="197232"/>
                </a:lnTo>
                <a:cubicBezTo>
                  <a:pt x="240784" y="201183"/>
                  <a:pt x="235738" y="202980"/>
                  <a:pt x="230331" y="202980"/>
                </a:cubicBezTo>
                <a:cubicBezTo>
                  <a:pt x="225285" y="202980"/>
                  <a:pt x="220238" y="201183"/>
                  <a:pt x="216273" y="197232"/>
                </a:cubicBezTo>
                <a:lnTo>
                  <a:pt x="176263" y="157713"/>
                </a:lnTo>
                <a:cubicBezTo>
                  <a:pt x="164368" y="164539"/>
                  <a:pt x="150310" y="168132"/>
                  <a:pt x="135531" y="168132"/>
                </a:cubicBezTo>
                <a:cubicBezTo>
                  <a:pt x="103811" y="168132"/>
                  <a:pt x="76777" y="150888"/>
                  <a:pt x="61998" y="125380"/>
                </a:cubicBezTo>
                <a:lnTo>
                  <a:pt x="13697" y="193998"/>
                </a:lnTo>
                <a:lnTo>
                  <a:pt x="188518" y="193998"/>
                </a:lnTo>
                <a:cubicBezTo>
                  <a:pt x="191402" y="193998"/>
                  <a:pt x="193204" y="195795"/>
                  <a:pt x="193204" y="198309"/>
                </a:cubicBezTo>
                <a:cubicBezTo>
                  <a:pt x="193204" y="201183"/>
                  <a:pt x="191402" y="202980"/>
                  <a:pt x="188518" y="202980"/>
                </a:cubicBezTo>
                <a:lnTo>
                  <a:pt x="14779" y="202980"/>
                </a:lnTo>
                <a:lnTo>
                  <a:pt x="48662" y="243935"/>
                </a:lnTo>
                <a:lnTo>
                  <a:pt x="253040" y="243935"/>
                </a:lnTo>
                <a:lnTo>
                  <a:pt x="290888" y="202980"/>
                </a:lnTo>
                <a:lnTo>
                  <a:pt x="272144" y="202980"/>
                </a:lnTo>
                <a:cubicBezTo>
                  <a:pt x="269621" y="202980"/>
                  <a:pt x="267818" y="201183"/>
                  <a:pt x="267818" y="198309"/>
                </a:cubicBezTo>
                <a:cubicBezTo>
                  <a:pt x="267818" y="195795"/>
                  <a:pt x="269621" y="193998"/>
                  <a:pt x="272144" y="193998"/>
                </a:cubicBezTo>
                <a:lnTo>
                  <a:pt x="292329" y="193998"/>
                </a:lnTo>
                <a:lnTo>
                  <a:pt x="238982" y="117836"/>
                </a:lnTo>
                <a:lnTo>
                  <a:pt x="212669" y="117836"/>
                </a:lnTo>
                <a:close/>
                <a:moveTo>
                  <a:pt x="134938" y="41079"/>
                </a:moveTo>
                <a:cubicBezTo>
                  <a:pt x="111256" y="41079"/>
                  <a:pt x="91879" y="60456"/>
                  <a:pt x="91879" y="84138"/>
                </a:cubicBezTo>
                <a:cubicBezTo>
                  <a:pt x="91879" y="107820"/>
                  <a:pt x="111256" y="126837"/>
                  <a:pt x="134938" y="126837"/>
                </a:cubicBezTo>
                <a:cubicBezTo>
                  <a:pt x="158620" y="126837"/>
                  <a:pt x="177996" y="107820"/>
                  <a:pt x="177996" y="84138"/>
                </a:cubicBezTo>
                <a:cubicBezTo>
                  <a:pt x="177996" y="60456"/>
                  <a:pt x="158620" y="41079"/>
                  <a:pt x="134938" y="41079"/>
                </a:cubicBezTo>
                <a:close/>
                <a:moveTo>
                  <a:pt x="134938" y="31750"/>
                </a:moveTo>
                <a:cubicBezTo>
                  <a:pt x="163643" y="31750"/>
                  <a:pt x="186966" y="55432"/>
                  <a:pt x="186966" y="84138"/>
                </a:cubicBezTo>
                <a:cubicBezTo>
                  <a:pt x="186966" y="112843"/>
                  <a:pt x="163643" y="136166"/>
                  <a:pt x="134938" y="136166"/>
                </a:cubicBezTo>
                <a:cubicBezTo>
                  <a:pt x="106232" y="136166"/>
                  <a:pt x="82550" y="112843"/>
                  <a:pt x="82550" y="84138"/>
                </a:cubicBezTo>
                <a:cubicBezTo>
                  <a:pt x="82550" y="55432"/>
                  <a:pt x="106232" y="31750"/>
                  <a:pt x="134938" y="31750"/>
                </a:cubicBezTo>
                <a:close/>
                <a:moveTo>
                  <a:pt x="135531" y="9341"/>
                </a:moveTo>
                <a:cubicBezTo>
                  <a:pt x="94079" y="9341"/>
                  <a:pt x="60196" y="42752"/>
                  <a:pt x="60196" y="84066"/>
                </a:cubicBezTo>
                <a:cubicBezTo>
                  <a:pt x="60196" y="125380"/>
                  <a:pt x="94079" y="158791"/>
                  <a:pt x="135531" y="158791"/>
                </a:cubicBezTo>
                <a:cubicBezTo>
                  <a:pt x="176984" y="158791"/>
                  <a:pt x="210506" y="125380"/>
                  <a:pt x="210506" y="84066"/>
                </a:cubicBezTo>
                <a:cubicBezTo>
                  <a:pt x="210506" y="42752"/>
                  <a:pt x="176984" y="9341"/>
                  <a:pt x="135531" y="9341"/>
                </a:cubicBezTo>
                <a:close/>
                <a:moveTo>
                  <a:pt x="135531" y="0"/>
                </a:moveTo>
                <a:cubicBezTo>
                  <a:pt x="182030" y="0"/>
                  <a:pt x="219878" y="37722"/>
                  <a:pt x="219878" y="84066"/>
                </a:cubicBezTo>
                <a:cubicBezTo>
                  <a:pt x="219878" y="92688"/>
                  <a:pt x="218436" y="100592"/>
                  <a:pt x="216273" y="108855"/>
                </a:cubicBezTo>
                <a:lnTo>
                  <a:pt x="241145" y="108855"/>
                </a:lnTo>
                <a:cubicBezTo>
                  <a:pt x="242587" y="108855"/>
                  <a:pt x="244028" y="109573"/>
                  <a:pt x="245110" y="110651"/>
                </a:cubicBezTo>
                <a:lnTo>
                  <a:pt x="304945" y="195795"/>
                </a:lnTo>
                <a:cubicBezTo>
                  <a:pt x="305306" y="195795"/>
                  <a:pt x="305306" y="196154"/>
                  <a:pt x="305306" y="196513"/>
                </a:cubicBezTo>
                <a:cubicBezTo>
                  <a:pt x="305306" y="196513"/>
                  <a:pt x="305666" y="196872"/>
                  <a:pt x="305666" y="197232"/>
                </a:cubicBezTo>
                <a:cubicBezTo>
                  <a:pt x="306027" y="197591"/>
                  <a:pt x="306027" y="197950"/>
                  <a:pt x="306027" y="197950"/>
                </a:cubicBezTo>
                <a:cubicBezTo>
                  <a:pt x="306027" y="198309"/>
                  <a:pt x="306027" y="198309"/>
                  <a:pt x="306027" y="198309"/>
                </a:cubicBezTo>
                <a:lnTo>
                  <a:pt x="306027" y="298183"/>
                </a:lnTo>
                <a:cubicBezTo>
                  <a:pt x="306027" y="300697"/>
                  <a:pt x="304224" y="302853"/>
                  <a:pt x="301341" y="302853"/>
                </a:cubicBezTo>
                <a:lnTo>
                  <a:pt x="4686" y="302853"/>
                </a:lnTo>
                <a:cubicBezTo>
                  <a:pt x="2163" y="302853"/>
                  <a:pt x="0" y="300697"/>
                  <a:pt x="0" y="298183"/>
                </a:cubicBezTo>
                <a:lnTo>
                  <a:pt x="0" y="198309"/>
                </a:lnTo>
                <a:cubicBezTo>
                  <a:pt x="0" y="198309"/>
                  <a:pt x="361" y="198309"/>
                  <a:pt x="361" y="197950"/>
                </a:cubicBezTo>
                <a:cubicBezTo>
                  <a:pt x="361" y="197950"/>
                  <a:pt x="361" y="197591"/>
                  <a:pt x="361" y="197232"/>
                </a:cubicBezTo>
                <a:cubicBezTo>
                  <a:pt x="361" y="196872"/>
                  <a:pt x="721" y="196513"/>
                  <a:pt x="721" y="196513"/>
                </a:cubicBezTo>
                <a:cubicBezTo>
                  <a:pt x="1081" y="196154"/>
                  <a:pt x="1081" y="195795"/>
                  <a:pt x="1081" y="195795"/>
                </a:cubicBezTo>
                <a:lnTo>
                  <a:pt x="57313" y="116040"/>
                </a:lnTo>
                <a:cubicBezTo>
                  <a:pt x="53348" y="105981"/>
                  <a:pt x="51185" y="95203"/>
                  <a:pt x="51185" y="84066"/>
                </a:cubicBezTo>
                <a:cubicBezTo>
                  <a:pt x="51185" y="37722"/>
                  <a:pt x="89033" y="0"/>
                  <a:pt x="135531" y="0"/>
                </a:cubicBezTo>
                <a:close/>
              </a:path>
            </a:pathLst>
          </a:custGeom>
          <a:solidFill>
            <a:schemeClr val="bg1"/>
          </a:solidFill>
          <a:ln>
            <a:noFill/>
          </a:ln>
          <a:effectLst/>
        </p:spPr>
        <p:txBody>
          <a:bodyPr anchor="ctr"/>
          <a:lstStyle/>
          <a:p>
            <a:endParaRPr lang="en-US" sz="900">
              <a:latin typeface="+mj-lt"/>
            </a:endParaRPr>
          </a:p>
        </p:txBody>
      </p:sp>
      <p:sp>
        <p:nvSpPr>
          <p:cNvPr id="32" name="Title 1">
            <a:extLst>
              <a:ext uri="{FF2B5EF4-FFF2-40B4-BE49-F238E27FC236}">
                <a16:creationId xmlns:a16="http://schemas.microsoft.com/office/drawing/2014/main" id="{604DF780-F2A8-D6F9-08D5-ED20B691E37D}"/>
              </a:ext>
            </a:extLst>
          </p:cNvPr>
          <p:cNvSpPr>
            <a:spLocks noGrp="1"/>
          </p:cNvSpPr>
          <p:nvPr>
            <p:ph type="title"/>
          </p:nvPr>
        </p:nvSpPr>
        <p:spPr>
          <a:xfrm>
            <a:off x="838200" y="365126"/>
            <a:ext cx="10515600" cy="735762"/>
          </a:xfrm>
        </p:spPr>
        <p:txBody>
          <a:bodyPr>
            <a:normAutofit/>
          </a:bodyPr>
          <a:lstStyle>
            <a:lvl1pPr algn="ctr">
              <a:defRPr sz="3600">
                <a:solidFill>
                  <a:schemeClr val="bg1"/>
                </a:solidFill>
              </a:defRPr>
            </a:lvl1pPr>
          </a:lstStyle>
          <a:p>
            <a:r>
              <a:rPr lang="en-US"/>
              <a:t>Click to edit Master title style</a:t>
            </a:r>
          </a:p>
        </p:txBody>
      </p:sp>
      <p:sp>
        <p:nvSpPr>
          <p:cNvPr id="39" name="Text Placeholder 35">
            <a:extLst>
              <a:ext uri="{FF2B5EF4-FFF2-40B4-BE49-F238E27FC236}">
                <a16:creationId xmlns:a16="http://schemas.microsoft.com/office/drawing/2014/main" id="{0B023BF4-98D3-E92E-A68A-593EF196FE07}"/>
              </a:ext>
            </a:extLst>
          </p:cNvPr>
          <p:cNvSpPr>
            <a:spLocks noGrp="1"/>
          </p:cNvSpPr>
          <p:nvPr>
            <p:ph type="body" sz="quarter" idx="19" hasCustomPrompt="1"/>
          </p:nvPr>
        </p:nvSpPr>
        <p:spPr>
          <a:xfrm>
            <a:off x="1557620" y="1580793"/>
            <a:ext cx="2906136" cy="331694"/>
          </a:xfrm>
        </p:spPr>
        <p:txBody>
          <a:bodyPr anchor="b">
            <a:noAutofit/>
          </a:bodyPr>
          <a:lstStyle>
            <a:lvl1pPr marL="0" indent="0" algn="ctr">
              <a:buNone/>
              <a:defRPr sz="2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1</a:t>
            </a:r>
          </a:p>
        </p:txBody>
      </p:sp>
      <p:sp>
        <p:nvSpPr>
          <p:cNvPr id="40" name="Text Placeholder 2">
            <a:extLst>
              <a:ext uri="{FF2B5EF4-FFF2-40B4-BE49-F238E27FC236}">
                <a16:creationId xmlns:a16="http://schemas.microsoft.com/office/drawing/2014/main" id="{751B0861-2EA8-ECE3-EAD2-8B4E29CAB7D6}"/>
              </a:ext>
            </a:extLst>
          </p:cNvPr>
          <p:cNvSpPr>
            <a:spLocks noGrp="1"/>
          </p:cNvSpPr>
          <p:nvPr>
            <p:ph type="body" idx="20" hasCustomPrompt="1"/>
          </p:nvPr>
        </p:nvSpPr>
        <p:spPr>
          <a:xfrm>
            <a:off x="1557621" y="3262591"/>
            <a:ext cx="2906136" cy="659387"/>
          </a:xfrm>
        </p:spPr>
        <p:txBody>
          <a:bodyPr>
            <a:normAutofit/>
          </a:bodyPr>
          <a:lstStyle>
            <a:lvl1pPr marL="0" indent="0" algn="ctr">
              <a:lnSpc>
                <a:spcPct val="15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1" name="Text Placeholder 35">
            <a:extLst>
              <a:ext uri="{FF2B5EF4-FFF2-40B4-BE49-F238E27FC236}">
                <a16:creationId xmlns:a16="http://schemas.microsoft.com/office/drawing/2014/main" id="{EDECD28D-959E-633C-43A4-22C507BA17CB}"/>
              </a:ext>
            </a:extLst>
          </p:cNvPr>
          <p:cNvSpPr>
            <a:spLocks noGrp="1"/>
          </p:cNvSpPr>
          <p:nvPr>
            <p:ph type="body" sz="quarter" idx="21" hasCustomPrompt="1"/>
          </p:nvPr>
        </p:nvSpPr>
        <p:spPr>
          <a:xfrm>
            <a:off x="7728244" y="1580793"/>
            <a:ext cx="2906136" cy="331694"/>
          </a:xfrm>
        </p:spPr>
        <p:txBody>
          <a:bodyPr anchor="b">
            <a:noAutofit/>
          </a:bodyPr>
          <a:lstStyle>
            <a:lvl1pPr marL="0" indent="0" algn="ctr">
              <a:buNone/>
              <a:defRPr sz="2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ITEM 02</a:t>
            </a:r>
          </a:p>
        </p:txBody>
      </p:sp>
      <p:sp>
        <p:nvSpPr>
          <p:cNvPr id="42" name="Text Placeholder 35">
            <a:extLst>
              <a:ext uri="{FF2B5EF4-FFF2-40B4-BE49-F238E27FC236}">
                <a16:creationId xmlns:a16="http://schemas.microsoft.com/office/drawing/2014/main" id="{01292D3C-CF79-4F87-1FA4-34EE88EAF155}"/>
              </a:ext>
            </a:extLst>
          </p:cNvPr>
          <p:cNvSpPr>
            <a:spLocks noGrp="1"/>
          </p:cNvSpPr>
          <p:nvPr>
            <p:ph type="body" sz="quarter" idx="22" hasCustomPrompt="1"/>
          </p:nvPr>
        </p:nvSpPr>
        <p:spPr>
          <a:xfrm>
            <a:off x="1557620" y="2912636"/>
            <a:ext cx="2906136" cy="331694"/>
          </a:xfrm>
        </p:spPr>
        <p:txBody>
          <a:bodyPr anchor="b">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4" name="Text Placeholder 2">
            <a:extLst>
              <a:ext uri="{FF2B5EF4-FFF2-40B4-BE49-F238E27FC236}">
                <a16:creationId xmlns:a16="http://schemas.microsoft.com/office/drawing/2014/main" id="{054322C3-E84F-DF04-0E91-6CBD6844D7CB}"/>
              </a:ext>
            </a:extLst>
          </p:cNvPr>
          <p:cNvSpPr>
            <a:spLocks noGrp="1"/>
          </p:cNvSpPr>
          <p:nvPr>
            <p:ph type="body" idx="23" hasCustomPrompt="1"/>
          </p:nvPr>
        </p:nvSpPr>
        <p:spPr>
          <a:xfrm>
            <a:off x="1557621" y="5409443"/>
            <a:ext cx="2906136" cy="659387"/>
          </a:xfrm>
        </p:spPr>
        <p:txBody>
          <a:bodyPr>
            <a:normAutofit/>
          </a:bodyPr>
          <a:lstStyle>
            <a:lvl1pPr marL="0" indent="0" algn="ctr">
              <a:lnSpc>
                <a:spcPct val="15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5" name="Text Placeholder 35">
            <a:extLst>
              <a:ext uri="{FF2B5EF4-FFF2-40B4-BE49-F238E27FC236}">
                <a16:creationId xmlns:a16="http://schemas.microsoft.com/office/drawing/2014/main" id="{961275FC-A239-BAD6-87FB-48AE2076525D}"/>
              </a:ext>
            </a:extLst>
          </p:cNvPr>
          <p:cNvSpPr>
            <a:spLocks noGrp="1"/>
          </p:cNvSpPr>
          <p:nvPr>
            <p:ph type="body" sz="quarter" idx="24" hasCustomPrompt="1"/>
          </p:nvPr>
        </p:nvSpPr>
        <p:spPr>
          <a:xfrm>
            <a:off x="1557620" y="5059488"/>
            <a:ext cx="2906136" cy="331694"/>
          </a:xfrm>
        </p:spPr>
        <p:txBody>
          <a:bodyPr anchor="b">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6" name="Text Placeholder 2">
            <a:extLst>
              <a:ext uri="{FF2B5EF4-FFF2-40B4-BE49-F238E27FC236}">
                <a16:creationId xmlns:a16="http://schemas.microsoft.com/office/drawing/2014/main" id="{BA397F75-7CDC-F5D2-9EFD-AF0F6BB0C492}"/>
              </a:ext>
            </a:extLst>
          </p:cNvPr>
          <p:cNvSpPr>
            <a:spLocks noGrp="1"/>
          </p:cNvSpPr>
          <p:nvPr>
            <p:ph type="body" idx="25" hasCustomPrompt="1"/>
          </p:nvPr>
        </p:nvSpPr>
        <p:spPr>
          <a:xfrm>
            <a:off x="7729820" y="3262591"/>
            <a:ext cx="2906136" cy="659387"/>
          </a:xfrm>
        </p:spPr>
        <p:txBody>
          <a:bodyPr>
            <a:normAutofit/>
          </a:bodyPr>
          <a:lstStyle>
            <a:lvl1pPr marL="0" indent="0" algn="ctr">
              <a:lnSpc>
                <a:spcPct val="15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7" name="Text Placeholder 35">
            <a:extLst>
              <a:ext uri="{FF2B5EF4-FFF2-40B4-BE49-F238E27FC236}">
                <a16:creationId xmlns:a16="http://schemas.microsoft.com/office/drawing/2014/main" id="{4F9F0F5E-7DDF-2D5D-44E5-BEB89F35876B}"/>
              </a:ext>
            </a:extLst>
          </p:cNvPr>
          <p:cNvSpPr>
            <a:spLocks noGrp="1"/>
          </p:cNvSpPr>
          <p:nvPr>
            <p:ph type="body" sz="quarter" idx="26" hasCustomPrompt="1"/>
          </p:nvPr>
        </p:nvSpPr>
        <p:spPr>
          <a:xfrm>
            <a:off x="7729819" y="2912636"/>
            <a:ext cx="2906136" cy="331694"/>
          </a:xfrm>
        </p:spPr>
        <p:txBody>
          <a:bodyPr anchor="b">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8" name="Text Placeholder 2">
            <a:extLst>
              <a:ext uri="{FF2B5EF4-FFF2-40B4-BE49-F238E27FC236}">
                <a16:creationId xmlns:a16="http://schemas.microsoft.com/office/drawing/2014/main" id="{9BB0F3F5-6E3C-76C1-8AF4-AA87F27FFE43}"/>
              </a:ext>
            </a:extLst>
          </p:cNvPr>
          <p:cNvSpPr>
            <a:spLocks noGrp="1"/>
          </p:cNvSpPr>
          <p:nvPr>
            <p:ph type="body" idx="27" hasCustomPrompt="1"/>
          </p:nvPr>
        </p:nvSpPr>
        <p:spPr>
          <a:xfrm>
            <a:off x="7729820" y="5409443"/>
            <a:ext cx="2906136" cy="659387"/>
          </a:xfrm>
        </p:spPr>
        <p:txBody>
          <a:bodyPr>
            <a:normAutofit/>
          </a:bodyPr>
          <a:lstStyle>
            <a:lvl1pPr marL="0" indent="0" algn="ctr">
              <a:lnSpc>
                <a:spcPct val="150000"/>
              </a:lnSpc>
              <a:buNone/>
              <a:defRPr sz="9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9" name="Text Placeholder 35">
            <a:extLst>
              <a:ext uri="{FF2B5EF4-FFF2-40B4-BE49-F238E27FC236}">
                <a16:creationId xmlns:a16="http://schemas.microsoft.com/office/drawing/2014/main" id="{FF1C46BB-894A-12D7-4755-F7B3AE6B4BC3}"/>
              </a:ext>
            </a:extLst>
          </p:cNvPr>
          <p:cNvSpPr>
            <a:spLocks noGrp="1"/>
          </p:cNvSpPr>
          <p:nvPr>
            <p:ph type="body" sz="quarter" idx="28" hasCustomPrompt="1"/>
          </p:nvPr>
        </p:nvSpPr>
        <p:spPr>
          <a:xfrm>
            <a:off x="7729819" y="5059488"/>
            <a:ext cx="2906136" cy="331694"/>
          </a:xfrm>
        </p:spPr>
        <p:txBody>
          <a:bodyPr anchor="b">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Tree>
    <p:extLst>
      <p:ext uri="{BB962C8B-B14F-4D97-AF65-F5344CB8AC3E}">
        <p14:creationId xmlns:p14="http://schemas.microsoft.com/office/powerpoint/2010/main" val="98777743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7" name="Rounded Rectangle 16">
            <a:extLst>
              <a:ext uri="{FF2B5EF4-FFF2-40B4-BE49-F238E27FC236}">
                <a16:creationId xmlns:a16="http://schemas.microsoft.com/office/drawing/2014/main" id="{95FEABE1-D3F6-B96A-14B2-6860C9F2EF03}"/>
              </a:ext>
            </a:extLst>
          </p:cNvPr>
          <p:cNvSpPr/>
          <p:nvPr userDrawn="1"/>
        </p:nvSpPr>
        <p:spPr>
          <a:xfrm>
            <a:off x="996833" y="1646424"/>
            <a:ext cx="2743200" cy="822960"/>
          </a:xfrm>
          <a:prstGeom prst="roundRect">
            <a:avLst>
              <a:gd name="adj" fmla="val 931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Rounded Rectangle 17">
            <a:extLst>
              <a:ext uri="{FF2B5EF4-FFF2-40B4-BE49-F238E27FC236}">
                <a16:creationId xmlns:a16="http://schemas.microsoft.com/office/drawing/2014/main" id="{3D7F150A-1F65-AC0D-40A8-D501278A187A}"/>
              </a:ext>
            </a:extLst>
          </p:cNvPr>
          <p:cNvSpPr/>
          <p:nvPr userDrawn="1"/>
        </p:nvSpPr>
        <p:spPr>
          <a:xfrm>
            <a:off x="3844472" y="1646424"/>
            <a:ext cx="2020645" cy="822960"/>
          </a:xfrm>
          <a:prstGeom prst="roundRect">
            <a:avLst>
              <a:gd name="adj" fmla="val 9314"/>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9" name="Rounded Rectangle 18">
            <a:extLst>
              <a:ext uri="{FF2B5EF4-FFF2-40B4-BE49-F238E27FC236}">
                <a16:creationId xmlns:a16="http://schemas.microsoft.com/office/drawing/2014/main" id="{3D545E81-EC3E-F012-A7A8-BBBE00398571}"/>
              </a:ext>
            </a:extLst>
          </p:cNvPr>
          <p:cNvSpPr/>
          <p:nvPr userDrawn="1"/>
        </p:nvSpPr>
        <p:spPr>
          <a:xfrm>
            <a:off x="996833" y="2583706"/>
            <a:ext cx="2743200"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Rounded Rectangle 19">
            <a:extLst>
              <a:ext uri="{FF2B5EF4-FFF2-40B4-BE49-F238E27FC236}">
                <a16:creationId xmlns:a16="http://schemas.microsoft.com/office/drawing/2014/main" id="{AFF7DBF3-0C47-9197-3FAE-EF4244FD9366}"/>
              </a:ext>
            </a:extLst>
          </p:cNvPr>
          <p:cNvSpPr/>
          <p:nvPr userDrawn="1"/>
        </p:nvSpPr>
        <p:spPr>
          <a:xfrm>
            <a:off x="996833" y="3286046"/>
            <a:ext cx="2743200"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Rounded Rectangle 26">
            <a:extLst>
              <a:ext uri="{FF2B5EF4-FFF2-40B4-BE49-F238E27FC236}">
                <a16:creationId xmlns:a16="http://schemas.microsoft.com/office/drawing/2014/main" id="{A2CBA1F6-4B9A-0D17-F899-42E1D51CC1C6}"/>
              </a:ext>
            </a:extLst>
          </p:cNvPr>
          <p:cNvSpPr/>
          <p:nvPr userDrawn="1"/>
        </p:nvSpPr>
        <p:spPr>
          <a:xfrm>
            <a:off x="996833" y="3988386"/>
            <a:ext cx="2743200"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8" name="Rounded Rectangle 27">
            <a:extLst>
              <a:ext uri="{FF2B5EF4-FFF2-40B4-BE49-F238E27FC236}">
                <a16:creationId xmlns:a16="http://schemas.microsoft.com/office/drawing/2014/main" id="{9CDA169A-ED7C-53FD-C26E-D322C2CAA1E2}"/>
              </a:ext>
            </a:extLst>
          </p:cNvPr>
          <p:cNvSpPr/>
          <p:nvPr userDrawn="1"/>
        </p:nvSpPr>
        <p:spPr>
          <a:xfrm>
            <a:off x="996833" y="4690726"/>
            <a:ext cx="2743200"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9" name="Rounded Rectangle 28">
            <a:extLst>
              <a:ext uri="{FF2B5EF4-FFF2-40B4-BE49-F238E27FC236}">
                <a16:creationId xmlns:a16="http://schemas.microsoft.com/office/drawing/2014/main" id="{DAEAC5E9-AE3A-D7C3-C2C9-40462F2394B8}"/>
              </a:ext>
            </a:extLst>
          </p:cNvPr>
          <p:cNvSpPr/>
          <p:nvPr userDrawn="1"/>
        </p:nvSpPr>
        <p:spPr>
          <a:xfrm>
            <a:off x="3844472" y="2583706"/>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0" name="Rounded Rectangle 29">
            <a:extLst>
              <a:ext uri="{FF2B5EF4-FFF2-40B4-BE49-F238E27FC236}">
                <a16:creationId xmlns:a16="http://schemas.microsoft.com/office/drawing/2014/main" id="{A15B1330-F1DE-5648-44D1-6C8D01F6B4C6}"/>
              </a:ext>
            </a:extLst>
          </p:cNvPr>
          <p:cNvSpPr/>
          <p:nvPr userDrawn="1"/>
        </p:nvSpPr>
        <p:spPr>
          <a:xfrm>
            <a:off x="3844472" y="3286046"/>
            <a:ext cx="2020645"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1" name="Rounded Rectangle 30">
            <a:extLst>
              <a:ext uri="{FF2B5EF4-FFF2-40B4-BE49-F238E27FC236}">
                <a16:creationId xmlns:a16="http://schemas.microsoft.com/office/drawing/2014/main" id="{71E3210E-AA1F-BD35-271E-5AFD63478EC1}"/>
              </a:ext>
            </a:extLst>
          </p:cNvPr>
          <p:cNvSpPr/>
          <p:nvPr userDrawn="1"/>
        </p:nvSpPr>
        <p:spPr>
          <a:xfrm>
            <a:off x="3844472" y="3988386"/>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Rounded Rectangle 31">
            <a:extLst>
              <a:ext uri="{FF2B5EF4-FFF2-40B4-BE49-F238E27FC236}">
                <a16:creationId xmlns:a16="http://schemas.microsoft.com/office/drawing/2014/main" id="{E038A863-BA5E-EE7E-B105-3EB103ADC594}"/>
              </a:ext>
            </a:extLst>
          </p:cNvPr>
          <p:cNvSpPr/>
          <p:nvPr userDrawn="1"/>
        </p:nvSpPr>
        <p:spPr>
          <a:xfrm>
            <a:off x="3844472" y="4690726"/>
            <a:ext cx="2020645"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0" name="Freeform 49">
            <a:extLst>
              <a:ext uri="{FF2B5EF4-FFF2-40B4-BE49-F238E27FC236}">
                <a16:creationId xmlns:a16="http://schemas.microsoft.com/office/drawing/2014/main" id="{287BC619-54CC-0565-AC5E-557B52A4F5D5}"/>
              </a:ext>
            </a:extLst>
          </p:cNvPr>
          <p:cNvSpPr>
            <a:spLocks noChangeArrowheads="1"/>
          </p:cNvSpPr>
          <p:nvPr userDrawn="1"/>
        </p:nvSpPr>
        <p:spPr bwMode="auto">
          <a:xfrm>
            <a:off x="4686663" y="4838108"/>
            <a:ext cx="336263" cy="335882"/>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rgbClr val="C00000"/>
          </a:solidFill>
          <a:ln>
            <a:noFill/>
          </a:ln>
          <a:effectLst/>
        </p:spPr>
        <p:txBody>
          <a:bodyPr wrap="square" anchor="ctr">
            <a:noAutofit/>
          </a:bodyPr>
          <a:lstStyle/>
          <a:p>
            <a:endParaRPr lang="en-US" sz="900"/>
          </a:p>
        </p:txBody>
      </p:sp>
      <p:sp>
        <p:nvSpPr>
          <p:cNvPr id="51" name="Freeform 1">
            <a:extLst>
              <a:ext uri="{FF2B5EF4-FFF2-40B4-BE49-F238E27FC236}">
                <a16:creationId xmlns:a16="http://schemas.microsoft.com/office/drawing/2014/main" id="{74EB4796-2AD5-B8A7-46B2-8589F5305546}"/>
              </a:ext>
            </a:extLst>
          </p:cNvPr>
          <p:cNvSpPr>
            <a:spLocks noChangeArrowheads="1"/>
          </p:cNvSpPr>
          <p:nvPr userDrawn="1"/>
        </p:nvSpPr>
        <p:spPr bwMode="auto">
          <a:xfrm>
            <a:off x="4623199" y="3412148"/>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a:p>
        </p:txBody>
      </p:sp>
      <p:sp>
        <p:nvSpPr>
          <p:cNvPr id="52" name="Freeform 1">
            <a:extLst>
              <a:ext uri="{FF2B5EF4-FFF2-40B4-BE49-F238E27FC236}">
                <a16:creationId xmlns:a16="http://schemas.microsoft.com/office/drawing/2014/main" id="{80DAA055-02F8-62A2-3F37-26E5037E07C6}"/>
              </a:ext>
            </a:extLst>
          </p:cNvPr>
          <p:cNvSpPr>
            <a:spLocks noChangeArrowheads="1"/>
          </p:cNvSpPr>
          <p:nvPr userDrawn="1"/>
        </p:nvSpPr>
        <p:spPr bwMode="auto">
          <a:xfrm>
            <a:off x="4623199" y="4128446"/>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a:p>
        </p:txBody>
      </p:sp>
      <p:sp>
        <p:nvSpPr>
          <p:cNvPr id="53" name="Rounded Rectangle 52">
            <a:extLst>
              <a:ext uri="{FF2B5EF4-FFF2-40B4-BE49-F238E27FC236}">
                <a16:creationId xmlns:a16="http://schemas.microsoft.com/office/drawing/2014/main" id="{5F7BC0AC-5217-775B-CB93-E33C348E3178}"/>
              </a:ext>
            </a:extLst>
          </p:cNvPr>
          <p:cNvSpPr/>
          <p:nvPr userDrawn="1"/>
        </p:nvSpPr>
        <p:spPr>
          <a:xfrm>
            <a:off x="6326885" y="1646424"/>
            <a:ext cx="2743200" cy="822960"/>
          </a:xfrm>
          <a:prstGeom prst="roundRect">
            <a:avLst>
              <a:gd name="adj" fmla="val 931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4" name="Rounded Rectangle 53">
            <a:extLst>
              <a:ext uri="{FF2B5EF4-FFF2-40B4-BE49-F238E27FC236}">
                <a16:creationId xmlns:a16="http://schemas.microsoft.com/office/drawing/2014/main" id="{38FCF336-26C9-4223-C6A8-CE0ACA3FD1FF}"/>
              </a:ext>
            </a:extLst>
          </p:cNvPr>
          <p:cNvSpPr/>
          <p:nvPr userDrawn="1"/>
        </p:nvSpPr>
        <p:spPr>
          <a:xfrm>
            <a:off x="9174524" y="1646424"/>
            <a:ext cx="2020645" cy="822960"/>
          </a:xfrm>
          <a:prstGeom prst="roundRect">
            <a:avLst>
              <a:gd name="adj" fmla="val 9314"/>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5" name="Rounded Rectangle 54">
            <a:extLst>
              <a:ext uri="{FF2B5EF4-FFF2-40B4-BE49-F238E27FC236}">
                <a16:creationId xmlns:a16="http://schemas.microsoft.com/office/drawing/2014/main" id="{BEFB5211-4447-2F32-F038-D86295BDBADA}"/>
              </a:ext>
            </a:extLst>
          </p:cNvPr>
          <p:cNvSpPr/>
          <p:nvPr userDrawn="1"/>
        </p:nvSpPr>
        <p:spPr>
          <a:xfrm>
            <a:off x="6326885" y="2583706"/>
            <a:ext cx="2743200"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6" name="Rounded Rectangle 55">
            <a:extLst>
              <a:ext uri="{FF2B5EF4-FFF2-40B4-BE49-F238E27FC236}">
                <a16:creationId xmlns:a16="http://schemas.microsoft.com/office/drawing/2014/main" id="{2735F17F-208E-8C32-F6EF-2D867C1EB661}"/>
              </a:ext>
            </a:extLst>
          </p:cNvPr>
          <p:cNvSpPr/>
          <p:nvPr userDrawn="1"/>
        </p:nvSpPr>
        <p:spPr>
          <a:xfrm>
            <a:off x="6326885" y="3286046"/>
            <a:ext cx="2743200"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7" name="Rounded Rectangle 56">
            <a:extLst>
              <a:ext uri="{FF2B5EF4-FFF2-40B4-BE49-F238E27FC236}">
                <a16:creationId xmlns:a16="http://schemas.microsoft.com/office/drawing/2014/main" id="{426E8DC9-3FCA-59CD-4F3D-6F1C2AC34879}"/>
              </a:ext>
            </a:extLst>
          </p:cNvPr>
          <p:cNvSpPr/>
          <p:nvPr userDrawn="1"/>
        </p:nvSpPr>
        <p:spPr>
          <a:xfrm>
            <a:off x="6326885" y="3988386"/>
            <a:ext cx="2743200"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8" name="Rounded Rectangle 57">
            <a:extLst>
              <a:ext uri="{FF2B5EF4-FFF2-40B4-BE49-F238E27FC236}">
                <a16:creationId xmlns:a16="http://schemas.microsoft.com/office/drawing/2014/main" id="{4F988C8F-D4D7-7091-65E6-1E968444C4D0}"/>
              </a:ext>
            </a:extLst>
          </p:cNvPr>
          <p:cNvSpPr/>
          <p:nvPr userDrawn="1"/>
        </p:nvSpPr>
        <p:spPr>
          <a:xfrm>
            <a:off x="6326885" y="4690726"/>
            <a:ext cx="2743200"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9" name="Rounded Rectangle 58">
            <a:extLst>
              <a:ext uri="{FF2B5EF4-FFF2-40B4-BE49-F238E27FC236}">
                <a16:creationId xmlns:a16="http://schemas.microsoft.com/office/drawing/2014/main" id="{8A184A33-FA1C-E095-6FC9-70B2166D277F}"/>
              </a:ext>
            </a:extLst>
          </p:cNvPr>
          <p:cNvSpPr/>
          <p:nvPr userDrawn="1"/>
        </p:nvSpPr>
        <p:spPr>
          <a:xfrm>
            <a:off x="9174524" y="2583706"/>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0" name="Rounded Rectangle 59">
            <a:extLst>
              <a:ext uri="{FF2B5EF4-FFF2-40B4-BE49-F238E27FC236}">
                <a16:creationId xmlns:a16="http://schemas.microsoft.com/office/drawing/2014/main" id="{7A1EB66C-3F92-16DC-FF18-0C4084527A4B}"/>
              </a:ext>
            </a:extLst>
          </p:cNvPr>
          <p:cNvSpPr/>
          <p:nvPr userDrawn="1"/>
        </p:nvSpPr>
        <p:spPr>
          <a:xfrm>
            <a:off x="9174524" y="3286046"/>
            <a:ext cx="2020645"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1" name="Rounded Rectangle 60">
            <a:extLst>
              <a:ext uri="{FF2B5EF4-FFF2-40B4-BE49-F238E27FC236}">
                <a16:creationId xmlns:a16="http://schemas.microsoft.com/office/drawing/2014/main" id="{16043C6B-D351-2344-E27B-732F81C20CA2}"/>
              </a:ext>
            </a:extLst>
          </p:cNvPr>
          <p:cNvSpPr/>
          <p:nvPr userDrawn="1"/>
        </p:nvSpPr>
        <p:spPr>
          <a:xfrm>
            <a:off x="9174524" y="3988386"/>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2" name="Rounded Rectangle 61">
            <a:extLst>
              <a:ext uri="{FF2B5EF4-FFF2-40B4-BE49-F238E27FC236}">
                <a16:creationId xmlns:a16="http://schemas.microsoft.com/office/drawing/2014/main" id="{366E70A8-C05E-810D-3006-F8F1146F7EF6}"/>
              </a:ext>
            </a:extLst>
          </p:cNvPr>
          <p:cNvSpPr/>
          <p:nvPr userDrawn="1"/>
        </p:nvSpPr>
        <p:spPr>
          <a:xfrm>
            <a:off x="9174524" y="4690726"/>
            <a:ext cx="2020645" cy="630646"/>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9" name="Freeform 1">
            <a:extLst>
              <a:ext uri="{FF2B5EF4-FFF2-40B4-BE49-F238E27FC236}">
                <a16:creationId xmlns:a16="http://schemas.microsoft.com/office/drawing/2014/main" id="{CA169E61-5333-F4F4-B7AA-4AFF7A1BD469}"/>
              </a:ext>
            </a:extLst>
          </p:cNvPr>
          <p:cNvSpPr>
            <a:spLocks noChangeArrowheads="1"/>
          </p:cNvSpPr>
          <p:nvPr userDrawn="1"/>
        </p:nvSpPr>
        <p:spPr bwMode="auto">
          <a:xfrm>
            <a:off x="9953250" y="2716226"/>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a:p>
        </p:txBody>
      </p:sp>
      <p:sp>
        <p:nvSpPr>
          <p:cNvPr id="70" name="Freeform 69">
            <a:extLst>
              <a:ext uri="{FF2B5EF4-FFF2-40B4-BE49-F238E27FC236}">
                <a16:creationId xmlns:a16="http://schemas.microsoft.com/office/drawing/2014/main" id="{222F2981-9E95-4AA7-689C-D918FA9766B1}"/>
              </a:ext>
            </a:extLst>
          </p:cNvPr>
          <p:cNvSpPr>
            <a:spLocks noChangeArrowheads="1"/>
          </p:cNvSpPr>
          <p:nvPr userDrawn="1"/>
        </p:nvSpPr>
        <p:spPr bwMode="auto">
          <a:xfrm>
            <a:off x="10016714" y="3425633"/>
            <a:ext cx="336263" cy="335882"/>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rgbClr val="C00000"/>
          </a:solidFill>
          <a:ln>
            <a:noFill/>
          </a:ln>
          <a:effectLst/>
        </p:spPr>
        <p:txBody>
          <a:bodyPr wrap="square" anchor="ctr">
            <a:noAutofit/>
          </a:bodyPr>
          <a:lstStyle/>
          <a:p>
            <a:endParaRPr lang="en-US" sz="900"/>
          </a:p>
        </p:txBody>
      </p:sp>
      <p:sp>
        <p:nvSpPr>
          <p:cNvPr id="71" name="Freeform 1">
            <a:extLst>
              <a:ext uri="{FF2B5EF4-FFF2-40B4-BE49-F238E27FC236}">
                <a16:creationId xmlns:a16="http://schemas.microsoft.com/office/drawing/2014/main" id="{C4191F08-2BBC-50CA-4DC9-A3C651D299AA}"/>
              </a:ext>
            </a:extLst>
          </p:cNvPr>
          <p:cNvSpPr>
            <a:spLocks noChangeArrowheads="1"/>
          </p:cNvSpPr>
          <p:nvPr userDrawn="1"/>
        </p:nvSpPr>
        <p:spPr bwMode="auto">
          <a:xfrm>
            <a:off x="9953250" y="4128446"/>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a:p>
        </p:txBody>
      </p:sp>
      <p:sp>
        <p:nvSpPr>
          <p:cNvPr id="72" name="Freeform 1">
            <a:extLst>
              <a:ext uri="{FF2B5EF4-FFF2-40B4-BE49-F238E27FC236}">
                <a16:creationId xmlns:a16="http://schemas.microsoft.com/office/drawing/2014/main" id="{875A9BEA-D38B-A232-444D-FEB64CCB7086}"/>
              </a:ext>
            </a:extLst>
          </p:cNvPr>
          <p:cNvSpPr>
            <a:spLocks noChangeArrowheads="1"/>
          </p:cNvSpPr>
          <p:nvPr userDrawn="1"/>
        </p:nvSpPr>
        <p:spPr bwMode="auto">
          <a:xfrm>
            <a:off x="9953250" y="4824622"/>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a:p>
        </p:txBody>
      </p:sp>
      <p:sp>
        <p:nvSpPr>
          <p:cNvPr id="73" name="Rounded Rectangle 72">
            <a:extLst>
              <a:ext uri="{FF2B5EF4-FFF2-40B4-BE49-F238E27FC236}">
                <a16:creationId xmlns:a16="http://schemas.microsoft.com/office/drawing/2014/main" id="{DB36F941-0CCC-7D81-247D-13E992C481E4}"/>
              </a:ext>
            </a:extLst>
          </p:cNvPr>
          <p:cNvSpPr/>
          <p:nvPr userDrawn="1"/>
        </p:nvSpPr>
        <p:spPr>
          <a:xfrm>
            <a:off x="996833" y="5402933"/>
            <a:ext cx="2743200"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74" name="Rounded Rectangle 73">
            <a:extLst>
              <a:ext uri="{FF2B5EF4-FFF2-40B4-BE49-F238E27FC236}">
                <a16:creationId xmlns:a16="http://schemas.microsoft.com/office/drawing/2014/main" id="{B368990B-EAF0-C845-7EE6-B737B84BCA51}"/>
              </a:ext>
            </a:extLst>
          </p:cNvPr>
          <p:cNvSpPr/>
          <p:nvPr userDrawn="1"/>
        </p:nvSpPr>
        <p:spPr>
          <a:xfrm>
            <a:off x="3844472" y="5402933"/>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76" name="Freeform 75">
            <a:extLst>
              <a:ext uri="{FF2B5EF4-FFF2-40B4-BE49-F238E27FC236}">
                <a16:creationId xmlns:a16="http://schemas.microsoft.com/office/drawing/2014/main" id="{BD2B2994-8019-452C-F112-3A00AE6DE6DE}"/>
              </a:ext>
            </a:extLst>
          </p:cNvPr>
          <p:cNvSpPr>
            <a:spLocks noChangeArrowheads="1"/>
          </p:cNvSpPr>
          <p:nvPr userDrawn="1"/>
        </p:nvSpPr>
        <p:spPr bwMode="auto">
          <a:xfrm>
            <a:off x="4686663" y="5550314"/>
            <a:ext cx="336263" cy="335882"/>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rgbClr val="C00000"/>
          </a:solidFill>
          <a:ln>
            <a:noFill/>
          </a:ln>
          <a:effectLst/>
        </p:spPr>
        <p:txBody>
          <a:bodyPr wrap="square" anchor="ctr">
            <a:noAutofit/>
          </a:bodyPr>
          <a:lstStyle/>
          <a:p>
            <a:endParaRPr lang="en-US" sz="900"/>
          </a:p>
        </p:txBody>
      </p:sp>
      <p:sp>
        <p:nvSpPr>
          <p:cNvPr id="77" name="Rounded Rectangle 76">
            <a:extLst>
              <a:ext uri="{FF2B5EF4-FFF2-40B4-BE49-F238E27FC236}">
                <a16:creationId xmlns:a16="http://schemas.microsoft.com/office/drawing/2014/main" id="{6FB85351-2942-C4A8-23EB-FBD6C65813D6}"/>
              </a:ext>
            </a:extLst>
          </p:cNvPr>
          <p:cNvSpPr/>
          <p:nvPr userDrawn="1"/>
        </p:nvSpPr>
        <p:spPr>
          <a:xfrm>
            <a:off x="6326885" y="5402933"/>
            <a:ext cx="2743200"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78" name="Rounded Rectangle 77">
            <a:extLst>
              <a:ext uri="{FF2B5EF4-FFF2-40B4-BE49-F238E27FC236}">
                <a16:creationId xmlns:a16="http://schemas.microsoft.com/office/drawing/2014/main" id="{F9F06BA9-0D3A-C5C9-02D1-55BD936B370B}"/>
              </a:ext>
            </a:extLst>
          </p:cNvPr>
          <p:cNvSpPr/>
          <p:nvPr userDrawn="1"/>
        </p:nvSpPr>
        <p:spPr>
          <a:xfrm>
            <a:off x="9174524" y="5402933"/>
            <a:ext cx="2020645" cy="630646"/>
          </a:xfrm>
          <a:prstGeom prst="roundRect">
            <a:avLst>
              <a:gd name="adj" fmla="val 931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80" name="Freeform 1">
            <a:extLst>
              <a:ext uri="{FF2B5EF4-FFF2-40B4-BE49-F238E27FC236}">
                <a16:creationId xmlns:a16="http://schemas.microsoft.com/office/drawing/2014/main" id="{4EA21110-BB29-B969-99BB-C333E54CECEA}"/>
              </a:ext>
            </a:extLst>
          </p:cNvPr>
          <p:cNvSpPr>
            <a:spLocks noChangeArrowheads="1"/>
          </p:cNvSpPr>
          <p:nvPr userDrawn="1"/>
        </p:nvSpPr>
        <p:spPr bwMode="auto">
          <a:xfrm>
            <a:off x="9953250" y="5536829"/>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a:p>
        </p:txBody>
      </p:sp>
      <p:sp>
        <p:nvSpPr>
          <p:cNvPr id="81" name="Rectangle 80">
            <a:extLst>
              <a:ext uri="{FF2B5EF4-FFF2-40B4-BE49-F238E27FC236}">
                <a16:creationId xmlns:a16="http://schemas.microsoft.com/office/drawing/2014/main" id="{9FA1CD75-36E9-AB7B-D6BB-55BDC34BFAA9}"/>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Title 1">
            <a:extLst>
              <a:ext uri="{FF2B5EF4-FFF2-40B4-BE49-F238E27FC236}">
                <a16:creationId xmlns:a16="http://schemas.microsoft.com/office/drawing/2014/main" id="{5D1B05BC-A335-5042-C53C-59A668C5ED7F}"/>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
        <p:nvSpPr>
          <p:cNvPr id="83" name="Text Placeholder 35">
            <a:extLst>
              <a:ext uri="{FF2B5EF4-FFF2-40B4-BE49-F238E27FC236}">
                <a16:creationId xmlns:a16="http://schemas.microsoft.com/office/drawing/2014/main" id="{EC7B8493-E66C-AE69-EE89-5A354A21724B}"/>
              </a:ext>
            </a:extLst>
          </p:cNvPr>
          <p:cNvSpPr>
            <a:spLocks noGrp="1"/>
          </p:cNvSpPr>
          <p:nvPr>
            <p:ph type="body" sz="quarter" idx="19" hasCustomPrompt="1"/>
          </p:nvPr>
        </p:nvSpPr>
        <p:spPr>
          <a:xfrm>
            <a:off x="996831" y="1903131"/>
            <a:ext cx="2743201" cy="331694"/>
          </a:xfrm>
        </p:spPr>
        <p:txBody>
          <a:bodyPr anchor="b">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84" name="Text Placeholder 2">
            <a:extLst>
              <a:ext uri="{FF2B5EF4-FFF2-40B4-BE49-F238E27FC236}">
                <a16:creationId xmlns:a16="http://schemas.microsoft.com/office/drawing/2014/main" id="{605A8837-50EC-BD77-2A79-79C548B01866}"/>
              </a:ext>
            </a:extLst>
          </p:cNvPr>
          <p:cNvSpPr>
            <a:spLocks noGrp="1"/>
          </p:cNvSpPr>
          <p:nvPr>
            <p:ph type="body" idx="20" hasCustomPrompt="1"/>
          </p:nvPr>
        </p:nvSpPr>
        <p:spPr>
          <a:xfrm>
            <a:off x="1162879" y="2585879"/>
            <a:ext cx="2425148" cy="628474"/>
          </a:xfrm>
        </p:spPr>
        <p:txBody>
          <a:bodyPr anchor="ct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85" name="Text Placeholder 35">
            <a:extLst>
              <a:ext uri="{FF2B5EF4-FFF2-40B4-BE49-F238E27FC236}">
                <a16:creationId xmlns:a16="http://schemas.microsoft.com/office/drawing/2014/main" id="{A7AC3193-0BA1-0D76-1DFE-134A7F8A32C7}"/>
              </a:ext>
            </a:extLst>
          </p:cNvPr>
          <p:cNvSpPr>
            <a:spLocks noGrp="1"/>
          </p:cNvSpPr>
          <p:nvPr>
            <p:ph type="body" sz="quarter" idx="21" hasCustomPrompt="1"/>
          </p:nvPr>
        </p:nvSpPr>
        <p:spPr>
          <a:xfrm>
            <a:off x="3839422" y="1903131"/>
            <a:ext cx="2020645" cy="331694"/>
          </a:xfrm>
        </p:spPr>
        <p:txBody>
          <a:bodyPr anchor="b">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86" name="Text Placeholder 35">
            <a:extLst>
              <a:ext uri="{FF2B5EF4-FFF2-40B4-BE49-F238E27FC236}">
                <a16:creationId xmlns:a16="http://schemas.microsoft.com/office/drawing/2014/main" id="{03ABF76F-42C3-FB19-8065-CE27C88B8D07}"/>
              </a:ext>
            </a:extLst>
          </p:cNvPr>
          <p:cNvSpPr>
            <a:spLocks noGrp="1"/>
          </p:cNvSpPr>
          <p:nvPr>
            <p:ph type="body" sz="quarter" idx="22" hasCustomPrompt="1"/>
          </p:nvPr>
        </p:nvSpPr>
        <p:spPr>
          <a:xfrm>
            <a:off x="6324204" y="1903131"/>
            <a:ext cx="2743201" cy="331694"/>
          </a:xfrm>
        </p:spPr>
        <p:txBody>
          <a:bodyPr anchor="b">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87" name="Text Placeholder 35">
            <a:extLst>
              <a:ext uri="{FF2B5EF4-FFF2-40B4-BE49-F238E27FC236}">
                <a16:creationId xmlns:a16="http://schemas.microsoft.com/office/drawing/2014/main" id="{C57A61EA-07B3-530A-1CDA-8F0FC5C96D5E}"/>
              </a:ext>
            </a:extLst>
          </p:cNvPr>
          <p:cNvSpPr>
            <a:spLocks noGrp="1"/>
          </p:cNvSpPr>
          <p:nvPr>
            <p:ph type="body" sz="quarter" idx="23" hasCustomPrompt="1"/>
          </p:nvPr>
        </p:nvSpPr>
        <p:spPr>
          <a:xfrm>
            <a:off x="9166795" y="1903131"/>
            <a:ext cx="2020645" cy="331694"/>
          </a:xfrm>
        </p:spPr>
        <p:txBody>
          <a:bodyPr anchor="b">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88" name="Text Placeholder 2">
            <a:extLst>
              <a:ext uri="{FF2B5EF4-FFF2-40B4-BE49-F238E27FC236}">
                <a16:creationId xmlns:a16="http://schemas.microsoft.com/office/drawing/2014/main" id="{501F426B-7E9B-57AE-0168-C281E52BEDEF}"/>
              </a:ext>
            </a:extLst>
          </p:cNvPr>
          <p:cNvSpPr>
            <a:spLocks noGrp="1"/>
          </p:cNvSpPr>
          <p:nvPr>
            <p:ph type="body" idx="24" hasCustomPrompt="1"/>
          </p:nvPr>
        </p:nvSpPr>
        <p:spPr>
          <a:xfrm>
            <a:off x="1162879" y="3281618"/>
            <a:ext cx="2425148" cy="628474"/>
          </a:xfrm>
        </p:spPr>
        <p:txBody>
          <a:bodyPr anchor="ct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89" name="Text Placeholder 2">
            <a:extLst>
              <a:ext uri="{FF2B5EF4-FFF2-40B4-BE49-F238E27FC236}">
                <a16:creationId xmlns:a16="http://schemas.microsoft.com/office/drawing/2014/main" id="{8342D744-23FC-A203-90BD-B95CF4A2DF58}"/>
              </a:ext>
            </a:extLst>
          </p:cNvPr>
          <p:cNvSpPr>
            <a:spLocks noGrp="1"/>
          </p:cNvSpPr>
          <p:nvPr>
            <p:ph type="body" idx="25" hasCustomPrompt="1"/>
          </p:nvPr>
        </p:nvSpPr>
        <p:spPr>
          <a:xfrm>
            <a:off x="1162879" y="3987296"/>
            <a:ext cx="2425148" cy="628474"/>
          </a:xfrm>
        </p:spPr>
        <p:txBody>
          <a:bodyPr anchor="ct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0" name="Text Placeholder 2">
            <a:extLst>
              <a:ext uri="{FF2B5EF4-FFF2-40B4-BE49-F238E27FC236}">
                <a16:creationId xmlns:a16="http://schemas.microsoft.com/office/drawing/2014/main" id="{143C80AC-1F51-A062-F069-E7A05596223A}"/>
              </a:ext>
            </a:extLst>
          </p:cNvPr>
          <p:cNvSpPr>
            <a:spLocks noGrp="1"/>
          </p:cNvSpPr>
          <p:nvPr>
            <p:ph type="body" idx="26" hasCustomPrompt="1"/>
          </p:nvPr>
        </p:nvSpPr>
        <p:spPr>
          <a:xfrm>
            <a:off x="1162879" y="4683035"/>
            <a:ext cx="2425148" cy="628474"/>
          </a:xfrm>
        </p:spPr>
        <p:txBody>
          <a:bodyPr anchor="ct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1" name="Text Placeholder 2">
            <a:extLst>
              <a:ext uri="{FF2B5EF4-FFF2-40B4-BE49-F238E27FC236}">
                <a16:creationId xmlns:a16="http://schemas.microsoft.com/office/drawing/2014/main" id="{A3BF3640-EC93-1967-85AE-D40724B5C117}"/>
              </a:ext>
            </a:extLst>
          </p:cNvPr>
          <p:cNvSpPr>
            <a:spLocks noGrp="1"/>
          </p:cNvSpPr>
          <p:nvPr>
            <p:ph type="body" idx="27" hasCustomPrompt="1"/>
          </p:nvPr>
        </p:nvSpPr>
        <p:spPr>
          <a:xfrm>
            <a:off x="1162879" y="5408592"/>
            <a:ext cx="2425148" cy="628474"/>
          </a:xfrm>
        </p:spPr>
        <p:txBody>
          <a:bodyPr anchor="ct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2" name="Text Placeholder 2">
            <a:extLst>
              <a:ext uri="{FF2B5EF4-FFF2-40B4-BE49-F238E27FC236}">
                <a16:creationId xmlns:a16="http://schemas.microsoft.com/office/drawing/2014/main" id="{01F6E605-D180-A091-D62C-6B4822A90D05}"/>
              </a:ext>
            </a:extLst>
          </p:cNvPr>
          <p:cNvSpPr>
            <a:spLocks noGrp="1"/>
          </p:cNvSpPr>
          <p:nvPr>
            <p:ph type="body" idx="28" hasCustomPrompt="1"/>
          </p:nvPr>
        </p:nvSpPr>
        <p:spPr>
          <a:xfrm>
            <a:off x="6490253" y="2585879"/>
            <a:ext cx="2425148" cy="628474"/>
          </a:xfrm>
        </p:spPr>
        <p:txBody>
          <a:bodyPr anchor="ct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3" name="Text Placeholder 2">
            <a:extLst>
              <a:ext uri="{FF2B5EF4-FFF2-40B4-BE49-F238E27FC236}">
                <a16:creationId xmlns:a16="http://schemas.microsoft.com/office/drawing/2014/main" id="{86DABB8F-3CA7-1EF8-D480-10AB323B63D1}"/>
              </a:ext>
            </a:extLst>
          </p:cNvPr>
          <p:cNvSpPr>
            <a:spLocks noGrp="1"/>
          </p:cNvSpPr>
          <p:nvPr>
            <p:ph type="body" idx="29" hasCustomPrompt="1"/>
          </p:nvPr>
        </p:nvSpPr>
        <p:spPr>
          <a:xfrm>
            <a:off x="6490253" y="3281618"/>
            <a:ext cx="2425148" cy="628474"/>
          </a:xfrm>
        </p:spPr>
        <p:txBody>
          <a:bodyPr anchor="ct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4" name="Text Placeholder 2">
            <a:extLst>
              <a:ext uri="{FF2B5EF4-FFF2-40B4-BE49-F238E27FC236}">
                <a16:creationId xmlns:a16="http://schemas.microsoft.com/office/drawing/2014/main" id="{D8628119-9805-2BAA-81D6-685C657DCEE7}"/>
              </a:ext>
            </a:extLst>
          </p:cNvPr>
          <p:cNvSpPr>
            <a:spLocks noGrp="1"/>
          </p:cNvSpPr>
          <p:nvPr>
            <p:ph type="body" idx="30" hasCustomPrompt="1"/>
          </p:nvPr>
        </p:nvSpPr>
        <p:spPr>
          <a:xfrm>
            <a:off x="6490253" y="3987296"/>
            <a:ext cx="2425148" cy="628474"/>
          </a:xfrm>
        </p:spPr>
        <p:txBody>
          <a:bodyPr anchor="ct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5" name="Text Placeholder 2">
            <a:extLst>
              <a:ext uri="{FF2B5EF4-FFF2-40B4-BE49-F238E27FC236}">
                <a16:creationId xmlns:a16="http://schemas.microsoft.com/office/drawing/2014/main" id="{F999C6E9-480F-535C-D820-896A27405676}"/>
              </a:ext>
            </a:extLst>
          </p:cNvPr>
          <p:cNvSpPr>
            <a:spLocks noGrp="1"/>
          </p:cNvSpPr>
          <p:nvPr>
            <p:ph type="body" idx="31" hasCustomPrompt="1"/>
          </p:nvPr>
        </p:nvSpPr>
        <p:spPr>
          <a:xfrm>
            <a:off x="6490253" y="4683035"/>
            <a:ext cx="2425148" cy="628474"/>
          </a:xfrm>
        </p:spPr>
        <p:txBody>
          <a:bodyPr anchor="ct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6" name="Text Placeholder 2">
            <a:extLst>
              <a:ext uri="{FF2B5EF4-FFF2-40B4-BE49-F238E27FC236}">
                <a16:creationId xmlns:a16="http://schemas.microsoft.com/office/drawing/2014/main" id="{DC0E7F43-EC1C-BD10-DF54-0AA186411196}"/>
              </a:ext>
            </a:extLst>
          </p:cNvPr>
          <p:cNvSpPr>
            <a:spLocks noGrp="1"/>
          </p:cNvSpPr>
          <p:nvPr>
            <p:ph type="body" idx="32" hasCustomPrompt="1"/>
          </p:nvPr>
        </p:nvSpPr>
        <p:spPr>
          <a:xfrm>
            <a:off x="6490253" y="5408592"/>
            <a:ext cx="2425148" cy="628474"/>
          </a:xfrm>
        </p:spPr>
        <p:txBody>
          <a:bodyPr anchor="ctr">
            <a:normAutofit/>
          </a:bodyPr>
          <a:lstStyle>
            <a:lvl1pPr marL="0" indent="0" algn="l">
              <a:lnSpc>
                <a:spcPct val="10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97" name="Freeform 1">
            <a:extLst>
              <a:ext uri="{FF2B5EF4-FFF2-40B4-BE49-F238E27FC236}">
                <a16:creationId xmlns:a16="http://schemas.microsoft.com/office/drawing/2014/main" id="{5449FBAD-9871-00CE-20F7-16FC173606AB}"/>
              </a:ext>
            </a:extLst>
          </p:cNvPr>
          <p:cNvSpPr>
            <a:spLocks noChangeArrowheads="1"/>
          </p:cNvSpPr>
          <p:nvPr userDrawn="1"/>
        </p:nvSpPr>
        <p:spPr bwMode="auto">
          <a:xfrm>
            <a:off x="4623199" y="2716226"/>
            <a:ext cx="463191" cy="36285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endParaRPr lang="en-US" sz="900"/>
          </a:p>
        </p:txBody>
      </p:sp>
    </p:spTree>
    <p:extLst>
      <p:ext uri="{BB962C8B-B14F-4D97-AF65-F5344CB8AC3E}">
        <p14:creationId xmlns:p14="http://schemas.microsoft.com/office/powerpoint/2010/main" val="16826667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64107F6F-AD3E-3D94-B143-B60FF8D455D5}"/>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Фигура">
            <a:extLst>
              <a:ext uri="{FF2B5EF4-FFF2-40B4-BE49-F238E27FC236}">
                <a16:creationId xmlns:a16="http://schemas.microsoft.com/office/drawing/2014/main" id="{407C3FDD-553F-ECD2-93A8-9D39FCB776AC}"/>
              </a:ext>
            </a:extLst>
          </p:cNvPr>
          <p:cNvSpPr>
            <a:spLocks/>
          </p:cNvSpPr>
          <p:nvPr userDrawn="1"/>
        </p:nvSpPr>
        <p:spPr bwMode="auto">
          <a:xfrm>
            <a:off x="9093415" y="1511938"/>
            <a:ext cx="1959283" cy="1716291"/>
          </a:xfrm>
          <a:custGeom>
            <a:avLst/>
            <a:gdLst>
              <a:gd name="T0" fmla="*/ 1879601 w 21600"/>
              <a:gd name="T1" fmla="*/ 1646436 h 21600"/>
              <a:gd name="T2" fmla="*/ 1879601 w 21600"/>
              <a:gd name="T3" fmla="*/ 1646436 h 21600"/>
              <a:gd name="T4" fmla="*/ 1879601 w 21600"/>
              <a:gd name="T5" fmla="*/ 1646436 h 21600"/>
              <a:gd name="T6" fmla="*/ 1879601 w 21600"/>
              <a:gd name="T7" fmla="*/ 164643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3" y="0"/>
                </a:moveTo>
                <a:lnTo>
                  <a:pt x="3979" y="7443"/>
                </a:lnTo>
                <a:lnTo>
                  <a:pt x="0" y="15084"/>
                </a:lnTo>
                <a:cubicBezTo>
                  <a:pt x="3156" y="15274"/>
                  <a:pt x="6264" y="16731"/>
                  <a:pt x="8675" y="19483"/>
                </a:cubicBezTo>
                <a:cubicBezTo>
                  <a:pt x="9242" y="20132"/>
                  <a:pt x="9736" y="20829"/>
                  <a:pt x="10180" y="21556"/>
                </a:cubicBezTo>
                <a:lnTo>
                  <a:pt x="17913" y="21600"/>
                </a:lnTo>
                <a:lnTo>
                  <a:pt x="21600" y="13933"/>
                </a:lnTo>
                <a:cubicBezTo>
                  <a:pt x="20586" y="12125"/>
                  <a:pt x="19393" y="10409"/>
                  <a:pt x="18008" y="8828"/>
                </a:cubicBezTo>
                <a:cubicBezTo>
                  <a:pt x="13046" y="3163"/>
                  <a:pt x="6604" y="225"/>
                  <a:pt x="103" y="0"/>
                </a:cubicBezTo>
                <a:close/>
              </a:path>
            </a:pathLst>
          </a:custGeom>
          <a:solidFill>
            <a:schemeClr val="accent2"/>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19045" tIns="19045" rIns="19045" bIns="19045" anchor="ctr"/>
          <a:lstStyle/>
          <a:p>
            <a:endParaRPr lang="en-US"/>
          </a:p>
        </p:txBody>
      </p:sp>
      <p:sp>
        <p:nvSpPr>
          <p:cNvPr id="4" name="Фигура">
            <a:extLst>
              <a:ext uri="{FF2B5EF4-FFF2-40B4-BE49-F238E27FC236}">
                <a16:creationId xmlns:a16="http://schemas.microsoft.com/office/drawing/2014/main" id="{6EDE87C0-7F6A-CCA1-DB04-68D949953261}"/>
              </a:ext>
            </a:extLst>
          </p:cNvPr>
          <p:cNvSpPr>
            <a:spLocks/>
          </p:cNvSpPr>
          <p:nvPr userDrawn="1"/>
        </p:nvSpPr>
        <p:spPr bwMode="auto">
          <a:xfrm>
            <a:off x="6994301" y="1512765"/>
            <a:ext cx="2279073" cy="1758904"/>
          </a:xfrm>
          <a:custGeom>
            <a:avLst/>
            <a:gdLst>
              <a:gd name="T0" fmla="*/ 2186385 w 21600"/>
              <a:gd name="T1" fmla="*/ 1687315 h 21600"/>
              <a:gd name="T2" fmla="*/ 2186385 w 21600"/>
              <a:gd name="T3" fmla="*/ 1687315 h 21600"/>
              <a:gd name="T4" fmla="*/ 2186385 w 21600"/>
              <a:gd name="T5" fmla="*/ 1687315 h 21600"/>
              <a:gd name="T6" fmla="*/ 2186385 w 21600"/>
              <a:gd name="T7" fmla="*/ 1687315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8271" y="0"/>
                </a:moveTo>
                <a:cubicBezTo>
                  <a:pt x="12793" y="316"/>
                  <a:pt x="7386" y="3184"/>
                  <a:pt x="3203" y="8604"/>
                </a:cubicBezTo>
                <a:cubicBezTo>
                  <a:pt x="1960" y="10215"/>
                  <a:pt x="895" y="11970"/>
                  <a:pt x="0" y="13822"/>
                </a:cubicBezTo>
                <a:lnTo>
                  <a:pt x="6413" y="13850"/>
                </a:lnTo>
                <a:lnTo>
                  <a:pt x="9636" y="21600"/>
                </a:lnTo>
                <a:cubicBezTo>
                  <a:pt x="10083" y="20678"/>
                  <a:pt x="10606" y="19804"/>
                  <a:pt x="11225" y="19001"/>
                </a:cubicBezTo>
                <a:cubicBezTo>
                  <a:pt x="13164" y="16489"/>
                  <a:pt x="15627" y="15072"/>
                  <a:pt x="18157" y="14746"/>
                </a:cubicBezTo>
                <a:lnTo>
                  <a:pt x="21600" y="7252"/>
                </a:lnTo>
                <a:lnTo>
                  <a:pt x="18271" y="0"/>
                </a:lnTo>
                <a:close/>
              </a:path>
            </a:pathLst>
          </a:custGeom>
          <a:solidFill>
            <a:schemeClr val="accent1"/>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19045" tIns="19045" rIns="19045" bIns="19045" anchor="ctr"/>
          <a:lstStyle/>
          <a:p>
            <a:endParaRPr lang="en-US"/>
          </a:p>
        </p:txBody>
      </p:sp>
      <p:sp>
        <p:nvSpPr>
          <p:cNvPr id="5" name="Фигура">
            <a:extLst>
              <a:ext uri="{FF2B5EF4-FFF2-40B4-BE49-F238E27FC236}">
                <a16:creationId xmlns:a16="http://schemas.microsoft.com/office/drawing/2014/main" id="{709042DB-880A-F499-F19C-42EE15B1AF25}"/>
              </a:ext>
            </a:extLst>
          </p:cNvPr>
          <p:cNvSpPr/>
          <p:nvPr userDrawn="1"/>
        </p:nvSpPr>
        <p:spPr bwMode="auto">
          <a:xfrm>
            <a:off x="10109463" y="2775518"/>
            <a:ext cx="1320537" cy="2257158"/>
          </a:xfrm>
          <a:custGeom>
            <a:avLst/>
            <a:gdLst/>
            <a:ahLst/>
            <a:cxnLst>
              <a:cxn ang="0">
                <a:pos x="wd2" y="hd2"/>
              </a:cxn>
              <a:cxn ang="5400000">
                <a:pos x="wd2" y="hd2"/>
              </a:cxn>
              <a:cxn ang="10800000">
                <a:pos x="wd2" y="hd2"/>
              </a:cxn>
              <a:cxn ang="16200000">
                <a:pos x="wd2" y="hd2"/>
              </a:cxn>
            </a:cxnLst>
            <a:rect l="0" t="0" r="r" b="b"/>
            <a:pathLst>
              <a:path w="21561" h="21600" extrusionOk="0">
                <a:moveTo>
                  <a:pt x="16907" y="0"/>
                </a:moveTo>
                <a:lnTo>
                  <a:pt x="11447" y="5826"/>
                </a:lnTo>
                <a:lnTo>
                  <a:pt x="0" y="5795"/>
                </a:lnTo>
                <a:cubicBezTo>
                  <a:pt x="2637" y="8942"/>
                  <a:pt x="2668" y="12639"/>
                  <a:pt x="105" y="15801"/>
                </a:cubicBezTo>
                <a:lnTo>
                  <a:pt x="5730" y="21600"/>
                </a:lnTo>
                <a:lnTo>
                  <a:pt x="17146" y="21467"/>
                </a:lnTo>
                <a:cubicBezTo>
                  <a:pt x="20129" y="18110"/>
                  <a:pt x="21600" y="14414"/>
                  <a:pt x="21560" y="10721"/>
                </a:cubicBezTo>
                <a:cubicBezTo>
                  <a:pt x="21519" y="7028"/>
                  <a:pt x="19968" y="3339"/>
                  <a:pt x="16907" y="0"/>
                </a:cubicBezTo>
                <a:close/>
              </a:path>
            </a:pathLst>
          </a:custGeom>
          <a:solidFill>
            <a:schemeClr val="accent3"/>
          </a:solidFill>
          <a:ln w="12700" cap="flat">
            <a:noFill/>
            <a:miter lim="400000"/>
          </a:ln>
          <a:effectLst/>
        </p:spPr>
        <p:txBody>
          <a:bodyPr lIns="19045" tIns="19045" rIns="19045" bIns="19045" anchor="ctr"/>
          <a:lstStyle/>
          <a:p>
            <a:pPr>
              <a:defRPr sz="3200">
                <a:solidFill>
                  <a:srgbClr val="FFFFFF"/>
                </a:solidFill>
              </a:defRPr>
            </a:pPr>
            <a:endParaRPr sz="1600" kern="0">
              <a:solidFill>
                <a:srgbClr val="FFFFFF"/>
              </a:solidFill>
              <a:ea typeface="Lato Light" panose="020F0502020204030203" pitchFamily="34" charset="0"/>
              <a:cs typeface="Lato Light" panose="020F0502020204030203" pitchFamily="34" charset="0"/>
              <a:sym typeface="Arial"/>
            </a:endParaRPr>
          </a:p>
        </p:txBody>
      </p:sp>
      <p:sp>
        <p:nvSpPr>
          <p:cNvPr id="6" name="Фигура">
            <a:extLst>
              <a:ext uri="{FF2B5EF4-FFF2-40B4-BE49-F238E27FC236}">
                <a16:creationId xmlns:a16="http://schemas.microsoft.com/office/drawing/2014/main" id="{894DC9BF-7864-B64A-4872-53E65F16D515}"/>
              </a:ext>
            </a:extLst>
          </p:cNvPr>
          <p:cNvSpPr>
            <a:spLocks/>
          </p:cNvSpPr>
          <p:nvPr userDrawn="1"/>
        </p:nvSpPr>
        <p:spPr bwMode="auto">
          <a:xfrm>
            <a:off x="6629400" y="2793623"/>
            <a:ext cx="1334408" cy="2249568"/>
          </a:xfrm>
          <a:custGeom>
            <a:avLst/>
            <a:gdLst>
              <a:gd name="T0" fmla="*/ 1280138 w 21576"/>
              <a:gd name="T1" fmla="*/ 2158009 h 21600"/>
              <a:gd name="T2" fmla="*/ 1280138 w 21576"/>
              <a:gd name="T3" fmla="*/ 2158009 h 21600"/>
              <a:gd name="T4" fmla="*/ 1280138 w 21576"/>
              <a:gd name="T5" fmla="*/ 2158009 h 21600"/>
              <a:gd name="T6" fmla="*/ 1280138 w 21576"/>
              <a:gd name="T7" fmla="*/ 2158009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76" h="21600" extrusionOk="0">
                <a:moveTo>
                  <a:pt x="4445" y="0"/>
                </a:moveTo>
                <a:cubicBezTo>
                  <a:pt x="1458" y="3372"/>
                  <a:pt x="-24" y="7090"/>
                  <a:pt x="0" y="10807"/>
                </a:cubicBezTo>
                <a:cubicBezTo>
                  <a:pt x="24" y="14524"/>
                  <a:pt x="1554" y="18238"/>
                  <a:pt x="4585" y="21600"/>
                </a:cubicBezTo>
                <a:lnTo>
                  <a:pt x="9967" y="15967"/>
                </a:lnTo>
                <a:lnTo>
                  <a:pt x="21576" y="16094"/>
                </a:lnTo>
                <a:cubicBezTo>
                  <a:pt x="18852" y="13014"/>
                  <a:pt x="18647" y="9361"/>
                  <a:pt x="20930" y="6187"/>
                </a:cubicBezTo>
                <a:lnTo>
                  <a:pt x="15332" y="20"/>
                </a:lnTo>
                <a:lnTo>
                  <a:pt x="4445" y="0"/>
                </a:lnTo>
                <a:close/>
              </a:path>
            </a:pathLst>
          </a:custGeom>
          <a:solidFill>
            <a:schemeClr val="accent6"/>
          </a:solidFill>
          <a:ln>
            <a:noFill/>
          </a:ln>
        </p:spPr>
        <p:txBody>
          <a:bodyPr lIns="19045" tIns="19045" rIns="19045" bIns="19045" anchor="ctr"/>
          <a:lstStyle/>
          <a:p>
            <a:endParaRPr lang="en-US"/>
          </a:p>
        </p:txBody>
      </p:sp>
      <p:sp>
        <p:nvSpPr>
          <p:cNvPr id="7" name="Фигура">
            <a:extLst>
              <a:ext uri="{FF2B5EF4-FFF2-40B4-BE49-F238E27FC236}">
                <a16:creationId xmlns:a16="http://schemas.microsoft.com/office/drawing/2014/main" id="{20AD853F-0BDE-6674-8178-0264CBC481E6}"/>
              </a:ext>
            </a:extLst>
          </p:cNvPr>
          <p:cNvSpPr/>
          <p:nvPr userDrawn="1"/>
        </p:nvSpPr>
        <p:spPr bwMode="auto">
          <a:xfrm>
            <a:off x="8780652" y="4584223"/>
            <a:ext cx="2288600" cy="1725138"/>
          </a:xfrm>
          <a:custGeom>
            <a:avLst/>
            <a:gdLst/>
            <a:ahLst/>
            <a:cxnLst>
              <a:cxn ang="0">
                <a:pos x="wd2" y="hd2"/>
              </a:cxn>
              <a:cxn ang="5400000">
                <a:pos x="wd2" y="hd2"/>
              </a:cxn>
              <a:cxn ang="10800000">
                <a:pos x="wd2" y="hd2"/>
              </a:cxn>
              <a:cxn ang="16200000">
                <a:pos x="wd2" y="hd2"/>
              </a:cxn>
            </a:cxnLst>
            <a:rect l="0" t="0" r="r" b="b"/>
            <a:pathLst>
              <a:path w="21600" h="21600" extrusionOk="0">
                <a:moveTo>
                  <a:pt x="11757" y="0"/>
                </a:moveTo>
                <a:cubicBezTo>
                  <a:pt x="11358" y="781"/>
                  <a:pt x="10904" y="1526"/>
                  <a:pt x="10382" y="2218"/>
                </a:cubicBezTo>
                <a:cubicBezTo>
                  <a:pt x="8443" y="4791"/>
                  <a:pt x="5979" y="6242"/>
                  <a:pt x="3448" y="6565"/>
                </a:cubicBezTo>
                <a:lnTo>
                  <a:pt x="0" y="14258"/>
                </a:lnTo>
                <a:lnTo>
                  <a:pt x="3292" y="21600"/>
                </a:lnTo>
                <a:cubicBezTo>
                  <a:pt x="8773" y="21300"/>
                  <a:pt x="14188" y="18376"/>
                  <a:pt x="18373" y="12822"/>
                </a:cubicBezTo>
                <a:cubicBezTo>
                  <a:pt x="19629" y="11155"/>
                  <a:pt x="20700" y="9335"/>
                  <a:pt x="21600" y="7415"/>
                </a:cubicBezTo>
                <a:lnTo>
                  <a:pt x="15009" y="7586"/>
                </a:lnTo>
                <a:lnTo>
                  <a:pt x="11757" y="0"/>
                </a:lnTo>
                <a:close/>
              </a:path>
            </a:pathLst>
          </a:custGeom>
          <a:solidFill>
            <a:schemeClr val="accent4"/>
          </a:solidFill>
          <a:ln w="12700" cap="flat">
            <a:noFill/>
            <a:miter lim="400000"/>
          </a:ln>
          <a:effectLst/>
        </p:spPr>
        <p:txBody>
          <a:bodyPr lIns="19045" tIns="19045" rIns="19045" bIns="19045" anchor="ctr"/>
          <a:lstStyle/>
          <a:p>
            <a:pPr>
              <a:defRPr sz="3200">
                <a:solidFill>
                  <a:srgbClr val="FFFFFF"/>
                </a:solidFill>
              </a:defRPr>
            </a:pPr>
            <a:endParaRPr sz="1600" kern="0">
              <a:solidFill>
                <a:srgbClr val="FFFFFF"/>
              </a:solidFill>
              <a:ea typeface="Lato Light" panose="020F0502020204030203" pitchFamily="34" charset="0"/>
              <a:cs typeface="Lato Light" panose="020F0502020204030203" pitchFamily="34" charset="0"/>
              <a:sym typeface="Arial"/>
            </a:endParaRPr>
          </a:p>
        </p:txBody>
      </p:sp>
      <p:sp>
        <p:nvSpPr>
          <p:cNvPr id="8" name="Фигура">
            <a:extLst>
              <a:ext uri="{FF2B5EF4-FFF2-40B4-BE49-F238E27FC236}">
                <a16:creationId xmlns:a16="http://schemas.microsoft.com/office/drawing/2014/main" id="{72D7DCD2-0934-5572-91B4-62007BD68E1C}"/>
              </a:ext>
            </a:extLst>
          </p:cNvPr>
          <p:cNvSpPr/>
          <p:nvPr userDrawn="1"/>
        </p:nvSpPr>
        <p:spPr bwMode="auto">
          <a:xfrm>
            <a:off x="7004215" y="4614009"/>
            <a:ext cx="1959293" cy="1695351"/>
          </a:xfrm>
          <a:custGeom>
            <a:avLst/>
            <a:gdLst/>
            <a:ahLst/>
            <a:cxnLst>
              <a:cxn ang="0">
                <a:pos x="wd2" y="hd2"/>
              </a:cxn>
              <a:cxn ang="5400000">
                <a:pos x="wd2" y="hd2"/>
              </a:cxn>
              <a:cxn ang="10800000">
                <a:pos x="wd2" y="hd2"/>
              </a:cxn>
              <a:cxn ang="16200000">
                <a:pos x="wd2" y="hd2"/>
              </a:cxn>
            </a:cxnLst>
            <a:rect l="0" t="0" r="r" b="b"/>
            <a:pathLst>
              <a:path w="21600" h="21600" extrusionOk="0">
                <a:moveTo>
                  <a:pt x="3658" y="0"/>
                </a:moveTo>
                <a:lnTo>
                  <a:pt x="0" y="7445"/>
                </a:lnTo>
                <a:cubicBezTo>
                  <a:pt x="1020" y="9295"/>
                  <a:pt x="2224" y="11051"/>
                  <a:pt x="3621" y="12666"/>
                </a:cubicBezTo>
                <a:cubicBezTo>
                  <a:pt x="8560" y="18373"/>
                  <a:pt x="14964" y="21347"/>
                  <a:pt x="21434" y="21600"/>
                </a:cubicBezTo>
                <a:lnTo>
                  <a:pt x="17586" y="14126"/>
                </a:lnTo>
                <a:lnTo>
                  <a:pt x="21600" y="6330"/>
                </a:lnTo>
                <a:cubicBezTo>
                  <a:pt x="18454" y="6130"/>
                  <a:pt x="15356" y="4657"/>
                  <a:pt x="12953" y="1879"/>
                </a:cubicBezTo>
                <a:cubicBezTo>
                  <a:pt x="12487" y="1341"/>
                  <a:pt x="12080" y="764"/>
                  <a:pt x="11698" y="171"/>
                </a:cubicBezTo>
                <a:lnTo>
                  <a:pt x="3658" y="0"/>
                </a:lnTo>
                <a:close/>
              </a:path>
            </a:pathLst>
          </a:custGeom>
          <a:solidFill>
            <a:srgbClr val="04617B"/>
          </a:solidFill>
          <a:ln w="12700" cap="flat">
            <a:noFill/>
            <a:miter lim="400000"/>
          </a:ln>
          <a:effectLst/>
        </p:spPr>
        <p:txBody>
          <a:bodyPr lIns="19045" tIns="19045" rIns="19045" bIns="19045" anchor="ctr"/>
          <a:lstStyle/>
          <a:p>
            <a:pPr>
              <a:defRPr sz="3200">
                <a:solidFill>
                  <a:srgbClr val="FFFFFF"/>
                </a:solidFill>
              </a:defRPr>
            </a:pPr>
            <a:endParaRPr sz="1600" kern="0">
              <a:solidFill>
                <a:srgbClr val="FFFFFF"/>
              </a:solidFill>
              <a:ea typeface="Lato Light" panose="020F0502020204030203" pitchFamily="34" charset="0"/>
              <a:cs typeface="Lato Light" panose="020F0502020204030203" pitchFamily="34" charset="0"/>
              <a:sym typeface="Arial"/>
            </a:endParaRPr>
          </a:p>
        </p:txBody>
      </p:sp>
      <p:sp>
        <p:nvSpPr>
          <p:cNvPr id="9" name="Freeform 814">
            <a:extLst>
              <a:ext uri="{FF2B5EF4-FFF2-40B4-BE49-F238E27FC236}">
                <a16:creationId xmlns:a16="http://schemas.microsoft.com/office/drawing/2014/main" id="{67E86191-887B-4629-9163-17D61EF72360}"/>
              </a:ext>
            </a:extLst>
          </p:cNvPr>
          <p:cNvSpPr>
            <a:spLocks noChangeArrowheads="1"/>
          </p:cNvSpPr>
          <p:nvPr userDrawn="1"/>
        </p:nvSpPr>
        <p:spPr bwMode="auto">
          <a:xfrm>
            <a:off x="8039231" y="1924273"/>
            <a:ext cx="599634" cy="602774"/>
          </a:xfrm>
          <a:custGeom>
            <a:avLst/>
            <a:gdLst/>
            <a:ahLst/>
            <a:cxnLst/>
            <a:rect l="0" t="0" r="r" b="b"/>
            <a:pathLst>
              <a:path w="302852" h="304441">
                <a:moveTo>
                  <a:pt x="217311" y="241300"/>
                </a:moveTo>
                <a:cubicBezTo>
                  <a:pt x="219781" y="241300"/>
                  <a:pt x="221897" y="243417"/>
                  <a:pt x="221897" y="245886"/>
                </a:cubicBezTo>
                <a:cubicBezTo>
                  <a:pt x="221897" y="248356"/>
                  <a:pt x="219781" y="250472"/>
                  <a:pt x="217311" y="250472"/>
                </a:cubicBezTo>
                <a:cubicBezTo>
                  <a:pt x="214842" y="250472"/>
                  <a:pt x="212725" y="248356"/>
                  <a:pt x="212725" y="245886"/>
                </a:cubicBezTo>
                <a:cubicBezTo>
                  <a:pt x="212725" y="243417"/>
                  <a:pt x="214842" y="241300"/>
                  <a:pt x="217311" y="241300"/>
                </a:cubicBezTo>
                <a:close/>
                <a:moveTo>
                  <a:pt x="67796" y="236537"/>
                </a:moveTo>
                <a:lnTo>
                  <a:pt x="131513" y="236537"/>
                </a:lnTo>
                <a:cubicBezTo>
                  <a:pt x="134019" y="236537"/>
                  <a:pt x="136167" y="238654"/>
                  <a:pt x="136167" y="241123"/>
                </a:cubicBezTo>
                <a:cubicBezTo>
                  <a:pt x="136167" y="243593"/>
                  <a:pt x="134019" y="245709"/>
                  <a:pt x="131513" y="245709"/>
                </a:cubicBezTo>
                <a:lnTo>
                  <a:pt x="67796" y="245709"/>
                </a:lnTo>
                <a:cubicBezTo>
                  <a:pt x="65290" y="245709"/>
                  <a:pt x="63500" y="243593"/>
                  <a:pt x="63500" y="241123"/>
                </a:cubicBezTo>
                <a:cubicBezTo>
                  <a:pt x="63500" y="238654"/>
                  <a:pt x="65290" y="236537"/>
                  <a:pt x="67796" y="236537"/>
                </a:cubicBezTo>
                <a:close/>
                <a:moveTo>
                  <a:pt x="39813" y="236537"/>
                </a:moveTo>
                <a:lnTo>
                  <a:pt x="43948" y="236537"/>
                </a:lnTo>
                <a:cubicBezTo>
                  <a:pt x="46580" y="236537"/>
                  <a:pt x="48836" y="238654"/>
                  <a:pt x="48836" y="241123"/>
                </a:cubicBezTo>
                <a:cubicBezTo>
                  <a:pt x="48836" y="243593"/>
                  <a:pt x="46580" y="245709"/>
                  <a:pt x="43948" y="245709"/>
                </a:cubicBezTo>
                <a:lnTo>
                  <a:pt x="39813" y="245709"/>
                </a:lnTo>
                <a:cubicBezTo>
                  <a:pt x="37181" y="245709"/>
                  <a:pt x="34925" y="243593"/>
                  <a:pt x="34925" y="241123"/>
                </a:cubicBezTo>
                <a:cubicBezTo>
                  <a:pt x="34925" y="238654"/>
                  <a:pt x="37181" y="236537"/>
                  <a:pt x="39813" y="236537"/>
                </a:cubicBezTo>
                <a:close/>
                <a:moveTo>
                  <a:pt x="188502" y="233308"/>
                </a:moveTo>
                <a:cubicBezTo>
                  <a:pt x="191012" y="234841"/>
                  <a:pt x="191728" y="237523"/>
                  <a:pt x="190295" y="240205"/>
                </a:cubicBezTo>
                <a:cubicBezTo>
                  <a:pt x="189578" y="241738"/>
                  <a:pt x="188144" y="242504"/>
                  <a:pt x="186352" y="242504"/>
                </a:cubicBezTo>
                <a:cubicBezTo>
                  <a:pt x="185635" y="242504"/>
                  <a:pt x="184918" y="242504"/>
                  <a:pt x="183843" y="241738"/>
                </a:cubicBezTo>
                <a:cubicBezTo>
                  <a:pt x="181692" y="240205"/>
                  <a:pt x="180975" y="237523"/>
                  <a:pt x="182409" y="235224"/>
                </a:cubicBezTo>
                <a:cubicBezTo>
                  <a:pt x="183484" y="232542"/>
                  <a:pt x="186352" y="231775"/>
                  <a:pt x="188502" y="233308"/>
                </a:cubicBezTo>
                <a:close/>
                <a:moveTo>
                  <a:pt x="246113" y="232925"/>
                </a:moveTo>
                <a:cubicBezTo>
                  <a:pt x="248264" y="231775"/>
                  <a:pt x="251132" y="232542"/>
                  <a:pt x="252208" y="234841"/>
                </a:cubicBezTo>
                <a:cubicBezTo>
                  <a:pt x="253642" y="237523"/>
                  <a:pt x="252925" y="240205"/>
                  <a:pt x="250415" y="241738"/>
                </a:cubicBezTo>
                <a:cubicBezTo>
                  <a:pt x="250057" y="242121"/>
                  <a:pt x="249340" y="242504"/>
                  <a:pt x="248264" y="242504"/>
                </a:cubicBezTo>
                <a:cubicBezTo>
                  <a:pt x="246830" y="242504"/>
                  <a:pt x="245038" y="241355"/>
                  <a:pt x="244321" y="239822"/>
                </a:cubicBezTo>
                <a:cubicBezTo>
                  <a:pt x="242887" y="237523"/>
                  <a:pt x="243963" y="234841"/>
                  <a:pt x="246113" y="232925"/>
                </a:cubicBezTo>
                <a:close/>
                <a:moveTo>
                  <a:pt x="161713" y="211083"/>
                </a:moveTo>
                <a:cubicBezTo>
                  <a:pt x="163936" y="209550"/>
                  <a:pt x="166899" y="210317"/>
                  <a:pt x="168010" y="212616"/>
                </a:cubicBezTo>
                <a:cubicBezTo>
                  <a:pt x="169492" y="214915"/>
                  <a:pt x="168751" y="217980"/>
                  <a:pt x="166528" y="219513"/>
                </a:cubicBezTo>
                <a:cubicBezTo>
                  <a:pt x="165788" y="219896"/>
                  <a:pt x="165047" y="220279"/>
                  <a:pt x="163936" y="220279"/>
                </a:cubicBezTo>
                <a:cubicBezTo>
                  <a:pt x="162454" y="220279"/>
                  <a:pt x="160972" y="219130"/>
                  <a:pt x="159861" y="217597"/>
                </a:cubicBezTo>
                <a:cubicBezTo>
                  <a:pt x="158750" y="215298"/>
                  <a:pt x="159491" y="212232"/>
                  <a:pt x="161713" y="211083"/>
                </a:cubicBezTo>
                <a:close/>
                <a:moveTo>
                  <a:pt x="274478" y="210571"/>
                </a:moveTo>
                <a:cubicBezTo>
                  <a:pt x="276701" y="211931"/>
                  <a:pt x="277442" y="214653"/>
                  <a:pt x="276330" y="216694"/>
                </a:cubicBezTo>
                <a:cubicBezTo>
                  <a:pt x="275219" y="218055"/>
                  <a:pt x="273738" y="218735"/>
                  <a:pt x="272256" y="218735"/>
                </a:cubicBezTo>
                <a:cubicBezTo>
                  <a:pt x="271145" y="218735"/>
                  <a:pt x="270404" y="218395"/>
                  <a:pt x="269663" y="218055"/>
                </a:cubicBezTo>
                <a:cubicBezTo>
                  <a:pt x="267441" y="217034"/>
                  <a:pt x="266700" y="214313"/>
                  <a:pt x="267811" y="212272"/>
                </a:cubicBezTo>
                <a:cubicBezTo>
                  <a:pt x="269293" y="210231"/>
                  <a:pt x="272256" y="209550"/>
                  <a:pt x="274478" y="210571"/>
                </a:cubicBezTo>
                <a:close/>
                <a:moveTo>
                  <a:pt x="67772" y="201612"/>
                </a:moveTo>
                <a:lnTo>
                  <a:pt x="117609" y="201612"/>
                </a:lnTo>
                <a:cubicBezTo>
                  <a:pt x="120101" y="201612"/>
                  <a:pt x="121881" y="203729"/>
                  <a:pt x="121881" y="206198"/>
                </a:cubicBezTo>
                <a:cubicBezTo>
                  <a:pt x="121881" y="208668"/>
                  <a:pt x="120101" y="210784"/>
                  <a:pt x="117609" y="210784"/>
                </a:cubicBezTo>
                <a:lnTo>
                  <a:pt x="67772" y="210784"/>
                </a:lnTo>
                <a:cubicBezTo>
                  <a:pt x="65280" y="210784"/>
                  <a:pt x="63500" y="208668"/>
                  <a:pt x="63500" y="206198"/>
                </a:cubicBezTo>
                <a:cubicBezTo>
                  <a:pt x="63500" y="203729"/>
                  <a:pt x="65280" y="201612"/>
                  <a:pt x="67772" y="201612"/>
                </a:cubicBezTo>
                <a:close/>
                <a:moveTo>
                  <a:pt x="279033" y="179387"/>
                </a:moveTo>
                <a:cubicBezTo>
                  <a:pt x="281964" y="179387"/>
                  <a:pt x="283796" y="181428"/>
                  <a:pt x="283796" y="183810"/>
                </a:cubicBezTo>
                <a:lnTo>
                  <a:pt x="283796" y="184150"/>
                </a:lnTo>
                <a:cubicBezTo>
                  <a:pt x="283796" y="186531"/>
                  <a:pt x="281964" y="188572"/>
                  <a:pt x="279400" y="188572"/>
                </a:cubicBezTo>
                <a:cubicBezTo>
                  <a:pt x="276835" y="188572"/>
                  <a:pt x="274637" y="186531"/>
                  <a:pt x="274637" y="184150"/>
                </a:cubicBezTo>
                <a:lnTo>
                  <a:pt x="274637" y="183810"/>
                </a:lnTo>
                <a:cubicBezTo>
                  <a:pt x="274637" y="181428"/>
                  <a:pt x="276469" y="179387"/>
                  <a:pt x="279033" y="179387"/>
                </a:cubicBezTo>
                <a:close/>
                <a:moveTo>
                  <a:pt x="155574" y="179387"/>
                </a:moveTo>
                <a:cubicBezTo>
                  <a:pt x="158139" y="179387"/>
                  <a:pt x="159971" y="181219"/>
                  <a:pt x="159971" y="184150"/>
                </a:cubicBezTo>
                <a:cubicBezTo>
                  <a:pt x="159971" y="186348"/>
                  <a:pt x="158139" y="188546"/>
                  <a:pt x="155574" y="188546"/>
                </a:cubicBezTo>
                <a:cubicBezTo>
                  <a:pt x="152644" y="188546"/>
                  <a:pt x="150812" y="186348"/>
                  <a:pt x="150812" y="184150"/>
                </a:cubicBezTo>
                <a:cubicBezTo>
                  <a:pt x="150812" y="181219"/>
                  <a:pt x="152644" y="179387"/>
                  <a:pt x="155574" y="179387"/>
                </a:cubicBezTo>
                <a:close/>
                <a:moveTo>
                  <a:pt x="67772" y="168275"/>
                </a:moveTo>
                <a:lnTo>
                  <a:pt x="117609" y="168275"/>
                </a:lnTo>
                <a:cubicBezTo>
                  <a:pt x="120101" y="168275"/>
                  <a:pt x="121881" y="170473"/>
                  <a:pt x="121881" y="173038"/>
                </a:cubicBezTo>
                <a:cubicBezTo>
                  <a:pt x="121881" y="175602"/>
                  <a:pt x="120101" y="177434"/>
                  <a:pt x="117609" y="177434"/>
                </a:cubicBezTo>
                <a:lnTo>
                  <a:pt x="67772" y="177434"/>
                </a:lnTo>
                <a:cubicBezTo>
                  <a:pt x="65280" y="177434"/>
                  <a:pt x="63500" y="175602"/>
                  <a:pt x="63500" y="173038"/>
                </a:cubicBezTo>
                <a:cubicBezTo>
                  <a:pt x="63500" y="170473"/>
                  <a:pt x="65280" y="168275"/>
                  <a:pt x="67772" y="168275"/>
                </a:cubicBezTo>
                <a:close/>
                <a:moveTo>
                  <a:pt x="39813" y="168275"/>
                </a:moveTo>
                <a:lnTo>
                  <a:pt x="43948" y="168275"/>
                </a:lnTo>
                <a:cubicBezTo>
                  <a:pt x="46580" y="168275"/>
                  <a:pt x="48836" y="170473"/>
                  <a:pt x="48836" y="173038"/>
                </a:cubicBezTo>
                <a:cubicBezTo>
                  <a:pt x="48836" y="175602"/>
                  <a:pt x="46580" y="177434"/>
                  <a:pt x="43948" y="177434"/>
                </a:cubicBezTo>
                <a:lnTo>
                  <a:pt x="39813" y="177434"/>
                </a:lnTo>
                <a:cubicBezTo>
                  <a:pt x="37181" y="177434"/>
                  <a:pt x="34925" y="175602"/>
                  <a:pt x="34925" y="173038"/>
                </a:cubicBezTo>
                <a:cubicBezTo>
                  <a:pt x="34925" y="170473"/>
                  <a:pt x="37181" y="168275"/>
                  <a:pt x="39813" y="168275"/>
                </a:cubicBezTo>
                <a:close/>
                <a:moveTo>
                  <a:pt x="269382" y="148998"/>
                </a:moveTo>
                <a:cubicBezTo>
                  <a:pt x="272064" y="147637"/>
                  <a:pt x="275130" y="148318"/>
                  <a:pt x="276279" y="150359"/>
                </a:cubicBezTo>
                <a:cubicBezTo>
                  <a:pt x="277429" y="152400"/>
                  <a:pt x="277046" y="155121"/>
                  <a:pt x="274364" y="156142"/>
                </a:cubicBezTo>
                <a:cubicBezTo>
                  <a:pt x="273980" y="156822"/>
                  <a:pt x="272831" y="156822"/>
                  <a:pt x="272448" y="156822"/>
                </a:cubicBezTo>
                <a:cubicBezTo>
                  <a:pt x="270532" y="156822"/>
                  <a:pt x="268999" y="156142"/>
                  <a:pt x="267850" y="155121"/>
                </a:cubicBezTo>
                <a:cubicBezTo>
                  <a:pt x="266700" y="152740"/>
                  <a:pt x="267466" y="150018"/>
                  <a:pt x="269382" y="148998"/>
                </a:cubicBezTo>
                <a:close/>
                <a:moveTo>
                  <a:pt x="166528" y="148658"/>
                </a:moveTo>
                <a:cubicBezTo>
                  <a:pt x="168751" y="150018"/>
                  <a:pt x="169492" y="152740"/>
                  <a:pt x="168010" y="154781"/>
                </a:cubicBezTo>
                <a:cubicBezTo>
                  <a:pt x="167269" y="156142"/>
                  <a:pt x="165788" y="156822"/>
                  <a:pt x="163936" y="156822"/>
                </a:cubicBezTo>
                <a:cubicBezTo>
                  <a:pt x="163195" y="156822"/>
                  <a:pt x="162454" y="156822"/>
                  <a:pt x="161713" y="156482"/>
                </a:cubicBezTo>
                <a:cubicBezTo>
                  <a:pt x="159120" y="155121"/>
                  <a:pt x="158750" y="152400"/>
                  <a:pt x="159861" y="150359"/>
                </a:cubicBezTo>
                <a:cubicBezTo>
                  <a:pt x="161343" y="148318"/>
                  <a:pt x="163936" y="147637"/>
                  <a:pt x="166528" y="148658"/>
                </a:cubicBezTo>
                <a:close/>
                <a:moveTo>
                  <a:pt x="217442" y="136525"/>
                </a:moveTo>
                <a:cubicBezTo>
                  <a:pt x="219982" y="136525"/>
                  <a:pt x="221796" y="138663"/>
                  <a:pt x="221796" y="141158"/>
                </a:cubicBezTo>
                <a:lnTo>
                  <a:pt x="221796" y="179290"/>
                </a:lnTo>
                <a:lnTo>
                  <a:pt x="245745" y="179290"/>
                </a:lnTo>
                <a:cubicBezTo>
                  <a:pt x="248285" y="179290"/>
                  <a:pt x="250462" y="181428"/>
                  <a:pt x="250462" y="183923"/>
                </a:cubicBezTo>
                <a:cubicBezTo>
                  <a:pt x="250462" y="186418"/>
                  <a:pt x="248285" y="188556"/>
                  <a:pt x="245745" y="188556"/>
                </a:cubicBezTo>
                <a:lnTo>
                  <a:pt x="217442" y="188556"/>
                </a:lnTo>
                <a:cubicBezTo>
                  <a:pt x="214539" y="188556"/>
                  <a:pt x="212725" y="186418"/>
                  <a:pt x="212725" y="183923"/>
                </a:cubicBezTo>
                <a:lnTo>
                  <a:pt x="212725" y="141158"/>
                </a:lnTo>
                <a:cubicBezTo>
                  <a:pt x="212725" y="138663"/>
                  <a:pt x="214539" y="136525"/>
                  <a:pt x="217442" y="136525"/>
                </a:cubicBezTo>
                <a:close/>
                <a:moveTo>
                  <a:pt x="67789" y="133350"/>
                </a:moveTo>
                <a:lnTo>
                  <a:pt x="126758" y="133350"/>
                </a:lnTo>
                <a:cubicBezTo>
                  <a:pt x="129260" y="133350"/>
                  <a:pt x="131405" y="135466"/>
                  <a:pt x="131405" y="137936"/>
                </a:cubicBezTo>
                <a:cubicBezTo>
                  <a:pt x="131405" y="140406"/>
                  <a:pt x="129260" y="142522"/>
                  <a:pt x="126758" y="142522"/>
                </a:cubicBezTo>
                <a:lnTo>
                  <a:pt x="67789" y="142522"/>
                </a:lnTo>
                <a:cubicBezTo>
                  <a:pt x="65287" y="142522"/>
                  <a:pt x="63500" y="140406"/>
                  <a:pt x="63500" y="137936"/>
                </a:cubicBezTo>
                <a:cubicBezTo>
                  <a:pt x="63500" y="135466"/>
                  <a:pt x="65287" y="133350"/>
                  <a:pt x="67789" y="133350"/>
                </a:cubicBezTo>
                <a:close/>
                <a:moveTo>
                  <a:pt x="183938" y="125357"/>
                </a:moveTo>
                <a:cubicBezTo>
                  <a:pt x="186161" y="123825"/>
                  <a:pt x="189124" y="124591"/>
                  <a:pt x="190235" y="127273"/>
                </a:cubicBezTo>
                <a:cubicBezTo>
                  <a:pt x="191717" y="129572"/>
                  <a:pt x="190976" y="132638"/>
                  <a:pt x="188753" y="133787"/>
                </a:cubicBezTo>
                <a:cubicBezTo>
                  <a:pt x="188013" y="134170"/>
                  <a:pt x="187272" y="134554"/>
                  <a:pt x="186161" y="134554"/>
                </a:cubicBezTo>
                <a:cubicBezTo>
                  <a:pt x="184679" y="134554"/>
                  <a:pt x="183197" y="133787"/>
                  <a:pt x="182086" y="132255"/>
                </a:cubicBezTo>
                <a:cubicBezTo>
                  <a:pt x="180975" y="129572"/>
                  <a:pt x="181716" y="126507"/>
                  <a:pt x="183938" y="125357"/>
                </a:cubicBezTo>
                <a:close/>
                <a:moveTo>
                  <a:pt x="250666" y="124845"/>
                </a:moveTo>
                <a:cubicBezTo>
                  <a:pt x="253259" y="126206"/>
                  <a:pt x="253630" y="128927"/>
                  <a:pt x="252518" y="130969"/>
                </a:cubicBezTo>
                <a:cubicBezTo>
                  <a:pt x="251407" y="132329"/>
                  <a:pt x="249925" y="133010"/>
                  <a:pt x="248444" y="133010"/>
                </a:cubicBezTo>
                <a:cubicBezTo>
                  <a:pt x="247332" y="133010"/>
                  <a:pt x="246591" y="133010"/>
                  <a:pt x="245851" y="132669"/>
                </a:cubicBezTo>
                <a:cubicBezTo>
                  <a:pt x="243628" y="131309"/>
                  <a:pt x="242887" y="128587"/>
                  <a:pt x="243998" y="126546"/>
                </a:cubicBezTo>
                <a:cubicBezTo>
                  <a:pt x="245480" y="124505"/>
                  <a:pt x="248444" y="123825"/>
                  <a:pt x="250666" y="124845"/>
                </a:cubicBezTo>
                <a:close/>
                <a:moveTo>
                  <a:pt x="217311" y="117475"/>
                </a:moveTo>
                <a:cubicBezTo>
                  <a:pt x="219781" y="117475"/>
                  <a:pt x="221897" y="119591"/>
                  <a:pt x="221897" y="122061"/>
                </a:cubicBezTo>
                <a:cubicBezTo>
                  <a:pt x="221897" y="124530"/>
                  <a:pt x="219781" y="126647"/>
                  <a:pt x="217311" y="126647"/>
                </a:cubicBezTo>
                <a:cubicBezTo>
                  <a:pt x="214842" y="126647"/>
                  <a:pt x="212725" y="124530"/>
                  <a:pt x="212725" y="122061"/>
                </a:cubicBezTo>
                <a:cubicBezTo>
                  <a:pt x="212725" y="119591"/>
                  <a:pt x="214489" y="117475"/>
                  <a:pt x="217311" y="117475"/>
                </a:cubicBezTo>
                <a:close/>
                <a:moveTo>
                  <a:pt x="217404" y="108189"/>
                </a:moveTo>
                <a:cubicBezTo>
                  <a:pt x="175221" y="108189"/>
                  <a:pt x="140970" y="142336"/>
                  <a:pt x="140970" y="184390"/>
                </a:cubicBezTo>
                <a:cubicBezTo>
                  <a:pt x="140970" y="226444"/>
                  <a:pt x="175221" y="260230"/>
                  <a:pt x="217404" y="260230"/>
                </a:cubicBezTo>
                <a:cubicBezTo>
                  <a:pt x="259227" y="260230"/>
                  <a:pt x="293478" y="226444"/>
                  <a:pt x="293478" y="184390"/>
                </a:cubicBezTo>
                <a:cubicBezTo>
                  <a:pt x="293478" y="142336"/>
                  <a:pt x="259227" y="108189"/>
                  <a:pt x="217404" y="108189"/>
                </a:cubicBezTo>
                <a:close/>
                <a:moveTo>
                  <a:pt x="67836" y="98425"/>
                </a:moveTo>
                <a:lnTo>
                  <a:pt x="155278" y="98425"/>
                </a:lnTo>
                <a:cubicBezTo>
                  <a:pt x="157808" y="98425"/>
                  <a:pt x="159976" y="100541"/>
                  <a:pt x="159976" y="103011"/>
                </a:cubicBezTo>
                <a:cubicBezTo>
                  <a:pt x="159976" y="105480"/>
                  <a:pt x="157808" y="107597"/>
                  <a:pt x="155278" y="107597"/>
                </a:cubicBezTo>
                <a:lnTo>
                  <a:pt x="67836" y="107597"/>
                </a:lnTo>
                <a:cubicBezTo>
                  <a:pt x="65307" y="107597"/>
                  <a:pt x="63500" y="105480"/>
                  <a:pt x="63500" y="103011"/>
                </a:cubicBezTo>
                <a:cubicBezTo>
                  <a:pt x="63500" y="100541"/>
                  <a:pt x="65307" y="98425"/>
                  <a:pt x="67836" y="98425"/>
                </a:cubicBezTo>
                <a:close/>
                <a:moveTo>
                  <a:pt x="39813" y="98425"/>
                </a:moveTo>
                <a:lnTo>
                  <a:pt x="43948" y="98425"/>
                </a:lnTo>
                <a:cubicBezTo>
                  <a:pt x="46580" y="98425"/>
                  <a:pt x="48836" y="100541"/>
                  <a:pt x="48836" y="103011"/>
                </a:cubicBezTo>
                <a:cubicBezTo>
                  <a:pt x="48836" y="105480"/>
                  <a:pt x="46580" y="107597"/>
                  <a:pt x="43948" y="107597"/>
                </a:cubicBezTo>
                <a:lnTo>
                  <a:pt x="39813" y="107597"/>
                </a:lnTo>
                <a:cubicBezTo>
                  <a:pt x="37181" y="107597"/>
                  <a:pt x="34925" y="105480"/>
                  <a:pt x="34925" y="103011"/>
                </a:cubicBezTo>
                <a:cubicBezTo>
                  <a:pt x="34925" y="100541"/>
                  <a:pt x="37181" y="98425"/>
                  <a:pt x="39813" y="98425"/>
                </a:cubicBezTo>
                <a:close/>
                <a:moveTo>
                  <a:pt x="67829" y="65087"/>
                </a:moveTo>
                <a:lnTo>
                  <a:pt x="201324" y="65087"/>
                </a:lnTo>
                <a:cubicBezTo>
                  <a:pt x="203849" y="65087"/>
                  <a:pt x="206014" y="67203"/>
                  <a:pt x="206014" y="69673"/>
                </a:cubicBezTo>
                <a:cubicBezTo>
                  <a:pt x="206014" y="72142"/>
                  <a:pt x="203849" y="74259"/>
                  <a:pt x="201324" y="74259"/>
                </a:cubicBezTo>
                <a:lnTo>
                  <a:pt x="67829" y="74259"/>
                </a:lnTo>
                <a:cubicBezTo>
                  <a:pt x="65304" y="74259"/>
                  <a:pt x="63500" y="72142"/>
                  <a:pt x="63500" y="69673"/>
                </a:cubicBezTo>
                <a:cubicBezTo>
                  <a:pt x="63500" y="67203"/>
                  <a:pt x="65304" y="65087"/>
                  <a:pt x="67829" y="65087"/>
                </a:cubicBezTo>
                <a:close/>
                <a:moveTo>
                  <a:pt x="39813" y="65087"/>
                </a:moveTo>
                <a:lnTo>
                  <a:pt x="43948" y="65087"/>
                </a:lnTo>
                <a:cubicBezTo>
                  <a:pt x="46580" y="65087"/>
                  <a:pt x="48836" y="67203"/>
                  <a:pt x="48836" y="69673"/>
                </a:cubicBezTo>
                <a:cubicBezTo>
                  <a:pt x="48836" y="72142"/>
                  <a:pt x="46580" y="74259"/>
                  <a:pt x="43948" y="74259"/>
                </a:cubicBezTo>
                <a:lnTo>
                  <a:pt x="39813" y="74259"/>
                </a:lnTo>
                <a:cubicBezTo>
                  <a:pt x="37181" y="74259"/>
                  <a:pt x="34925" y="72142"/>
                  <a:pt x="34925" y="69673"/>
                </a:cubicBezTo>
                <a:cubicBezTo>
                  <a:pt x="34925" y="67203"/>
                  <a:pt x="37181" y="65087"/>
                  <a:pt x="39813" y="65087"/>
                </a:cubicBezTo>
                <a:close/>
                <a:moveTo>
                  <a:pt x="69223" y="8986"/>
                </a:moveTo>
                <a:lnTo>
                  <a:pt x="69223" y="13658"/>
                </a:lnTo>
                <a:cubicBezTo>
                  <a:pt x="69223" y="21206"/>
                  <a:pt x="75352" y="27676"/>
                  <a:pt x="82924" y="27676"/>
                </a:cubicBezTo>
                <a:lnTo>
                  <a:pt x="157194" y="27676"/>
                </a:lnTo>
                <a:cubicBezTo>
                  <a:pt x="164766" y="27676"/>
                  <a:pt x="170895" y="21206"/>
                  <a:pt x="170895" y="13658"/>
                </a:cubicBezTo>
                <a:lnTo>
                  <a:pt x="170895" y="8986"/>
                </a:lnTo>
                <a:lnTo>
                  <a:pt x="69223" y="8986"/>
                </a:lnTo>
                <a:close/>
                <a:moveTo>
                  <a:pt x="13700" y="8986"/>
                </a:moveTo>
                <a:cubicBezTo>
                  <a:pt x="11177" y="8986"/>
                  <a:pt x="9013" y="11142"/>
                  <a:pt x="9013" y="13658"/>
                </a:cubicBezTo>
                <a:lnTo>
                  <a:pt x="9013" y="290423"/>
                </a:lnTo>
                <a:cubicBezTo>
                  <a:pt x="9013" y="292939"/>
                  <a:pt x="11177" y="295096"/>
                  <a:pt x="13700" y="295096"/>
                </a:cubicBezTo>
                <a:lnTo>
                  <a:pt x="226418" y="295096"/>
                </a:lnTo>
                <a:cubicBezTo>
                  <a:pt x="228941" y="295096"/>
                  <a:pt x="231105" y="292939"/>
                  <a:pt x="231105" y="290423"/>
                </a:cubicBezTo>
                <a:lnTo>
                  <a:pt x="231105" y="268497"/>
                </a:lnTo>
                <a:cubicBezTo>
                  <a:pt x="226778" y="269216"/>
                  <a:pt x="222091" y="269576"/>
                  <a:pt x="217404" y="269576"/>
                </a:cubicBezTo>
                <a:cubicBezTo>
                  <a:pt x="170174" y="269576"/>
                  <a:pt x="131596" y="231476"/>
                  <a:pt x="131596" y="184390"/>
                </a:cubicBezTo>
                <a:cubicBezTo>
                  <a:pt x="131596" y="137304"/>
                  <a:pt x="170174" y="98844"/>
                  <a:pt x="217404" y="98844"/>
                </a:cubicBezTo>
                <a:cubicBezTo>
                  <a:pt x="222091" y="98844"/>
                  <a:pt x="226778" y="99563"/>
                  <a:pt x="231105" y="100282"/>
                </a:cubicBezTo>
                <a:lnTo>
                  <a:pt x="231105" y="13658"/>
                </a:lnTo>
                <a:cubicBezTo>
                  <a:pt x="231105" y="11142"/>
                  <a:pt x="228941" y="8986"/>
                  <a:pt x="226418" y="8986"/>
                </a:cubicBezTo>
                <a:lnTo>
                  <a:pt x="180269" y="8986"/>
                </a:lnTo>
                <a:lnTo>
                  <a:pt x="180269" y="13658"/>
                </a:lnTo>
                <a:cubicBezTo>
                  <a:pt x="180269" y="26238"/>
                  <a:pt x="169813" y="36662"/>
                  <a:pt x="157194" y="36662"/>
                </a:cubicBezTo>
                <a:lnTo>
                  <a:pt x="82924" y="36662"/>
                </a:lnTo>
                <a:cubicBezTo>
                  <a:pt x="70305" y="36662"/>
                  <a:pt x="59849" y="26238"/>
                  <a:pt x="59849" y="13658"/>
                </a:cubicBezTo>
                <a:lnTo>
                  <a:pt x="59849" y="8986"/>
                </a:lnTo>
                <a:lnTo>
                  <a:pt x="13700" y="8986"/>
                </a:lnTo>
                <a:close/>
                <a:moveTo>
                  <a:pt x="13700" y="0"/>
                </a:moveTo>
                <a:lnTo>
                  <a:pt x="226418" y="0"/>
                </a:lnTo>
                <a:cubicBezTo>
                  <a:pt x="233989" y="0"/>
                  <a:pt x="240479" y="6110"/>
                  <a:pt x="240479" y="13658"/>
                </a:cubicBezTo>
                <a:lnTo>
                  <a:pt x="240479" y="102079"/>
                </a:lnTo>
                <a:cubicBezTo>
                  <a:pt x="276172" y="112503"/>
                  <a:pt x="302852" y="145212"/>
                  <a:pt x="302852" y="184390"/>
                </a:cubicBezTo>
                <a:cubicBezTo>
                  <a:pt x="302852" y="223209"/>
                  <a:pt x="276172" y="256277"/>
                  <a:pt x="240479" y="266341"/>
                </a:cubicBezTo>
                <a:lnTo>
                  <a:pt x="240479" y="290423"/>
                </a:lnTo>
                <a:cubicBezTo>
                  <a:pt x="240479" y="297971"/>
                  <a:pt x="233989" y="304441"/>
                  <a:pt x="226418" y="304441"/>
                </a:cubicBezTo>
                <a:lnTo>
                  <a:pt x="13700" y="304441"/>
                </a:lnTo>
                <a:cubicBezTo>
                  <a:pt x="6129" y="304441"/>
                  <a:pt x="0" y="297971"/>
                  <a:pt x="0" y="290423"/>
                </a:cubicBezTo>
                <a:lnTo>
                  <a:pt x="0" y="13658"/>
                </a:lnTo>
                <a:cubicBezTo>
                  <a:pt x="0" y="6110"/>
                  <a:pt x="6129" y="0"/>
                  <a:pt x="13700" y="0"/>
                </a:cubicBezTo>
                <a:close/>
              </a:path>
            </a:pathLst>
          </a:custGeom>
          <a:solidFill>
            <a:schemeClr val="bg1"/>
          </a:solidFill>
          <a:ln>
            <a:noFill/>
          </a:ln>
          <a:effectLst/>
        </p:spPr>
        <p:txBody>
          <a:bodyPr anchor="ctr"/>
          <a:lstStyle/>
          <a:p>
            <a:endParaRPr lang="en-US" sz="900"/>
          </a:p>
        </p:txBody>
      </p:sp>
      <p:sp>
        <p:nvSpPr>
          <p:cNvPr id="10" name="Freeform 813">
            <a:extLst>
              <a:ext uri="{FF2B5EF4-FFF2-40B4-BE49-F238E27FC236}">
                <a16:creationId xmlns:a16="http://schemas.microsoft.com/office/drawing/2014/main" id="{BA7F79BE-EEFB-54ED-422F-7F95353F4DEF}"/>
              </a:ext>
            </a:extLst>
          </p:cNvPr>
          <p:cNvSpPr>
            <a:spLocks noChangeArrowheads="1"/>
          </p:cNvSpPr>
          <p:nvPr userDrawn="1"/>
        </p:nvSpPr>
        <p:spPr bwMode="auto">
          <a:xfrm>
            <a:off x="7629419" y="5038000"/>
            <a:ext cx="602774" cy="602774"/>
          </a:xfrm>
          <a:custGeom>
            <a:avLst/>
            <a:gdLst/>
            <a:ahLst/>
            <a:cxnLst/>
            <a:rect l="0" t="0" r="r" b="b"/>
            <a:pathLst>
              <a:path w="304441" h="305370">
                <a:moveTo>
                  <a:pt x="58202" y="197423"/>
                </a:moveTo>
                <a:lnTo>
                  <a:pt x="58202" y="216091"/>
                </a:lnTo>
                <a:lnTo>
                  <a:pt x="76898" y="216091"/>
                </a:lnTo>
                <a:lnTo>
                  <a:pt x="76898" y="206757"/>
                </a:lnTo>
                <a:lnTo>
                  <a:pt x="76898" y="197423"/>
                </a:lnTo>
                <a:lnTo>
                  <a:pt x="58202" y="197423"/>
                </a:lnTo>
                <a:close/>
                <a:moveTo>
                  <a:pt x="193880" y="155800"/>
                </a:moveTo>
                <a:cubicBezTo>
                  <a:pt x="195673" y="153988"/>
                  <a:pt x="198540" y="153988"/>
                  <a:pt x="200333" y="155800"/>
                </a:cubicBezTo>
                <a:lnTo>
                  <a:pt x="208577" y="164134"/>
                </a:lnTo>
                <a:lnTo>
                  <a:pt x="216822" y="155800"/>
                </a:lnTo>
                <a:cubicBezTo>
                  <a:pt x="218614" y="153988"/>
                  <a:pt x="221482" y="153988"/>
                  <a:pt x="223274" y="155800"/>
                </a:cubicBezTo>
                <a:cubicBezTo>
                  <a:pt x="225067" y="157612"/>
                  <a:pt x="225067" y="160511"/>
                  <a:pt x="223274" y="162685"/>
                </a:cubicBezTo>
                <a:lnTo>
                  <a:pt x="215030" y="171019"/>
                </a:lnTo>
                <a:lnTo>
                  <a:pt x="223274" y="179353"/>
                </a:lnTo>
                <a:cubicBezTo>
                  <a:pt x="225067" y="180803"/>
                  <a:pt x="225067" y="183702"/>
                  <a:pt x="223274" y="185876"/>
                </a:cubicBezTo>
                <a:cubicBezTo>
                  <a:pt x="222557" y="186601"/>
                  <a:pt x="221124" y="186963"/>
                  <a:pt x="220048" y="186963"/>
                </a:cubicBezTo>
                <a:cubicBezTo>
                  <a:pt x="218973" y="186963"/>
                  <a:pt x="217897" y="186601"/>
                  <a:pt x="216822" y="185876"/>
                </a:cubicBezTo>
                <a:lnTo>
                  <a:pt x="208577" y="177542"/>
                </a:lnTo>
                <a:lnTo>
                  <a:pt x="200333" y="185876"/>
                </a:lnTo>
                <a:cubicBezTo>
                  <a:pt x="199616" y="186601"/>
                  <a:pt x="198182" y="186963"/>
                  <a:pt x="197107" y="186963"/>
                </a:cubicBezTo>
                <a:cubicBezTo>
                  <a:pt x="196031" y="186963"/>
                  <a:pt x="194597" y="186601"/>
                  <a:pt x="193880" y="185876"/>
                </a:cubicBezTo>
                <a:cubicBezTo>
                  <a:pt x="192088" y="183702"/>
                  <a:pt x="192088" y="180803"/>
                  <a:pt x="193880" y="179353"/>
                </a:cubicBezTo>
                <a:lnTo>
                  <a:pt x="202125" y="171019"/>
                </a:lnTo>
                <a:lnTo>
                  <a:pt x="193880" y="162685"/>
                </a:lnTo>
                <a:cubicBezTo>
                  <a:pt x="192088" y="160511"/>
                  <a:pt x="192088" y="157612"/>
                  <a:pt x="193880" y="155800"/>
                </a:cubicBezTo>
                <a:close/>
                <a:moveTo>
                  <a:pt x="109723" y="84343"/>
                </a:moveTo>
                <a:cubicBezTo>
                  <a:pt x="111497" y="82550"/>
                  <a:pt x="114334" y="82550"/>
                  <a:pt x="116107" y="84343"/>
                </a:cubicBezTo>
                <a:lnTo>
                  <a:pt x="124264" y="92587"/>
                </a:lnTo>
                <a:lnTo>
                  <a:pt x="132422" y="84343"/>
                </a:lnTo>
                <a:cubicBezTo>
                  <a:pt x="134195" y="82550"/>
                  <a:pt x="137387" y="82550"/>
                  <a:pt x="138806" y="84343"/>
                </a:cubicBezTo>
                <a:cubicBezTo>
                  <a:pt x="140933" y="86135"/>
                  <a:pt x="140933" y="89003"/>
                  <a:pt x="138806" y="91154"/>
                </a:cubicBezTo>
                <a:lnTo>
                  <a:pt x="130648" y="99398"/>
                </a:lnTo>
                <a:lnTo>
                  <a:pt x="138806" y="107285"/>
                </a:lnTo>
                <a:cubicBezTo>
                  <a:pt x="140933" y="109436"/>
                  <a:pt x="140933" y="112304"/>
                  <a:pt x="138806" y="114096"/>
                </a:cubicBezTo>
                <a:cubicBezTo>
                  <a:pt x="138096" y="114813"/>
                  <a:pt x="136678" y="115530"/>
                  <a:pt x="135968" y="115530"/>
                </a:cubicBezTo>
                <a:cubicBezTo>
                  <a:pt x="134550" y="115530"/>
                  <a:pt x="133486" y="114813"/>
                  <a:pt x="132422" y="114096"/>
                </a:cubicBezTo>
                <a:lnTo>
                  <a:pt x="124264" y="105851"/>
                </a:lnTo>
                <a:lnTo>
                  <a:pt x="116107" y="114096"/>
                </a:lnTo>
                <a:cubicBezTo>
                  <a:pt x="115398" y="114813"/>
                  <a:pt x="113979" y="115530"/>
                  <a:pt x="112915" y="115530"/>
                </a:cubicBezTo>
                <a:cubicBezTo>
                  <a:pt x="111851" y="115530"/>
                  <a:pt x="110433" y="114813"/>
                  <a:pt x="109723" y="114096"/>
                </a:cubicBezTo>
                <a:cubicBezTo>
                  <a:pt x="107950" y="112304"/>
                  <a:pt x="107950" y="109436"/>
                  <a:pt x="109723" y="107285"/>
                </a:cubicBezTo>
                <a:lnTo>
                  <a:pt x="117881" y="99398"/>
                </a:lnTo>
                <a:lnTo>
                  <a:pt x="109723" y="91154"/>
                </a:lnTo>
                <a:cubicBezTo>
                  <a:pt x="107950" y="89003"/>
                  <a:pt x="107950" y="86135"/>
                  <a:pt x="109723" y="84343"/>
                </a:cubicBezTo>
                <a:close/>
                <a:moveTo>
                  <a:pt x="210344" y="53470"/>
                </a:moveTo>
                <a:cubicBezTo>
                  <a:pt x="204571" y="53470"/>
                  <a:pt x="199881" y="58161"/>
                  <a:pt x="199881" y="63933"/>
                </a:cubicBezTo>
                <a:cubicBezTo>
                  <a:pt x="199881" y="69706"/>
                  <a:pt x="204571" y="74397"/>
                  <a:pt x="210344" y="74397"/>
                </a:cubicBezTo>
                <a:cubicBezTo>
                  <a:pt x="215756" y="74397"/>
                  <a:pt x="220447" y="69706"/>
                  <a:pt x="220447" y="63933"/>
                </a:cubicBezTo>
                <a:cubicBezTo>
                  <a:pt x="220447" y="58161"/>
                  <a:pt x="215756" y="53470"/>
                  <a:pt x="210344" y="53470"/>
                </a:cubicBezTo>
                <a:close/>
                <a:moveTo>
                  <a:pt x="166063" y="52388"/>
                </a:moveTo>
                <a:lnTo>
                  <a:pt x="186197" y="63876"/>
                </a:lnTo>
                <a:lnTo>
                  <a:pt x="166063" y="75364"/>
                </a:lnTo>
                <a:lnTo>
                  <a:pt x="166063" y="68543"/>
                </a:lnTo>
                <a:lnTo>
                  <a:pt x="116087" y="68543"/>
                </a:lnTo>
                <a:cubicBezTo>
                  <a:pt x="99189" y="68543"/>
                  <a:pt x="85167" y="82544"/>
                  <a:pt x="85167" y="99776"/>
                </a:cubicBezTo>
                <a:cubicBezTo>
                  <a:pt x="85167" y="116649"/>
                  <a:pt x="99189" y="130650"/>
                  <a:pt x="116087" y="130650"/>
                </a:cubicBezTo>
                <a:lnTo>
                  <a:pt x="214960" y="130650"/>
                </a:lnTo>
                <a:cubicBezTo>
                  <a:pt x="237611" y="130650"/>
                  <a:pt x="255229" y="148600"/>
                  <a:pt x="255229" y="171217"/>
                </a:cubicBezTo>
                <a:cubicBezTo>
                  <a:pt x="255229" y="193115"/>
                  <a:pt x="237611" y="211424"/>
                  <a:pt x="214960" y="211424"/>
                </a:cubicBezTo>
                <a:lnTo>
                  <a:pt x="85886" y="211424"/>
                </a:lnTo>
                <a:lnTo>
                  <a:pt x="85886" y="216091"/>
                </a:lnTo>
                <a:cubicBezTo>
                  <a:pt x="85886" y="221117"/>
                  <a:pt x="81931" y="225066"/>
                  <a:pt x="76898" y="225066"/>
                </a:cubicBezTo>
                <a:lnTo>
                  <a:pt x="58202" y="225066"/>
                </a:lnTo>
                <a:cubicBezTo>
                  <a:pt x="53168" y="225066"/>
                  <a:pt x="49213" y="221117"/>
                  <a:pt x="49213" y="216091"/>
                </a:cubicBezTo>
                <a:lnTo>
                  <a:pt x="49213" y="197423"/>
                </a:lnTo>
                <a:cubicBezTo>
                  <a:pt x="49213" y="192397"/>
                  <a:pt x="53168" y="188448"/>
                  <a:pt x="58202" y="188448"/>
                </a:cubicBezTo>
                <a:lnTo>
                  <a:pt x="76898" y="188448"/>
                </a:lnTo>
                <a:cubicBezTo>
                  <a:pt x="81931" y="188448"/>
                  <a:pt x="85886" y="192397"/>
                  <a:pt x="85886" y="197423"/>
                </a:cubicBezTo>
                <a:lnTo>
                  <a:pt x="85886" y="202090"/>
                </a:lnTo>
                <a:lnTo>
                  <a:pt x="214960" y="202090"/>
                </a:lnTo>
                <a:cubicBezTo>
                  <a:pt x="232218" y="202090"/>
                  <a:pt x="246240" y="188089"/>
                  <a:pt x="246240" y="171217"/>
                </a:cubicBezTo>
                <a:cubicBezTo>
                  <a:pt x="246240" y="153985"/>
                  <a:pt x="232218" y="139984"/>
                  <a:pt x="214960" y="139984"/>
                </a:cubicBezTo>
                <a:lnTo>
                  <a:pt x="116087" y="139984"/>
                </a:lnTo>
                <a:cubicBezTo>
                  <a:pt x="94155" y="139984"/>
                  <a:pt x="75819" y="121675"/>
                  <a:pt x="75819" y="99776"/>
                </a:cubicBezTo>
                <a:cubicBezTo>
                  <a:pt x="75819" y="77518"/>
                  <a:pt x="94155" y="59209"/>
                  <a:pt x="116087" y="59209"/>
                </a:cubicBezTo>
                <a:lnTo>
                  <a:pt x="166063" y="59209"/>
                </a:lnTo>
                <a:lnTo>
                  <a:pt x="166063" y="52388"/>
                </a:lnTo>
                <a:close/>
                <a:moveTo>
                  <a:pt x="210344" y="44450"/>
                </a:moveTo>
                <a:cubicBezTo>
                  <a:pt x="221168" y="44450"/>
                  <a:pt x="229827" y="53109"/>
                  <a:pt x="229827" y="63933"/>
                </a:cubicBezTo>
                <a:cubicBezTo>
                  <a:pt x="229827" y="74757"/>
                  <a:pt x="221168" y="83777"/>
                  <a:pt x="210344" y="83777"/>
                </a:cubicBezTo>
                <a:cubicBezTo>
                  <a:pt x="199159" y="83777"/>
                  <a:pt x="190500" y="74757"/>
                  <a:pt x="190500" y="63933"/>
                </a:cubicBezTo>
                <a:cubicBezTo>
                  <a:pt x="190500" y="53109"/>
                  <a:pt x="199159" y="44450"/>
                  <a:pt x="210344" y="44450"/>
                </a:cubicBezTo>
                <a:close/>
                <a:moveTo>
                  <a:pt x="23363" y="27755"/>
                </a:moveTo>
                <a:lnTo>
                  <a:pt x="23363" y="240425"/>
                </a:lnTo>
                <a:lnTo>
                  <a:pt x="281437" y="240425"/>
                </a:lnTo>
                <a:lnTo>
                  <a:pt x="281437" y="27755"/>
                </a:lnTo>
                <a:lnTo>
                  <a:pt x="23363" y="27755"/>
                </a:lnTo>
                <a:close/>
                <a:moveTo>
                  <a:pt x="152400" y="0"/>
                </a:moveTo>
                <a:cubicBezTo>
                  <a:pt x="154916" y="0"/>
                  <a:pt x="157073" y="2163"/>
                  <a:pt x="157073" y="4686"/>
                </a:cubicBezTo>
                <a:lnTo>
                  <a:pt x="157073" y="18384"/>
                </a:lnTo>
                <a:lnTo>
                  <a:pt x="286110" y="18384"/>
                </a:lnTo>
                <a:lnTo>
                  <a:pt x="299768" y="18384"/>
                </a:lnTo>
                <a:cubicBezTo>
                  <a:pt x="302284" y="18384"/>
                  <a:pt x="304441" y="20546"/>
                  <a:pt x="304441" y="23069"/>
                </a:cubicBezTo>
                <a:cubicBezTo>
                  <a:pt x="304441" y="25593"/>
                  <a:pt x="302284" y="27755"/>
                  <a:pt x="299768" y="27755"/>
                </a:cubicBezTo>
                <a:lnTo>
                  <a:pt x="290423" y="27755"/>
                </a:lnTo>
                <a:lnTo>
                  <a:pt x="290423" y="240425"/>
                </a:lnTo>
                <a:lnTo>
                  <a:pt x="299768" y="240425"/>
                </a:lnTo>
                <a:cubicBezTo>
                  <a:pt x="302284" y="240425"/>
                  <a:pt x="304441" y="242587"/>
                  <a:pt x="304441" y="245111"/>
                </a:cubicBezTo>
                <a:cubicBezTo>
                  <a:pt x="304441" y="247634"/>
                  <a:pt x="302284" y="249797"/>
                  <a:pt x="299768" y="249797"/>
                </a:cubicBezTo>
                <a:lnTo>
                  <a:pt x="286110" y="249797"/>
                </a:lnTo>
                <a:lnTo>
                  <a:pt x="217817" y="249797"/>
                </a:lnTo>
                <a:lnTo>
                  <a:pt x="239383" y="298819"/>
                </a:lnTo>
                <a:cubicBezTo>
                  <a:pt x="240461" y="301342"/>
                  <a:pt x="239383" y="303865"/>
                  <a:pt x="237227" y="304946"/>
                </a:cubicBezTo>
                <a:cubicBezTo>
                  <a:pt x="236508" y="305307"/>
                  <a:pt x="235789" y="305307"/>
                  <a:pt x="235429" y="305307"/>
                </a:cubicBezTo>
                <a:cubicBezTo>
                  <a:pt x="233632" y="305307"/>
                  <a:pt x="231835" y="304225"/>
                  <a:pt x="231116" y="302784"/>
                </a:cubicBezTo>
                <a:lnTo>
                  <a:pt x="208112" y="249797"/>
                </a:lnTo>
                <a:lnTo>
                  <a:pt x="157073" y="249797"/>
                </a:lnTo>
                <a:lnTo>
                  <a:pt x="157073" y="300621"/>
                </a:lnTo>
                <a:cubicBezTo>
                  <a:pt x="157073" y="303144"/>
                  <a:pt x="154916" y="305307"/>
                  <a:pt x="152400" y="305307"/>
                </a:cubicBezTo>
                <a:cubicBezTo>
                  <a:pt x="149884" y="305307"/>
                  <a:pt x="147727" y="303144"/>
                  <a:pt x="147727" y="300621"/>
                </a:cubicBezTo>
                <a:lnTo>
                  <a:pt x="147727" y="249797"/>
                </a:lnTo>
                <a:lnTo>
                  <a:pt x="96688" y="249797"/>
                </a:lnTo>
                <a:lnTo>
                  <a:pt x="73325" y="302784"/>
                </a:lnTo>
                <a:cubicBezTo>
                  <a:pt x="72606" y="304946"/>
                  <a:pt x="69730" y="306028"/>
                  <a:pt x="67574" y="304946"/>
                </a:cubicBezTo>
                <a:cubicBezTo>
                  <a:pt x="65058" y="303865"/>
                  <a:pt x="63979" y="301342"/>
                  <a:pt x="65058" y="298819"/>
                </a:cubicBezTo>
                <a:lnTo>
                  <a:pt x="86624" y="249797"/>
                </a:lnTo>
                <a:lnTo>
                  <a:pt x="18331" y="249797"/>
                </a:lnTo>
                <a:lnTo>
                  <a:pt x="4673" y="249797"/>
                </a:lnTo>
                <a:cubicBezTo>
                  <a:pt x="2157" y="249797"/>
                  <a:pt x="0" y="247634"/>
                  <a:pt x="0" y="245111"/>
                </a:cubicBezTo>
                <a:cubicBezTo>
                  <a:pt x="0" y="242587"/>
                  <a:pt x="2157" y="240425"/>
                  <a:pt x="4673" y="240425"/>
                </a:cubicBezTo>
                <a:lnTo>
                  <a:pt x="13659" y="240425"/>
                </a:lnTo>
                <a:lnTo>
                  <a:pt x="13659" y="27755"/>
                </a:lnTo>
                <a:lnTo>
                  <a:pt x="4673" y="27755"/>
                </a:lnTo>
                <a:cubicBezTo>
                  <a:pt x="2157" y="27755"/>
                  <a:pt x="0" y="25593"/>
                  <a:pt x="0" y="23069"/>
                </a:cubicBezTo>
                <a:cubicBezTo>
                  <a:pt x="0" y="20546"/>
                  <a:pt x="2157" y="18384"/>
                  <a:pt x="4673" y="18384"/>
                </a:cubicBezTo>
                <a:lnTo>
                  <a:pt x="18331" y="18384"/>
                </a:lnTo>
                <a:lnTo>
                  <a:pt x="147727" y="18384"/>
                </a:lnTo>
                <a:lnTo>
                  <a:pt x="147727" y="4686"/>
                </a:lnTo>
                <a:cubicBezTo>
                  <a:pt x="147727" y="2163"/>
                  <a:pt x="149884" y="0"/>
                  <a:pt x="152400" y="0"/>
                </a:cubicBezTo>
                <a:close/>
              </a:path>
            </a:pathLst>
          </a:custGeom>
          <a:solidFill>
            <a:schemeClr val="bg1"/>
          </a:solidFill>
          <a:ln>
            <a:noFill/>
          </a:ln>
          <a:effectLst/>
        </p:spPr>
        <p:txBody>
          <a:bodyPr anchor="ctr"/>
          <a:lstStyle/>
          <a:p>
            <a:endParaRPr lang="en-US" sz="900"/>
          </a:p>
        </p:txBody>
      </p:sp>
      <p:sp>
        <p:nvSpPr>
          <p:cNvPr id="11" name="Freeform 812">
            <a:extLst>
              <a:ext uri="{FF2B5EF4-FFF2-40B4-BE49-F238E27FC236}">
                <a16:creationId xmlns:a16="http://schemas.microsoft.com/office/drawing/2014/main" id="{D1010F74-7392-B9AC-6706-C042EF10F621}"/>
              </a:ext>
            </a:extLst>
          </p:cNvPr>
          <p:cNvSpPr>
            <a:spLocks noChangeArrowheads="1"/>
          </p:cNvSpPr>
          <p:nvPr userDrawn="1"/>
        </p:nvSpPr>
        <p:spPr bwMode="auto">
          <a:xfrm>
            <a:off x="10545768" y="3806106"/>
            <a:ext cx="605912" cy="605914"/>
          </a:xfrm>
          <a:custGeom>
            <a:avLst/>
            <a:gdLst/>
            <a:ahLst/>
            <a:cxnLst/>
            <a:rect l="0" t="0" r="r" b="b"/>
            <a:pathLst>
              <a:path w="305769" h="305669">
                <a:moveTo>
                  <a:pt x="91520" y="193338"/>
                </a:moveTo>
                <a:lnTo>
                  <a:pt x="91520" y="241276"/>
                </a:lnTo>
                <a:lnTo>
                  <a:pt x="122378" y="217307"/>
                </a:lnTo>
                <a:lnTo>
                  <a:pt x="91520" y="193338"/>
                </a:lnTo>
                <a:close/>
                <a:moveTo>
                  <a:pt x="85062" y="179744"/>
                </a:moveTo>
                <a:cubicBezTo>
                  <a:pt x="86497" y="179028"/>
                  <a:pt x="88291" y="179028"/>
                  <a:pt x="89726" y="180101"/>
                </a:cubicBezTo>
                <a:lnTo>
                  <a:pt x="132784" y="213730"/>
                </a:lnTo>
                <a:cubicBezTo>
                  <a:pt x="133860" y="214445"/>
                  <a:pt x="134578" y="215876"/>
                  <a:pt x="134578" y="217307"/>
                </a:cubicBezTo>
                <a:cubicBezTo>
                  <a:pt x="134578" y="218738"/>
                  <a:pt x="133860" y="219811"/>
                  <a:pt x="132784" y="220885"/>
                </a:cubicBezTo>
                <a:lnTo>
                  <a:pt x="89726" y="254155"/>
                </a:lnTo>
                <a:cubicBezTo>
                  <a:pt x="89009" y="254870"/>
                  <a:pt x="87932" y="254870"/>
                  <a:pt x="86856" y="254870"/>
                </a:cubicBezTo>
                <a:cubicBezTo>
                  <a:pt x="86138" y="254870"/>
                  <a:pt x="85779" y="254870"/>
                  <a:pt x="85062" y="254513"/>
                </a:cubicBezTo>
                <a:cubicBezTo>
                  <a:pt x="83268" y="253797"/>
                  <a:pt x="82550" y="252366"/>
                  <a:pt x="82550" y="250220"/>
                </a:cubicBezTo>
                <a:lnTo>
                  <a:pt x="82550" y="183679"/>
                </a:lnTo>
                <a:cubicBezTo>
                  <a:pt x="82550" y="182248"/>
                  <a:pt x="83268" y="180459"/>
                  <a:pt x="85062" y="179744"/>
                </a:cubicBezTo>
                <a:close/>
                <a:moveTo>
                  <a:pt x="97272" y="153628"/>
                </a:moveTo>
                <a:cubicBezTo>
                  <a:pt x="99784" y="153628"/>
                  <a:pt x="101938" y="155785"/>
                  <a:pt x="101938" y="158301"/>
                </a:cubicBezTo>
                <a:cubicBezTo>
                  <a:pt x="101938" y="160817"/>
                  <a:pt x="99784" y="162974"/>
                  <a:pt x="97272" y="162974"/>
                </a:cubicBezTo>
                <a:cubicBezTo>
                  <a:pt x="71787" y="162974"/>
                  <a:pt x="46662" y="165849"/>
                  <a:pt x="25484" y="171241"/>
                </a:cubicBezTo>
                <a:cubicBezTo>
                  <a:pt x="20100" y="172678"/>
                  <a:pt x="15793" y="176632"/>
                  <a:pt x="13998" y="182024"/>
                </a:cubicBezTo>
                <a:cubicBezTo>
                  <a:pt x="11127" y="193166"/>
                  <a:pt x="9332" y="205387"/>
                  <a:pt x="9332" y="218326"/>
                </a:cubicBezTo>
                <a:cubicBezTo>
                  <a:pt x="9332" y="230547"/>
                  <a:pt x="11127" y="243487"/>
                  <a:pt x="13998" y="254270"/>
                </a:cubicBezTo>
                <a:cubicBezTo>
                  <a:pt x="15793" y="259661"/>
                  <a:pt x="20100" y="263615"/>
                  <a:pt x="25484" y="265412"/>
                </a:cubicBezTo>
                <a:cubicBezTo>
                  <a:pt x="46662" y="270444"/>
                  <a:pt x="71787" y="273320"/>
                  <a:pt x="97272" y="273320"/>
                </a:cubicBezTo>
                <a:cubicBezTo>
                  <a:pt x="115219" y="273320"/>
                  <a:pt x="132807" y="272241"/>
                  <a:pt x="148959" y="269366"/>
                </a:cubicBezTo>
                <a:cubicBezTo>
                  <a:pt x="150036" y="269007"/>
                  <a:pt x="151471" y="269366"/>
                  <a:pt x="152189" y="270085"/>
                </a:cubicBezTo>
                <a:lnTo>
                  <a:pt x="185571" y="292370"/>
                </a:lnTo>
                <a:lnTo>
                  <a:pt x="185571" y="217248"/>
                </a:lnTo>
                <a:lnTo>
                  <a:pt x="185571" y="216889"/>
                </a:lnTo>
                <a:cubicBezTo>
                  <a:pt x="185571" y="204668"/>
                  <a:pt x="183776" y="192807"/>
                  <a:pt x="180545" y="182024"/>
                </a:cubicBezTo>
                <a:cubicBezTo>
                  <a:pt x="179110" y="176632"/>
                  <a:pt x="174802" y="172678"/>
                  <a:pt x="169418" y="171241"/>
                </a:cubicBezTo>
                <a:cubicBezTo>
                  <a:pt x="166906" y="170522"/>
                  <a:pt x="164752" y="170162"/>
                  <a:pt x="162240" y="169443"/>
                </a:cubicBezTo>
                <a:cubicBezTo>
                  <a:pt x="159727" y="169084"/>
                  <a:pt x="158291" y="166568"/>
                  <a:pt x="158650" y="164052"/>
                </a:cubicBezTo>
                <a:cubicBezTo>
                  <a:pt x="159368" y="161536"/>
                  <a:pt x="161881" y="160098"/>
                  <a:pt x="164393" y="160457"/>
                </a:cubicBezTo>
                <a:cubicBezTo>
                  <a:pt x="166906" y="160817"/>
                  <a:pt x="169059" y="161536"/>
                  <a:pt x="171572" y="162255"/>
                </a:cubicBezTo>
                <a:cubicBezTo>
                  <a:pt x="180186" y="164411"/>
                  <a:pt x="187365" y="170881"/>
                  <a:pt x="189519" y="179507"/>
                </a:cubicBezTo>
                <a:cubicBezTo>
                  <a:pt x="193108" y="190650"/>
                  <a:pt x="194544" y="203230"/>
                  <a:pt x="194903" y="216170"/>
                </a:cubicBezTo>
                <a:cubicBezTo>
                  <a:pt x="194903" y="216170"/>
                  <a:pt x="194903" y="216529"/>
                  <a:pt x="194903" y="216889"/>
                </a:cubicBezTo>
                <a:lnTo>
                  <a:pt x="194903" y="300996"/>
                </a:lnTo>
                <a:cubicBezTo>
                  <a:pt x="194903" y="302793"/>
                  <a:pt x="193826" y="304231"/>
                  <a:pt x="192390" y="304950"/>
                </a:cubicBezTo>
                <a:cubicBezTo>
                  <a:pt x="191672" y="305309"/>
                  <a:pt x="190955" y="305669"/>
                  <a:pt x="190237" y="305669"/>
                </a:cubicBezTo>
                <a:cubicBezTo>
                  <a:pt x="189519" y="305669"/>
                  <a:pt x="188442" y="305309"/>
                  <a:pt x="187724" y="304950"/>
                </a:cubicBezTo>
                <a:lnTo>
                  <a:pt x="148600" y="278711"/>
                </a:lnTo>
                <a:cubicBezTo>
                  <a:pt x="132089" y="281227"/>
                  <a:pt x="115219" y="282665"/>
                  <a:pt x="97272" y="282665"/>
                </a:cubicBezTo>
                <a:cubicBezTo>
                  <a:pt x="70711" y="282665"/>
                  <a:pt x="45226" y="279790"/>
                  <a:pt x="23331" y="274039"/>
                </a:cubicBezTo>
                <a:cubicBezTo>
                  <a:pt x="14716" y="272241"/>
                  <a:pt x="7538" y="265412"/>
                  <a:pt x="5384" y="256786"/>
                </a:cubicBezTo>
                <a:cubicBezTo>
                  <a:pt x="1795" y="244924"/>
                  <a:pt x="0" y="231625"/>
                  <a:pt x="0" y="218326"/>
                </a:cubicBezTo>
                <a:cubicBezTo>
                  <a:pt x="0" y="204668"/>
                  <a:pt x="1795" y="191369"/>
                  <a:pt x="5384" y="179507"/>
                </a:cubicBezTo>
                <a:cubicBezTo>
                  <a:pt x="7538" y="170881"/>
                  <a:pt x="14716" y="164411"/>
                  <a:pt x="23331" y="162255"/>
                </a:cubicBezTo>
                <a:cubicBezTo>
                  <a:pt x="45226" y="156863"/>
                  <a:pt x="70711" y="153628"/>
                  <a:pt x="97272" y="153628"/>
                </a:cubicBezTo>
                <a:close/>
                <a:moveTo>
                  <a:pt x="269679" y="75516"/>
                </a:moveTo>
                <a:cubicBezTo>
                  <a:pt x="227557" y="89540"/>
                  <a:pt x="200196" y="91698"/>
                  <a:pt x="189756" y="91698"/>
                </a:cubicBezTo>
                <a:lnTo>
                  <a:pt x="189756" y="135569"/>
                </a:lnTo>
                <a:cubicBezTo>
                  <a:pt x="200196" y="137727"/>
                  <a:pt x="229717" y="146717"/>
                  <a:pt x="269679" y="179800"/>
                </a:cubicBezTo>
                <a:lnTo>
                  <a:pt x="269679" y="75516"/>
                </a:lnTo>
                <a:close/>
                <a:moveTo>
                  <a:pt x="288748" y="71621"/>
                </a:moveTo>
                <a:cubicBezTo>
                  <a:pt x="290865" y="69490"/>
                  <a:pt x="293687" y="69490"/>
                  <a:pt x="295451" y="71621"/>
                </a:cubicBezTo>
                <a:cubicBezTo>
                  <a:pt x="309209" y="85470"/>
                  <a:pt x="309209" y="107841"/>
                  <a:pt x="295451" y="122045"/>
                </a:cubicBezTo>
                <a:cubicBezTo>
                  <a:pt x="294393" y="122755"/>
                  <a:pt x="293334" y="123110"/>
                  <a:pt x="292276" y="123110"/>
                </a:cubicBezTo>
                <a:cubicBezTo>
                  <a:pt x="290865" y="123110"/>
                  <a:pt x="289807" y="122755"/>
                  <a:pt x="288748" y="122045"/>
                </a:cubicBezTo>
                <a:cubicBezTo>
                  <a:pt x="287337" y="119914"/>
                  <a:pt x="287337" y="117073"/>
                  <a:pt x="288748" y="115298"/>
                </a:cubicBezTo>
                <a:cubicBezTo>
                  <a:pt x="299332" y="105000"/>
                  <a:pt x="299332" y="88310"/>
                  <a:pt x="288748" y="78013"/>
                </a:cubicBezTo>
                <a:cubicBezTo>
                  <a:pt x="287337" y="75882"/>
                  <a:pt x="287337" y="73396"/>
                  <a:pt x="288748" y="71621"/>
                </a:cubicBezTo>
                <a:close/>
                <a:moveTo>
                  <a:pt x="136113" y="59693"/>
                </a:moveTo>
                <a:cubicBezTo>
                  <a:pt x="128193" y="59693"/>
                  <a:pt x="122072" y="65806"/>
                  <a:pt x="122072" y="73358"/>
                </a:cubicBezTo>
                <a:lnTo>
                  <a:pt x="122072" y="122264"/>
                </a:lnTo>
                <a:cubicBezTo>
                  <a:pt x="122072" y="122983"/>
                  <a:pt x="122072" y="123343"/>
                  <a:pt x="122072" y="124062"/>
                </a:cubicBezTo>
                <a:lnTo>
                  <a:pt x="122072" y="160382"/>
                </a:lnTo>
                <a:lnTo>
                  <a:pt x="158794" y="135929"/>
                </a:lnTo>
                <a:cubicBezTo>
                  <a:pt x="159514" y="135210"/>
                  <a:pt x="160594" y="134850"/>
                  <a:pt x="161314" y="134850"/>
                </a:cubicBezTo>
                <a:lnTo>
                  <a:pt x="180395" y="134850"/>
                </a:lnTo>
                <a:lnTo>
                  <a:pt x="180395" y="59693"/>
                </a:lnTo>
                <a:lnTo>
                  <a:pt x="136113" y="59693"/>
                </a:lnTo>
                <a:close/>
                <a:moveTo>
                  <a:pt x="269679" y="14743"/>
                </a:moveTo>
                <a:cubicBezTo>
                  <a:pt x="229717" y="48186"/>
                  <a:pt x="200196" y="56816"/>
                  <a:pt x="189756" y="58974"/>
                </a:cubicBezTo>
                <a:lnTo>
                  <a:pt x="189756" y="82708"/>
                </a:lnTo>
                <a:cubicBezTo>
                  <a:pt x="199836" y="82348"/>
                  <a:pt x="227197" y="79831"/>
                  <a:pt x="269679" y="65447"/>
                </a:cubicBezTo>
                <a:lnTo>
                  <a:pt x="269679" y="14743"/>
                </a:lnTo>
                <a:close/>
                <a:moveTo>
                  <a:pt x="276160" y="359"/>
                </a:moveTo>
                <a:cubicBezTo>
                  <a:pt x="277960" y="1438"/>
                  <a:pt x="279040" y="2876"/>
                  <a:pt x="279040" y="4674"/>
                </a:cubicBezTo>
                <a:lnTo>
                  <a:pt x="279040" y="189869"/>
                </a:lnTo>
                <a:cubicBezTo>
                  <a:pt x="279040" y="191667"/>
                  <a:pt x="277960" y="193465"/>
                  <a:pt x="276160" y="194184"/>
                </a:cubicBezTo>
                <a:cubicBezTo>
                  <a:pt x="275440" y="194544"/>
                  <a:pt x="275080" y="194544"/>
                  <a:pt x="274360" y="194544"/>
                </a:cubicBezTo>
                <a:cubicBezTo>
                  <a:pt x="273280" y="194544"/>
                  <a:pt x="271840" y="194184"/>
                  <a:pt x="271119" y="193465"/>
                </a:cubicBezTo>
                <a:cubicBezTo>
                  <a:pt x="221797" y="149234"/>
                  <a:pt x="186875" y="144559"/>
                  <a:pt x="184715" y="144200"/>
                </a:cubicBezTo>
                <a:lnTo>
                  <a:pt x="162754" y="144200"/>
                </a:lnTo>
                <a:lnTo>
                  <a:pt x="119912" y="173327"/>
                </a:lnTo>
                <a:cubicBezTo>
                  <a:pt x="119192" y="173687"/>
                  <a:pt x="118112" y="173687"/>
                  <a:pt x="117392" y="173687"/>
                </a:cubicBezTo>
                <a:cubicBezTo>
                  <a:pt x="116672" y="173687"/>
                  <a:pt x="115952" y="173687"/>
                  <a:pt x="115232" y="173327"/>
                </a:cubicBezTo>
                <a:cubicBezTo>
                  <a:pt x="113792" y="172608"/>
                  <a:pt x="112712" y="170810"/>
                  <a:pt x="112712" y="169372"/>
                </a:cubicBezTo>
                <a:lnTo>
                  <a:pt x="112712" y="122624"/>
                </a:lnTo>
                <a:lnTo>
                  <a:pt x="112712" y="122264"/>
                </a:lnTo>
                <a:cubicBezTo>
                  <a:pt x="112712" y="121545"/>
                  <a:pt x="112712" y="121545"/>
                  <a:pt x="112712" y="121185"/>
                </a:cubicBezTo>
                <a:lnTo>
                  <a:pt x="112712" y="73358"/>
                </a:lnTo>
                <a:cubicBezTo>
                  <a:pt x="112712" y="60772"/>
                  <a:pt x="123152" y="50343"/>
                  <a:pt x="136113" y="50343"/>
                </a:cubicBezTo>
                <a:lnTo>
                  <a:pt x="184715" y="50343"/>
                </a:lnTo>
                <a:cubicBezTo>
                  <a:pt x="186515" y="50343"/>
                  <a:pt x="221437" y="45309"/>
                  <a:pt x="271119" y="1438"/>
                </a:cubicBezTo>
                <a:cubicBezTo>
                  <a:pt x="272560" y="-1"/>
                  <a:pt x="274360" y="-360"/>
                  <a:pt x="276160" y="359"/>
                </a:cubicBezTo>
                <a:close/>
              </a:path>
            </a:pathLst>
          </a:custGeom>
          <a:solidFill>
            <a:schemeClr val="bg1"/>
          </a:solidFill>
          <a:ln>
            <a:noFill/>
          </a:ln>
          <a:effectLst/>
        </p:spPr>
        <p:txBody>
          <a:bodyPr anchor="ctr"/>
          <a:lstStyle/>
          <a:p>
            <a:endParaRPr lang="en-US" sz="900"/>
          </a:p>
        </p:txBody>
      </p:sp>
      <p:sp>
        <p:nvSpPr>
          <p:cNvPr id="12" name="Freeform 811">
            <a:extLst>
              <a:ext uri="{FF2B5EF4-FFF2-40B4-BE49-F238E27FC236}">
                <a16:creationId xmlns:a16="http://schemas.microsoft.com/office/drawing/2014/main" id="{C5EED7F7-481E-3D63-5272-CA05DAA471B2}"/>
              </a:ext>
            </a:extLst>
          </p:cNvPr>
          <p:cNvSpPr>
            <a:spLocks noChangeArrowheads="1"/>
          </p:cNvSpPr>
          <p:nvPr userDrawn="1"/>
        </p:nvSpPr>
        <p:spPr bwMode="auto">
          <a:xfrm>
            <a:off x="9802228" y="2161526"/>
            <a:ext cx="602774" cy="602774"/>
          </a:xfrm>
          <a:custGeom>
            <a:avLst/>
            <a:gdLst/>
            <a:ahLst/>
            <a:cxnLst/>
            <a:rect l="0" t="0" r="r" b="b"/>
            <a:pathLst>
              <a:path w="304441" h="304441">
                <a:moveTo>
                  <a:pt x="9345" y="276778"/>
                </a:moveTo>
                <a:lnTo>
                  <a:pt x="9345" y="286118"/>
                </a:lnTo>
                <a:cubicBezTo>
                  <a:pt x="9345" y="291148"/>
                  <a:pt x="13658" y="295100"/>
                  <a:pt x="18690" y="295100"/>
                </a:cubicBezTo>
                <a:lnTo>
                  <a:pt x="286110" y="295100"/>
                </a:lnTo>
                <a:cubicBezTo>
                  <a:pt x="291142" y="295100"/>
                  <a:pt x="295096" y="291148"/>
                  <a:pt x="295096" y="286118"/>
                </a:cubicBezTo>
                <a:lnTo>
                  <a:pt x="295096" y="276778"/>
                </a:lnTo>
                <a:lnTo>
                  <a:pt x="9345" y="276778"/>
                </a:lnTo>
                <a:close/>
                <a:moveTo>
                  <a:pt x="30911" y="235462"/>
                </a:moveTo>
                <a:lnTo>
                  <a:pt x="12580" y="267437"/>
                </a:lnTo>
                <a:lnTo>
                  <a:pt x="292220" y="267437"/>
                </a:lnTo>
                <a:lnTo>
                  <a:pt x="273529" y="235462"/>
                </a:lnTo>
                <a:lnTo>
                  <a:pt x="30911" y="235462"/>
                </a:lnTo>
                <a:close/>
                <a:moveTo>
                  <a:pt x="185249" y="184264"/>
                </a:moveTo>
                <a:cubicBezTo>
                  <a:pt x="187081" y="182563"/>
                  <a:pt x="190378" y="182563"/>
                  <a:pt x="191843" y="184264"/>
                </a:cubicBezTo>
                <a:cubicBezTo>
                  <a:pt x="192943" y="184944"/>
                  <a:pt x="193309" y="186305"/>
                  <a:pt x="193309" y="187326"/>
                </a:cubicBezTo>
                <a:cubicBezTo>
                  <a:pt x="193309" y="188346"/>
                  <a:pt x="192943" y="189707"/>
                  <a:pt x="191843" y="190387"/>
                </a:cubicBezTo>
                <a:cubicBezTo>
                  <a:pt x="191111" y="191068"/>
                  <a:pt x="190012" y="191748"/>
                  <a:pt x="188913" y="191748"/>
                </a:cubicBezTo>
                <a:cubicBezTo>
                  <a:pt x="187447" y="191748"/>
                  <a:pt x="185982" y="191068"/>
                  <a:pt x="185249" y="190387"/>
                </a:cubicBezTo>
                <a:cubicBezTo>
                  <a:pt x="184516" y="189707"/>
                  <a:pt x="184150" y="188346"/>
                  <a:pt x="184150" y="187326"/>
                </a:cubicBezTo>
                <a:cubicBezTo>
                  <a:pt x="184150" y="186305"/>
                  <a:pt x="184516" y="184944"/>
                  <a:pt x="185249" y="184264"/>
                </a:cubicBezTo>
                <a:close/>
                <a:moveTo>
                  <a:pt x="166511" y="184150"/>
                </a:moveTo>
                <a:cubicBezTo>
                  <a:pt x="168981" y="184150"/>
                  <a:pt x="171097" y="186267"/>
                  <a:pt x="171097" y="188736"/>
                </a:cubicBezTo>
                <a:cubicBezTo>
                  <a:pt x="171097" y="191206"/>
                  <a:pt x="168981" y="193322"/>
                  <a:pt x="166511" y="193322"/>
                </a:cubicBezTo>
                <a:cubicBezTo>
                  <a:pt x="164042" y="193322"/>
                  <a:pt x="161925" y="191206"/>
                  <a:pt x="161925" y="188736"/>
                </a:cubicBezTo>
                <a:cubicBezTo>
                  <a:pt x="161925" y="186267"/>
                  <a:pt x="164042" y="184150"/>
                  <a:pt x="166511" y="184150"/>
                </a:cubicBezTo>
                <a:close/>
                <a:moveTo>
                  <a:pt x="144286" y="184150"/>
                </a:moveTo>
                <a:cubicBezTo>
                  <a:pt x="146756" y="184150"/>
                  <a:pt x="148872" y="186267"/>
                  <a:pt x="148872" y="188736"/>
                </a:cubicBezTo>
                <a:cubicBezTo>
                  <a:pt x="148872" y="191206"/>
                  <a:pt x="146756" y="193322"/>
                  <a:pt x="144286" y="193322"/>
                </a:cubicBezTo>
                <a:cubicBezTo>
                  <a:pt x="141817" y="193322"/>
                  <a:pt x="139700" y="191206"/>
                  <a:pt x="139700" y="188736"/>
                </a:cubicBezTo>
                <a:cubicBezTo>
                  <a:pt x="139700" y="186267"/>
                  <a:pt x="141817" y="184150"/>
                  <a:pt x="144286" y="184150"/>
                </a:cubicBezTo>
                <a:close/>
                <a:moveTo>
                  <a:pt x="122238" y="184150"/>
                </a:moveTo>
                <a:cubicBezTo>
                  <a:pt x="124436" y="184150"/>
                  <a:pt x="126634" y="186267"/>
                  <a:pt x="126634" y="188736"/>
                </a:cubicBezTo>
                <a:cubicBezTo>
                  <a:pt x="126634" y="191206"/>
                  <a:pt x="124436" y="193322"/>
                  <a:pt x="122238" y="193322"/>
                </a:cubicBezTo>
                <a:cubicBezTo>
                  <a:pt x="119307" y="193322"/>
                  <a:pt x="117475" y="191206"/>
                  <a:pt x="117475" y="188736"/>
                </a:cubicBezTo>
                <a:cubicBezTo>
                  <a:pt x="117475" y="186267"/>
                  <a:pt x="119307" y="184150"/>
                  <a:pt x="122238" y="184150"/>
                </a:cubicBezTo>
                <a:close/>
                <a:moveTo>
                  <a:pt x="99836" y="184150"/>
                </a:moveTo>
                <a:cubicBezTo>
                  <a:pt x="102306" y="184150"/>
                  <a:pt x="104422" y="186267"/>
                  <a:pt x="104422" y="188736"/>
                </a:cubicBezTo>
                <a:cubicBezTo>
                  <a:pt x="104422" y="191206"/>
                  <a:pt x="102306" y="193322"/>
                  <a:pt x="99836" y="193322"/>
                </a:cubicBezTo>
                <a:cubicBezTo>
                  <a:pt x="97367" y="193322"/>
                  <a:pt x="95250" y="191206"/>
                  <a:pt x="95250" y="188736"/>
                </a:cubicBezTo>
                <a:cubicBezTo>
                  <a:pt x="95250" y="186267"/>
                  <a:pt x="97367" y="184150"/>
                  <a:pt x="99836" y="184150"/>
                </a:cubicBezTo>
                <a:close/>
                <a:moveTo>
                  <a:pt x="77611" y="184150"/>
                </a:moveTo>
                <a:cubicBezTo>
                  <a:pt x="80080" y="184150"/>
                  <a:pt x="82197" y="186267"/>
                  <a:pt x="82197" y="188736"/>
                </a:cubicBezTo>
                <a:cubicBezTo>
                  <a:pt x="82197" y="191206"/>
                  <a:pt x="80080" y="193322"/>
                  <a:pt x="77611" y="193322"/>
                </a:cubicBezTo>
                <a:cubicBezTo>
                  <a:pt x="75142" y="193322"/>
                  <a:pt x="73025" y="191206"/>
                  <a:pt x="73025" y="188736"/>
                </a:cubicBezTo>
                <a:cubicBezTo>
                  <a:pt x="73025" y="186267"/>
                  <a:pt x="75142" y="184150"/>
                  <a:pt x="77611" y="184150"/>
                </a:cubicBezTo>
                <a:close/>
                <a:moveTo>
                  <a:pt x="59823" y="176213"/>
                </a:moveTo>
                <a:lnTo>
                  <a:pt x="59823" y="199659"/>
                </a:lnTo>
                <a:lnTo>
                  <a:pt x="244255" y="199659"/>
                </a:lnTo>
                <a:lnTo>
                  <a:pt x="244255" y="176213"/>
                </a:lnTo>
                <a:lnTo>
                  <a:pt x="59823" y="176213"/>
                </a:lnTo>
                <a:close/>
                <a:moveTo>
                  <a:pt x="59823" y="166688"/>
                </a:moveTo>
                <a:lnTo>
                  <a:pt x="244255" y="166688"/>
                </a:lnTo>
                <a:cubicBezTo>
                  <a:pt x="249308" y="166688"/>
                  <a:pt x="253639" y="171084"/>
                  <a:pt x="253639" y="176213"/>
                </a:cubicBezTo>
                <a:lnTo>
                  <a:pt x="253639" y="199659"/>
                </a:lnTo>
                <a:cubicBezTo>
                  <a:pt x="253639" y="204788"/>
                  <a:pt x="249308" y="209184"/>
                  <a:pt x="244255" y="209184"/>
                </a:cubicBezTo>
                <a:lnTo>
                  <a:pt x="59823" y="209184"/>
                </a:lnTo>
                <a:cubicBezTo>
                  <a:pt x="54770" y="209184"/>
                  <a:pt x="50800" y="204788"/>
                  <a:pt x="50800" y="199659"/>
                </a:cubicBezTo>
                <a:lnTo>
                  <a:pt x="50800" y="176213"/>
                </a:lnTo>
                <a:cubicBezTo>
                  <a:pt x="50800" y="171084"/>
                  <a:pt x="54770" y="166688"/>
                  <a:pt x="59823" y="166688"/>
                </a:cubicBezTo>
                <a:close/>
                <a:moveTo>
                  <a:pt x="176200" y="139700"/>
                </a:moveTo>
                <a:lnTo>
                  <a:pt x="212372" y="139700"/>
                </a:lnTo>
                <a:cubicBezTo>
                  <a:pt x="215295" y="139700"/>
                  <a:pt x="217122" y="141817"/>
                  <a:pt x="217122" y="144286"/>
                </a:cubicBezTo>
                <a:cubicBezTo>
                  <a:pt x="217122" y="146756"/>
                  <a:pt x="215295" y="148872"/>
                  <a:pt x="212372" y="148872"/>
                </a:cubicBezTo>
                <a:lnTo>
                  <a:pt x="176200" y="148872"/>
                </a:lnTo>
                <a:cubicBezTo>
                  <a:pt x="173642" y="148872"/>
                  <a:pt x="171450" y="146756"/>
                  <a:pt x="171450" y="144286"/>
                </a:cubicBezTo>
                <a:cubicBezTo>
                  <a:pt x="171450" y="141817"/>
                  <a:pt x="173642" y="139700"/>
                  <a:pt x="176200" y="139700"/>
                </a:cubicBezTo>
                <a:close/>
                <a:moveTo>
                  <a:pt x="176136" y="111125"/>
                </a:moveTo>
                <a:lnTo>
                  <a:pt x="248954" y="111125"/>
                </a:lnTo>
                <a:cubicBezTo>
                  <a:pt x="251477" y="111125"/>
                  <a:pt x="253640" y="113242"/>
                  <a:pt x="253640" y="115711"/>
                </a:cubicBezTo>
                <a:cubicBezTo>
                  <a:pt x="253640" y="118181"/>
                  <a:pt x="251477" y="120297"/>
                  <a:pt x="248954" y="120297"/>
                </a:cubicBezTo>
                <a:lnTo>
                  <a:pt x="176136" y="120297"/>
                </a:lnTo>
                <a:cubicBezTo>
                  <a:pt x="173613" y="120297"/>
                  <a:pt x="171450" y="118181"/>
                  <a:pt x="171450" y="115711"/>
                </a:cubicBezTo>
                <a:cubicBezTo>
                  <a:pt x="171450" y="113242"/>
                  <a:pt x="173613" y="111125"/>
                  <a:pt x="176136" y="111125"/>
                </a:cubicBezTo>
                <a:close/>
                <a:moveTo>
                  <a:pt x="176136" y="84138"/>
                </a:moveTo>
                <a:lnTo>
                  <a:pt x="248954" y="84138"/>
                </a:lnTo>
                <a:cubicBezTo>
                  <a:pt x="251477" y="84138"/>
                  <a:pt x="253640" y="86255"/>
                  <a:pt x="253640" y="88724"/>
                </a:cubicBezTo>
                <a:cubicBezTo>
                  <a:pt x="253640" y="91194"/>
                  <a:pt x="251477" y="93310"/>
                  <a:pt x="248954" y="93310"/>
                </a:cubicBezTo>
                <a:lnTo>
                  <a:pt x="176136" y="93310"/>
                </a:lnTo>
                <a:cubicBezTo>
                  <a:pt x="173613" y="93310"/>
                  <a:pt x="171450" y="91194"/>
                  <a:pt x="171450" y="88724"/>
                </a:cubicBezTo>
                <a:cubicBezTo>
                  <a:pt x="171450" y="86255"/>
                  <a:pt x="173613" y="84138"/>
                  <a:pt x="176136" y="84138"/>
                </a:cubicBezTo>
                <a:close/>
                <a:moveTo>
                  <a:pt x="101600" y="65088"/>
                </a:moveTo>
                <a:cubicBezTo>
                  <a:pt x="104146" y="65088"/>
                  <a:pt x="105965" y="66871"/>
                  <a:pt x="105965" y="69367"/>
                </a:cubicBezTo>
                <a:lnTo>
                  <a:pt x="105965" y="71863"/>
                </a:lnTo>
                <a:cubicBezTo>
                  <a:pt x="111422" y="72932"/>
                  <a:pt x="115424" y="76498"/>
                  <a:pt x="117607" y="81133"/>
                </a:cubicBezTo>
                <a:cubicBezTo>
                  <a:pt x="118698" y="83272"/>
                  <a:pt x="117607" y="86125"/>
                  <a:pt x="115060" y="87194"/>
                </a:cubicBezTo>
                <a:cubicBezTo>
                  <a:pt x="112877" y="87908"/>
                  <a:pt x="109967" y="86838"/>
                  <a:pt x="108876" y="84699"/>
                </a:cubicBezTo>
                <a:cubicBezTo>
                  <a:pt x="107784" y="81846"/>
                  <a:pt x="104874" y="80063"/>
                  <a:pt x="101600" y="80063"/>
                </a:cubicBezTo>
                <a:cubicBezTo>
                  <a:pt x="97234" y="80063"/>
                  <a:pt x="93596" y="83272"/>
                  <a:pt x="93596" y="86838"/>
                </a:cubicBezTo>
                <a:cubicBezTo>
                  <a:pt x="93596" y="91473"/>
                  <a:pt x="96143" y="93612"/>
                  <a:pt x="101600" y="93612"/>
                </a:cubicBezTo>
                <a:cubicBezTo>
                  <a:pt x="111786" y="93612"/>
                  <a:pt x="118698" y="99674"/>
                  <a:pt x="118698" y="109301"/>
                </a:cubicBezTo>
                <a:cubicBezTo>
                  <a:pt x="118698" y="116788"/>
                  <a:pt x="113241" y="122849"/>
                  <a:pt x="105965" y="124632"/>
                </a:cubicBezTo>
                <a:lnTo>
                  <a:pt x="105965" y="126772"/>
                </a:lnTo>
                <a:cubicBezTo>
                  <a:pt x="105965" y="129267"/>
                  <a:pt x="104146" y="131407"/>
                  <a:pt x="101600" y="131407"/>
                </a:cubicBezTo>
                <a:cubicBezTo>
                  <a:pt x="98689" y="131407"/>
                  <a:pt x="96870" y="129267"/>
                  <a:pt x="96870" y="126772"/>
                </a:cubicBezTo>
                <a:lnTo>
                  <a:pt x="96870" y="124632"/>
                </a:lnTo>
                <a:cubicBezTo>
                  <a:pt x="91413" y="123206"/>
                  <a:pt x="87411" y="119641"/>
                  <a:pt x="85592" y="115362"/>
                </a:cubicBezTo>
                <a:cubicBezTo>
                  <a:pt x="84137" y="112866"/>
                  <a:pt x="85592" y="110370"/>
                  <a:pt x="87775" y="108944"/>
                </a:cubicBezTo>
                <a:cubicBezTo>
                  <a:pt x="90322" y="108231"/>
                  <a:pt x="93232" y="109301"/>
                  <a:pt x="93960" y="111796"/>
                </a:cubicBezTo>
                <a:cubicBezTo>
                  <a:pt x="95051" y="114292"/>
                  <a:pt x="98325" y="116075"/>
                  <a:pt x="101600" y="116075"/>
                </a:cubicBezTo>
                <a:cubicBezTo>
                  <a:pt x="105965" y="116075"/>
                  <a:pt x="109603" y="113223"/>
                  <a:pt x="109603" y="109301"/>
                </a:cubicBezTo>
                <a:cubicBezTo>
                  <a:pt x="109603" y="104665"/>
                  <a:pt x="107057" y="102526"/>
                  <a:pt x="101600" y="102526"/>
                </a:cubicBezTo>
                <a:cubicBezTo>
                  <a:pt x="91049" y="102526"/>
                  <a:pt x="84137" y="96465"/>
                  <a:pt x="84137" y="86838"/>
                </a:cubicBezTo>
                <a:cubicBezTo>
                  <a:pt x="84137" y="79707"/>
                  <a:pt x="89594" y="73645"/>
                  <a:pt x="96870" y="71863"/>
                </a:cubicBezTo>
                <a:lnTo>
                  <a:pt x="96870" y="69367"/>
                </a:lnTo>
                <a:cubicBezTo>
                  <a:pt x="96870" y="66871"/>
                  <a:pt x="98689" y="65088"/>
                  <a:pt x="101600" y="65088"/>
                </a:cubicBezTo>
                <a:close/>
                <a:moveTo>
                  <a:pt x="101421" y="56927"/>
                </a:moveTo>
                <a:cubicBezTo>
                  <a:pt x="78444" y="56927"/>
                  <a:pt x="60134" y="75529"/>
                  <a:pt x="60134" y="98068"/>
                </a:cubicBezTo>
                <a:cubicBezTo>
                  <a:pt x="60134" y="120963"/>
                  <a:pt x="78444" y="139566"/>
                  <a:pt x="101421" y="139566"/>
                </a:cubicBezTo>
                <a:cubicBezTo>
                  <a:pt x="124038" y="139566"/>
                  <a:pt x="142707" y="120963"/>
                  <a:pt x="142707" y="98068"/>
                </a:cubicBezTo>
                <a:cubicBezTo>
                  <a:pt x="142707" y="75529"/>
                  <a:pt x="124038" y="56927"/>
                  <a:pt x="101421" y="56927"/>
                </a:cubicBezTo>
                <a:close/>
                <a:moveTo>
                  <a:pt x="42054" y="50800"/>
                </a:moveTo>
                <a:cubicBezTo>
                  <a:pt x="44570" y="50800"/>
                  <a:pt x="46726" y="52956"/>
                  <a:pt x="46726" y="55471"/>
                </a:cubicBezTo>
                <a:cubicBezTo>
                  <a:pt x="46726" y="57986"/>
                  <a:pt x="44570" y="60141"/>
                  <a:pt x="42054" y="60141"/>
                </a:cubicBezTo>
                <a:cubicBezTo>
                  <a:pt x="37022" y="60141"/>
                  <a:pt x="32708" y="64093"/>
                  <a:pt x="32708" y="69482"/>
                </a:cubicBezTo>
                <a:lnTo>
                  <a:pt x="32708" y="226121"/>
                </a:lnTo>
                <a:lnTo>
                  <a:pt x="271732" y="226121"/>
                </a:lnTo>
                <a:lnTo>
                  <a:pt x="271732" y="69482"/>
                </a:lnTo>
                <a:cubicBezTo>
                  <a:pt x="271732" y="64093"/>
                  <a:pt x="267779" y="60141"/>
                  <a:pt x="262746" y="60141"/>
                </a:cubicBezTo>
                <a:lnTo>
                  <a:pt x="161745" y="60141"/>
                </a:lnTo>
                <a:cubicBezTo>
                  <a:pt x="159229" y="60141"/>
                  <a:pt x="157073" y="57986"/>
                  <a:pt x="157073" y="55471"/>
                </a:cubicBezTo>
                <a:cubicBezTo>
                  <a:pt x="157073" y="52956"/>
                  <a:pt x="159229" y="50800"/>
                  <a:pt x="161745" y="50800"/>
                </a:cubicBezTo>
                <a:lnTo>
                  <a:pt x="262746" y="50800"/>
                </a:lnTo>
                <a:cubicBezTo>
                  <a:pt x="272811" y="50800"/>
                  <a:pt x="281078" y="59063"/>
                  <a:pt x="281078" y="69482"/>
                </a:cubicBezTo>
                <a:lnTo>
                  <a:pt x="281078" y="229714"/>
                </a:lnTo>
                <a:lnTo>
                  <a:pt x="304081" y="269952"/>
                </a:lnTo>
                <a:cubicBezTo>
                  <a:pt x="304081" y="270311"/>
                  <a:pt x="304081" y="270311"/>
                  <a:pt x="304081" y="270311"/>
                </a:cubicBezTo>
                <a:lnTo>
                  <a:pt x="304081" y="270670"/>
                </a:lnTo>
                <a:cubicBezTo>
                  <a:pt x="304441" y="271029"/>
                  <a:pt x="304441" y="271748"/>
                  <a:pt x="304441" y="272107"/>
                </a:cubicBezTo>
                <a:lnTo>
                  <a:pt x="304441" y="286118"/>
                </a:lnTo>
                <a:cubicBezTo>
                  <a:pt x="304441" y="296178"/>
                  <a:pt x="296174" y="304441"/>
                  <a:pt x="286110" y="304441"/>
                </a:cubicBezTo>
                <a:lnTo>
                  <a:pt x="18690" y="304441"/>
                </a:lnTo>
                <a:cubicBezTo>
                  <a:pt x="8267" y="304441"/>
                  <a:pt x="0" y="296178"/>
                  <a:pt x="0" y="286118"/>
                </a:cubicBezTo>
                <a:lnTo>
                  <a:pt x="0" y="272107"/>
                </a:lnTo>
                <a:cubicBezTo>
                  <a:pt x="0" y="271748"/>
                  <a:pt x="0" y="271029"/>
                  <a:pt x="359" y="270670"/>
                </a:cubicBezTo>
                <a:lnTo>
                  <a:pt x="719" y="270311"/>
                </a:lnTo>
                <a:cubicBezTo>
                  <a:pt x="719" y="270311"/>
                  <a:pt x="719" y="270311"/>
                  <a:pt x="719" y="269952"/>
                </a:cubicBezTo>
                <a:lnTo>
                  <a:pt x="23723" y="229714"/>
                </a:lnTo>
                <a:lnTo>
                  <a:pt x="23723" y="69482"/>
                </a:lnTo>
                <a:cubicBezTo>
                  <a:pt x="23723" y="59063"/>
                  <a:pt x="31989" y="50800"/>
                  <a:pt x="42054" y="50800"/>
                </a:cubicBezTo>
                <a:close/>
                <a:moveTo>
                  <a:pt x="101421" y="47625"/>
                </a:moveTo>
                <a:cubicBezTo>
                  <a:pt x="129423" y="47625"/>
                  <a:pt x="152041" y="70521"/>
                  <a:pt x="152041" y="98068"/>
                </a:cubicBezTo>
                <a:cubicBezTo>
                  <a:pt x="152041" y="126329"/>
                  <a:pt x="129423" y="148867"/>
                  <a:pt x="101421" y="148867"/>
                </a:cubicBezTo>
                <a:cubicBezTo>
                  <a:pt x="73418" y="148867"/>
                  <a:pt x="50800" y="126329"/>
                  <a:pt x="50800" y="98068"/>
                </a:cubicBezTo>
                <a:cubicBezTo>
                  <a:pt x="50800" y="70521"/>
                  <a:pt x="73418" y="47625"/>
                  <a:pt x="101421" y="47625"/>
                </a:cubicBezTo>
                <a:close/>
                <a:moveTo>
                  <a:pt x="75833" y="14288"/>
                </a:moveTo>
                <a:cubicBezTo>
                  <a:pt x="78764" y="14288"/>
                  <a:pt x="80596" y="16405"/>
                  <a:pt x="80596" y="18874"/>
                </a:cubicBezTo>
                <a:lnTo>
                  <a:pt x="80596" y="37924"/>
                </a:lnTo>
                <a:cubicBezTo>
                  <a:pt x="80596" y="40394"/>
                  <a:pt x="78764" y="42510"/>
                  <a:pt x="75833" y="42510"/>
                </a:cubicBezTo>
                <a:cubicBezTo>
                  <a:pt x="73269" y="42510"/>
                  <a:pt x="71437" y="40394"/>
                  <a:pt x="71437" y="37924"/>
                </a:cubicBezTo>
                <a:lnTo>
                  <a:pt x="71437" y="18874"/>
                </a:lnTo>
                <a:cubicBezTo>
                  <a:pt x="71437" y="16405"/>
                  <a:pt x="73269" y="14288"/>
                  <a:pt x="75833" y="14288"/>
                </a:cubicBezTo>
                <a:close/>
                <a:moveTo>
                  <a:pt x="122238" y="9525"/>
                </a:moveTo>
                <a:cubicBezTo>
                  <a:pt x="124436" y="9525"/>
                  <a:pt x="126634" y="11311"/>
                  <a:pt x="126634" y="13811"/>
                </a:cubicBezTo>
                <a:lnTo>
                  <a:pt x="126634" y="33100"/>
                </a:lnTo>
                <a:cubicBezTo>
                  <a:pt x="126634" y="35600"/>
                  <a:pt x="124436" y="37743"/>
                  <a:pt x="122238" y="37743"/>
                </a:cubicBezTo>
                <a:cubicBezTo>
                  <a:pt x="119307" y="37743"/>
                  <a:pt x="117475" y="35600"/>
                  <a:pt x="117475" y="33100"/>
                </a:cubicBezTo>
                <a:lnTo>
                  <a:pt x="117475" y="13811"/>
                </a:lnTo>
                <a:cubicBezTo>
                  <a:pt x="117475" y="11311"/>
                  <a:pt x="119307" y="9525"/>
                  <a:pt x="122238" y="9525"/>
                </a:cubicBezTo>
                <a:close/>
                <a:moveTo>
                  <a:pt x="98058" y="0"/>
                </a:moveTo>
                <a:cubicBezTo>
                  <a:pt x="100989" y="0"/>
                  <a:pt x="102821" y="2143"/>
                  <a:pt x="102821" y="4644"/>
                </a:cubicBezTo>
                <a:lnTo>
                  <a:pt x="102821" y="23932"/>
                </a:lnTo>
                <a:cubicBezTo>
                  <a:pt x="102821" y="26432"/>
                  <a:pt x="100989" y="28218"/>
                  <a:pt x="98058" y="28218"/>
                </a:cubicBezTo>
                <a:cubicBezTo>
                  <a:pt x="95860" y="28218"/>
                  <a:pt x="93662" y="26432"/>
                  <a:pt x="93662" y="23932"/>
                </a:cubicBezTo>
                <a:lnTo>
                  <a:pt x="93662" y="4644"/>
                </a:lnTo>
                <a:cubicBezTo>
                  <a:pt x="93662" y="2143"/>
                  <a:pt x="95860" y="0"/>
                  <a:pt x="98058" y="0"/>
                </a:cubicBezTo>
                <a:close/>
              </a:path>
            </a:pathLst>
          </a:custGeom>
          <a:solidFill>
            <a:schemeClr val="bg1"/>
          </a:solidFill>
          <a:ln>
            <a:noFill/>
          </a:ln>
          <a:effectLst/>
        </p:spPr>
        <p:txBody>
          <a:bodyPr anchor="ctr"/>
          <a:lstStyle/>
          <a:p>
            <a:endParaRPr lang="en-US" sz="900"/>
          </a:p>
        </p:txBody>
      </p:sp>
      <p:sp>
        <p:nvSpPr>
          <p:cNvPr id="14" name="Freeform 810">
            <a:extLst>
              <a:ext uri="{FF2B5EF4-FFF2-40B4-BE49-F238E27FC236}">
                <a16:creationId xmlns:a16="http://schemas.microsoft.com/office/drawing/2014/main" id="{ED1F7259-AAF7-50E0-7E00-D4C086ACEF9B}"/>
              </a:ext>
            </a:extLst>
          </p:cNvPr>
          <p:cNvSpPr>
            <a:spLocks noChangeArrowheads="1"/>
          </p:cNvSpPr>
          <p:nvPr userDrawn="1"/>
        </p:nvSpPr>
        <p:spPr bwMode="auto">
          <a:xfrm>
            <a:off x="6913847" y="3415568"/>
            <a:ext cx="602774" cy="602774"/>
          </a:xfrm>
          <a:custGeom>
            <a:avLst/>
            <a:gdLst/>
            <a:ahLst/>
            <a:cxnLst/>
            <a:rect l="0" t="0" r="r" b="b"/>
            <a:pathLst>
              <a:path w="304441" h="304441">
                <a:moveTo>
                  <a:pt x="152576" y="249237"/>
                </a:moveTo>
                <a:cubicBezTo>
                  <a:pt x="154693" y="249237"/>
                  <a:pt x="156809" y="251010"/>
                  <a:pt x="156809" y="253846"/>
                </a:cubicBezTo>
                <a:lnTo>
                  <a:pt x="156809" y="280787"/>
                </a:lnTo>
                <a:cubicBezTo>
                  <a:pt x="156809" y="283623"/>
                  <a:pt x="154693" y="285396"/>
                  <a:pt x="152576" y="285396"/>
                </a:cubicBezTo>
                <a:cubicBezTo>
                  <a:pt x="149754" y="285396"/>
                  <a:pt x="147637" y="283623"/>
                  <a:pt x="147637" y="280787"/>
                </a:cubicBezTo>
                <a:lnTo>
                  <a:pt x="147637" y="253846"/>
                </a:lnTo>
                <a:cubicBezTo>
                  <a:pt x="147637" y="251010"/>
                  <a:pt x="149754" y="249237"/>
                  <a:pt x="152576" y="249237"/>
                </a:cubicBezTo>
                <a:close/>
                <a:moveTo>
                  <a:pt x="266802" y="170223"/>
                </a:moveTo>
                <a:cubicBezTo>
                  <a:pt x="269311" y="170584"/>
                  <a:pt x="271104" y="173473"/>
                  <a:pt x="270387" y="175639"/>
                </a:cubicBezTo>
                <a:cubicBezTo>
                  <a:pt x="260708" y="222938"/>
                  <a:pt x="224145" y="259766"/>
                  <a:pt x="177186" y="269514"/>
                </a:cubicBezTo>
                <a:cubicBezTo>
                  <a:pt x="177186" y="269514"/>
                  <a:pt x="176827" y="269514"/>
                  <a:pt x="176469" y="269514"/>
                </a:cubicBezTo>
                <a:cubicBezTo>
                  <a:pt x="174318" y="269514"/>
                  <a:pt x="172526" y="268070"/>
                  <a:pt x="171809" y="265904"/>
                </a:cubicBezTo>
                <a:cubicBezTo>
                  <a:pt x="171450" y="263376"/>
                  <a:pt x="173243" y="260849"/>
                  <a:pt x="175393" y="260488"/>
                </a:cubicBezTo>
                <a:cubicBezTo>
                  <a:pt x="218768" y="251461"/>
                  <a:pt x="252464" y="217522"/>
                  <a:pt x="261425" y="173834"/>
                </a:cubicBezTo>
                <a:cubicBezTo>
                  <a:pt x="262142" y="171306"/>
                  <a:pt x="264293" y="169862"/>
                  <a:pt x="266802" y="170223"/>
                </a:cubicBezTo>
                <a:close/>
                <a:moveTo>
                  <a:pt x="38868" y="170223"/>
                </a:moveTo>
                <a:cubicBezTo>
                  <a:pt x="41377" y="169862"/>
                  <a:pt x="44245" y="171306"/>
                  <a:pt x="44603" y="173834"/>
                </a:cubicBezTo>
                <a:cubicBezTo>
                  <a:pt x="53207" y="217522"/>
                  <a:pt x="86902" y="251461"/>
                  <a:pt x="130277" y="260488"/>
                </a:cubicBezTo>
                <a:cubicBezTo>
                  <a:pt x="132786" y="260849"/>
                  <a:pt x="134578" y="263376"/>
                  <a:pt x="133861" y="265904"/>
                </a:cubicBezTo>
                <a:cubicBezTo>
                  <a:pt x="133503" y="268070"/>
                  <a:pt x="131711" y="269514"/>
                  <a:pt x="129560" y="269514"/>
                </a:cubicBezTo>
                <a:cubicBezTo>
                  <a:pt x="129201" y="269514"/>
                  <a:pt x="128843" y="269514"/>
                  <a:pt x="128484" y="269514"/>
                </a:cubicBezTo>
                <a:cubicBezTo>
                  <a:pt x="81525" y="259766"/>
                  <a:pt x="44962" y="222938"/>
                  <a:pt x="35283" y="175639"/>
                </a:cubicBezTo>
                <a:cubicBezTo>
                  <a:pt x="34925" y="173473"/>
                  <a:pt x="36359" y="170584"/>
                  <a:pt x="38868" y="170223"/>
                </a:cubicBezTo>
                <a:close/>
                <a:moveTo>
                  <a:pt x="255079" y="146050"/>
                </a:moveTo>
                <a:lnTo>
                  <a:pt x="282729" y="146050"/>
                </a:lnTo>
                <a:cubicBezTo>
                  <a:pt x="285210" y="146050"/>
                  <a:pt x="286983" y="148167"/>
                  <a:pt x="286983" y="150636"/>
                </a:cubicBezTo>
                <a:cubicBezTo>
                  <a:pt x="286983" y="153106"/>
                  <a:pt x="285210" y="155222"/>
                  <a:pt x="282729" y="155222"/>
                </a:cubicBezTo>
                <a:lnTo>
                  <a:pt x="255079" y="155222"/>
                </a:lnTo>
                <a:cubicBezTo>
                  <a:pt x="252598" y="155222"/>
                  <a:pt x="250825" y="153106"/>
                  <a:pt x="250825" y="150636"/>
                </a:cubicBezTo>
                <a:cubicBezTo>
                  <a:pt x="250825" y="148167"/>
                  <a:pt x="252598" y="146050"/>
                  <a:pt x="255079" y="146050"/>
                </a:cubicBezTo>
                <a:close/>
                <a:moveTo>
                  <a:pt x="23812" y="146050"/>
                </a:moveTo>
                <a:lnTo>
                  <a:pt x="52021" y="146050"/>
                </a:lnTo>
                <a:cubicBezTo>
                  <a:pt x="54585" y="146050"/>
                  <a:pt x="56783" y="148167"/>
                  <a:pt x="56783" y="150636"/>
                </a:cubicBezTo>
                <a:cubicBezTo>
                  <a:pt x="56783" y="153106"/>
                  <a:pt x="54585" y="155222"/>
                  <a:pt x="52021" y="155222"/>
                </a:cubicBezTo>
                <a:lnTo>
                  <a:pt x="23812" y="155222"/>
                </a:lnTo>
                <a:cubicBezTo>
                  <a:pt x="21248" y="155222"/>
                  <a:pt x="19050" y="153106"/>
                  <a:pt x="19050" y="150636"/>
                </a:cubicBezTo>
                <a:cubicBezTo>
                  <a:pt x="19050" y="148167"/>
                  <a:pt x="21248" y="146050"/>
                  <a:pt x="23812" y="146050"/>
                </a:cubicBezTo>
                <a:close/>
                <a:moveTo>
                  <a:pt x="128744" y="133233"/>
                </a:moveTo>
                <a:lnTo>
                  <a:pt x="102302" y="201397"/>
                </a:lnTo>
                <a:lnTo>
                  <a:pt x="171123" y="175208"/>
                </a:lnTo>
                <a:lnTo>
                  <a:pt x="128744" y="133233"/>
                </a:lnTo>
                <a:close/>
                <a:moveTo>
                  <a:pt x="204085" y="100228"/>
                </a:moveTo>
                <a:lnTo>
                  <a:pt x="135264" y="126417"/>
                </a:lnTo>
                <a:lnTo>
                  <a:pt x="177643" y="168391"/>
                </a:lnTo>
                <a:lnTo>
                  <a:pt x="204085" y="100228"/>
                </a:lnTo>
                <a:close/>
                <a:moveTo>
                  <a:pt x="210605" y="87671"/>
                </a:moveTo>
                <a:cubicBezTo>
                  <a:pt x="212416" y="87312"/>
                  <a:pt x="214227" y="87671"/>
                  <a:pt x="215676" y="88747"/>
                </a:cubicBezTo>
                <a:cubicBezTo>
                  <a:pt x="216763" y="90182"/>
                  <a:pt x="217125" y="92335"/>
                  <a:pt x="216763" y="93770"/>
                </a:cubicBezTo>
                <a:lnTo>
                  <a:pt x="183801" y="178437"/>
                </a:lnTo>
                <a:cubicBezTo>
                  <a:pt x="183801" y="178795"/>
                  <a:pt x="183801" y="178795"/>
                  <a:pt x="183801" y="178795"/>
                </a:cubicBezTo>
                <a:cubicBezTo>
                  <a:pt x="183801" y="179154"/>
                  <a:pt x="183077" y="179872"/>
                  <a:pt x="182714" y="180230"/>
                </a:cubicBezTo>
                <a:cubicBezTo>
                  <a:pt x="182352" y="180589"/>
                  <a:pt x="181628" y="180948"/>
                  <a:pt x="180903" y="180948"/>
                </a:cubicBezTo>
                <a:lnTo>
                  <a:pt x="95782" y="213953"/>
                </a:lnTo>
                <a:cubicBezTo>
                  <a:pt x="95057" y="213953"/>
                  <a:pt x="94333" y="213953"/>
                  <a:pt x="93971" y="213953"/>
                </a:cubicBezTo>
                <a:cubicBezTo>
                  <a:pt x="92884" y="213953"/>
                  <a:pt x="91435" y="213595"/>
                  <a:pt x="90711" y="212877"/>
                </a:cubicBezTo>
                <a:cubicBezTo>
                  <a:pt x="89262" y="211442"/>
                  <a:pt x="88900" y="209290"/>
                  <a:pt x="89624" y="207855"/>
                </a:cubicBezTo>
                <a:lnTo>
                  <a:pt x="122586" y="123188"/>
                </a:lnTo>
                <a:cubicBezTo>
                  <a:pt x="122586" y="122829"/>
                  <a:pt x="122586" y="122829"/>
                  <a:pt x="122586" y="122829"/>
                </a:cubicBezTo>
                <a:cubicBezTo>
                  <a:pt x="122586" y="122470"/>
                  <a:pt x="122948" y="122112"/>
                  <a:pt x="123673" y="121394"/>
                </a:cubicBezTo>
                <a:cubicBezTo>
                  <a:pt x="124035" y="121035"/>
                  <a:pt x="124759" y="120677"/>
                  <a:pt x="125121" y="120318"/>
                </a:cubicBezTo>
                <a:lnTo>
                  <a:pt x="210605" y="87671"/>
                </a:lnTo>
                <a:close/>
                <a:moveTo>
                  <a:pt x="177186" y="33698"/>
                </a:moveTo>
                <a:cubicBezTo>
                  <a:pt x="224145" y="43447"/>
                  <a:pt x="260708" y="80275"/>
                  <a:pt x="270387" y="127573"/>
                </a:cubicBezTo>
                <a:cubicBezTo>
                  <a:pt x="271104" y="130101"/>
                  <a:pt x="269311" y="132628"/>
                  <a:pt x="266802" y="132989"/>
                </a:cubicBezTo>
                <a:lnTo>
                  <a:pt x="266085" y="132989"/>
                </a:lnTo>
                <a:cubicBezTo>
                  <a:pt x="263934" y="132989"/>
                  <a:pt x="262142" y="131545"/>
                  <a:pt x="261425" y="129379"/>
                </a:cubicBezTo>
                <a:cubicBezTo>
                  <a:pt x="252464" y="85691"/>
                  <a:pt x="218768" y="51751"/>
                  <a:pt x="175393" y="42725"/>
                </a:cubicBezTo>
                <a:cubicBezTo>
                  <a:pt x="173243" y="42364"/>
                  <a:pt x="171450" y="39836"/>
                  <a:pt x="171809" y="37309"/>
                </a:cubicBezTo>
                <a:cubicBezTo>
                  <a:pt x="172526" y="34781"/>
                  <a:pt x="174676" y="33337"/>
                  <a:pt x="177186" y="33698"/>
                </a:cubicBezTo>
                <a:close/>
                <a:moveTo>
                  <a:pt x="128484" y="33698"/>
                </a:moveTo>
                <a:cubicBezTo>
                  <a:pt x="130994" y="33337"/>
                  <a:pt x="133503" y="34781"/>
                  <a:pt x="133861" y="37309"/>
                </a:cubicBezTo>
                <a:cubicBezTo>
                  <a:pt x="134578" y="39836"/>
                  <a:pt x="132786" y="42364"/>
                  <a:pt x="130277" y="42725"/>
                </a:cubicBezTo>
                <a:cubicBezTo>
                  <a:pt x="86902" y="51751"/>
                  <a:pt x="53207" y="85691"/>
                  <a:pt x="44603" y="129379"/>
                </a:cubicBezTo>
                <a:cubicBezTo>
                  <a:pt x="44245" y="131545"/>
                  <a:pt x="42094" y="132989"/>
                  <a:pt x="39943" y="132989"/>
                </a:cubicBezTo>
                <a:cubicBezTo>
                  <a:pt x="39585" y="132989"/>
                  <a:pt x="39226" y="132989"/>
                  <a:pt x="38868" y="132989"/>
                </a:cubicBezTo>
                <a:cubicBezTo>
                  <a:pt x="36359" y="132628"/>
                  <a:pt x="34925" y="130101"/>
                  <a:pt x="35283" y="127573"/>
                </a:cubicBezTo>
                <a:cubicBezTo>
                  <a:pt x="44962" y="80275"/>
                  <a:pt x="81525" y="43447"/>
                  <a:pt x="128484" y="33698"/>
                </a:cubicBezTo>
                <a:close/>
                <a:moveTo>
                  <a:pt x="152576" y="17462"/>
                </a:moveTo>
                <a:cubicBezTo>
                  <a:pt x="154693" y="17462"/>
                  <a:pt x="156809" y="19589"/>
                  <a:pt x="156809" y="21716"/>
                </a:cubicBezTo>
                <a:lnTo>
                  <a:pt x="156809" y="49367"/>
                </a:lnTo>
                <a:cubicBezTo>
                  <a:pt x="156809" y="51848"/>
                  <a:pt x="154693" y="53621"/>
                  <a:pt x="152576" y="53621"/>
                </a:cubicBezTo>
                <a:cubicBezTo>
                  <a:pt x="149754" y="53621"/>
                  <a:pt x="147637" y="51848"/>
                  <a:pt x="147637" y="49367"/>
                </a:cubicBezTo>
                <a:lnTo>
                  <a:pt x="147637" y="21716"/>
                </a:lnTo>
                <a:cubicBezTo>
                  <a:pt x="147637" y="19589"/>
                  <a:pt x="149754" y="17462"/>
                  <a:pt x="152576" y="17462"/>
                </a:cubicBezTo>
                <a:close/>
                <a:moveTo>
                  <a:pt x="152400" y="8986"/>
                </a:moveTo>
                <a:cubicBezTo>
                  <a:pt x="73324" y="8986"/>
                  <a:pt x="8986" y="72965"/>
                  <a:pt x="8986" y="152041"/>
                </a:cubicBezTo>
                <a:cubicBezTo>
                  <a:pt x="8986" y="231116"/>
                  <a:pt x="73324" y="295096"/>
                  <a:pt x="152400" y="295096"/>
                </a:cubicBezTo>
                <a:cubicBezTo>
                  <a:pt x="230757" y="295096"/>
                  <a:pt x="295096" y="231116"/>
                  <a:pt x="295096" y="152041"/>
                </a:cubicBezTo>
                <a:cubicBezTo>
                  <a:pt x="295096" y="72965"/>
                  <a:pt x="230757" y="8986"/>
                  <a:pt x="152400" y="8986"/>
                </a:cubicBezTo>
                <a:close/>
                <a:moveTo>
                  <a:pt x="152400" y="0"/>
                </a:moveTo>
                <a:cubicBezTo>
                  <a:pt x="236148" y="0"/>
                  <a:pt x="304441" y="67933"/>
                  <a:pt x="304441" y="152041"/>
                </a:cubicBezTo>
                <a:cubicBezTo>
                  <a:pt x="304441" y="236148"/>
                  <a:pt x="236148" y="304441"/>
                  <a:pt x="152400" y="304441"/>
                </a:cubicBezTo>
                <a:cubicBezTo>
                  <a:pt x="68292" y="304441"/>
                  <a:pt x="0" y="236148"/>
                  <a:pt x="0" y="152041"/>
                </a:cubicBezTo>
                <a:cubicBezTo>
                  <a:pt x="0" y="67933"/>
                  <a:pt x="68292" y="0"/>
                  <a:pt x="152400" y="0"/>
                </a:cubicBezTo>
                <a:close/>
              </a:path>
            </a:pathLst>
          </a:custGeom>
          <a:solidFill>
            <a:schemeClr val="bg1"/>
          </a:solidFill>
          <a:ln>
            <a:noFill/>
          </a:ln>
          <a:effectLst/>
        </p:spPr>
        <p:txBody>
          <a:bodyPr anchor="ctr"/>
          <a:lstStyle/>
          <a:p>
            <a:endParaRPr lang="en-US" sz="900"/>
          </a:p>
        </p:txBody>
      </p:sp>
      <p:sp>
        <p:nvSpPr>
          <p:cNvPr id="15" name="Freeform 819">
            <a:extLst>
              <a:ext uri="{FF2B5EF4-FFF2-40B4-BE49-F238E27FC236}">
                <a16:creationId xmlns:a16="http://schemas.microsoft.com/office/drawing/2014/main" id="{EC0393DE-5708-8057-A464-65E6AE3B8E3D}"/>
              </a:ext>
            </a:extLst>
          </p:cNvPr>
          <p:cNvSpPr>
            <a:spLocks noChangeArrowheads="1"/>
          </p:cNvSpPr>
          <p:nvPr userDrawn="1"/>
        </p:nvSpPr>
        <p:spPr bwMode="auto">
          <a:xfrm>
            <a:off x="9456883" y="5234096"/>
            <a:ext cx="602774" cy="602774"/>
          </a:xfrm>
          <a:custGeom>
            <a:avLst/>
            <a:gdLst/>
            <a:ahLst/>
            <a:cxnLst/>
            <a:rect l="0" t="0" r="r" b="b"/>
            <a:pathLst>
              <a:path w="304441" h="304441">
                <a:moveTo>
                  <a:pt x="262746" y="277843"/>
                </a:moveTo>
                <a:cubicBezTo>
                  <a:pt x="261309" y="277843"/>
                  <a:pt x="259512" y="278202"/>
                  <a:pt x="258074" y="278921"/>
                </a:cubicBezTo>
                <a:cubicBezTo>
                  <a:pt x="258793" y="280359"/>
                  <a:pt x="258793" y="282515"/>
                  <a:pt x="258793" y="284312"/>
                </a:cubicBezTo>
                <a:cubicBezTo>
                  <a:pt x="258793" y="287907"/>
                  <a:pt x="258074" y="291501"/>
                  <a:pt x="256636" y="295096"/>
                </a:cubicBezTo>
                <a:lnTo>
                  <a:pt x="279280" y="295096"/>
                </a:lnTo>
                <a:lnTo>
                  <a:pt x="279280" y="294377"/>
                </a:lnTo>
                <a:cubicBezTo>
                  <a:pt x="279280" y="285391"/>
                  <a:pt x="271732" y="277843"/>
                  <a:pt x="262746" y="277843"/>
                </a:cubicBezTo>
                <a:close/>
                <a:moveTo>
                  <a:pt x="41695" y="277843"/>
                </a:moveTo>
                <a:cubicBezTo>
                  <a:pt x="32709" y="277843"/>
                  <a:pt x="25520" y="285391"/>
                  <a:pt x="25520" y="294377"/>
                </a:cubicBezTo>
                <a:lnTo>
                  <a:pt x="25520" y="295096"/>
                </a:lnTo>
                <a:lnTo>
                  <a:pt x="43492" y="295096"/>
                </a:lnTo>
                <a:cubicBezTo>
                  <a:pt x="42413" y="292220"/>
                  <a:pt x="41695" y="288985"/>
                  <a:pt x="41695" y="286110"/>
                </a:cubicBezTo>
                <a:cubicBezTo>
                  <a:pt x="41695" y="283234"/>
                  <a:pt x="42054" y="280718"/>
                  <a:pt x="43132" y="278202"/>
                </a:cubicBezTo>
                <a:cubicBezTo>
                  <a:pt x="42773" y="278202"/>
                  <a:pt x="42054" y="277843"/>
                  <a:pt x="41695" y="277843"/>
                </a:cubicBezTo>
                <a:close/>
                <a:moveTo>
                  <a:pt x="147728" y="267779"/>
                </a:moveTo>
                <a:cubicBezTo>
                  <a:pt x="137663" y="267779"/>
                  <a:pt x="129396" y="275686"/>
                  <a:pt x="129396" y="286110"/>
                </a:cubicBezTo>
                <a:cubicBezTo>
                  <a:pt x="129396" y="289345"/>
                  <a:pt x="130475" y="292579"/>
                  <a:pt x="132272" y="295096"/>
                </a:cubicBezTo>
                <a:lnTo>
                  <a:pt x="163543" y="295096"/>
                </a:lnTo>
                <a:cubicBezTo>
                  <a:pt x="164980" y="292579"/>
                  <a:pt x="166059" y="289345"/>
                  <a:pt x="166059" y="286110"/>
                </a:cubicBezTo>
                <a:cubicBezTo>
                  <a:pt x="166059" y="275686"/>
                  <a:pt x="157792" y="267779"/>
                  <a:pt x="147728" y="267779"/>
                </a:cubicBezTo>
                <a:close/>
                <a:moveTo>
                  <a:pt x="69371" y="267779"/>
                </a:moveTo>
                <a:cubicBezTo>
                  <a:pt x="59307" y="267779"/>
                  <a:pt x="51040" y="275686"/>
                  <a:pt x="51040" y="286110"/>
                </a:cubicBezTo>
                <a:cubicBezTo>
                  <a:pt x="51040" y="288985"/>
                  <a:pt x="52118" y="292579"/>
                  <a:pt x="53556" y="295096"/>
                </a:cubicBezTo>
                <a:lnTo>
                  <a:pt x="82311" y="295096"/>
                </a:lnTo>
                <a:cubicBezTo>
                  <a:pt x="80154" y="290423"/>
                  <a:pt x="78716" y="285391"/>
                  <a:pt x="78716" y="280359"/>
                </a:cubicBezTo>
                <a:cubicBezTo>
                  <a:pt x="78716" y="277124"/>
                  <a:pt x="79076" y="274248"/>
                  <a:pt x="80154" y="271013"/>
                </a:cubicBezTo>
                <a:cubicBezTo>
                  <a:pt x="76919" y="268857"/>
                  <a:pt x="73325" y="267779"/>
                  <a:pt x="69371" y="267779"/>
                </a:cubicBezTo>
                <a:close/>
                <a:moveTo>
                  <a:pt x="229679" y="264184"/>
                </a:moveTo>
                <a:cubicBezTo>
                  <a:pt x="227881" y="264184"/>
                  <a:pt x="226084" y="264544"/>
                  <a:pt x="224287" y="264903"/>
                </a:cubicBezTo>
                <a:cubicBezTo>
                  <a:pt x="225725" y="268857"/>
                  <a:pt x="226444" y="273170"/>
                  <a:pt x="226444" y="277124"/>
                </a:cubicBezTo>
                <a:cubicBezTo>
                  <a:pt x="226444" y="283594"/>
                  <a:pt x="225006" y="289704"/>
                  <a:pt x="221771" y="295096"/>
                </a:cubicBezTo>
                <a:lnTo>
                  <a:pt x="246213" y="295096"/>
                </a:lnTo>
                <a:cubicBezTo>
                  <a:pt x="248369" y="291861"/>
                  <a:pt x="249447" y="287907"/>
                  <a:pt x="249447" y="284312"/>
                </a:cubicBezTo>
                <a:cubicBezTo>
                  <a:pt x="249447" y="273170"/>
                  <a:pt x="240821" y="264184"/>
                  <a:pt x="229679" y="264184"/>
                </a:cubicBezTo>
                <a:close/>
                <a:moveTo>
                  <a:pt x="111784" y="256277"/>
                </a:moveTo>
                <a:cubicBezTo>
                  <a:pt x="98845" y="256277"/>
                  <a:pt x="88062" y="267060"/>
                  <a:pt x="88062" y="280359"/>
                </a:cubicBezTo>
                <a:cubicBezTo>
                  <a:pt x="88062" y="285750"/>
                  <a:pt x="89859" y="290782"/>
                  <a:pt x="93453" y="295096"/>
                </a:cubicBezTo>
                <a:lnTo>
                  <a:pt x="121848" y="295096"/>
                </a:lnTo>
                <a:cubicBezTo>
                  <a:pt x="121129" y="292220"/>
                  <a:pt x="120411" y="288985"/>
                  <a:pt x="120411" y="286110"/>
                </a:cubicBezTo>
                <a:cubicBezTo>
                  <a:pt x="120411" y="277483"/>
                  <a:pt x="124005" y="269935"/>
                  <a:pt x="130115" y="264903"/>
                </a:cubicBezTo>
                <a:cubicBezTo>
                  <a:pt x="125802" y="259512"/>
                  <a:pt x="119332" y="256277"/>
                  <a:pt x="111784" y="256277"/>
                </a:cubicBezTo>
                <a:close/>
                <a:moveTo>
                  <a:pt x="190500" y="250526"/>
                </a:moveTo>
                <a:cubicBezTo>
                  <a:pt x="179717" y="250526"/>
                  <a:pt x="170731" y="256636"/>
                  <a:pt x="166059" y="265622"/>
                </a:cubicBezTo>
                <a:cubicBezTo>
                  <a:pt x="171810" y="270654"/>
                  <a:pt x="175404" y="277843"/>
                  <a:pt x="175404" y="286110"/>
                </a:cubicBezTo>
                <a:cubicBezTo>
                  <a:pt x="175404" y="288985"/>
                  <a:pt x="174685" y="292220"/>
                  <a:pt x="173607" y="295096"/>
                </a:cubicBezTo>
                <a:lnTo>
                  <a:pt x="210269" y="295096"/>
                </a:lnTo>
                <a:cubicBezTo>
                  <a:pt x="214582" y="290423"/>
                  <a:pt x="217098" y="283953"/>
                  <a:pt x="217098" y="277124"/>
                </a:cubicBezTo>
                <a:cubicBezTo>
                  <a:pt x="217098" y="262387"/>
                  <a:pt x="205237" y="250526"/>
                  <a:pt x="190500" y="250526"/>
                </a:cubicBezTo>
                <a:close/>
                <a:moveTo>
                  <a:pt x="137663" y="223928"/>
                </a:moveTo>
                <a:cubicBezTo>
                  <a:pt x="137663" y="230397"/>
                  <a:pt x="137304" y="242618"/>
                  <a:pt x="134788" y="256277"/>
                </a:cubicBezTo>
                <a:cubicBezTo>
                  <a:pt x="136226" y="257355"/>
                  <a:pt x="137304" y="258793"/>
                  <a:pt x="138382" y="260230"/>
                </a:cubicBezTo>
                <a:cubicBezTo>
                  <a:pt x="141258" y="259152"/>
                  <a:pt x="144493" y="258433"/>
                  <a:pt x="147728" y="258433"/>
                </a:cubicBezTo>
                <a:cubicBezTo>
                  <a:pt x="151681" y="258433"/>
                  <a:pt x="155276" y="259152"/>
                  <a:pt x="158151" y="260590"/>
                </a:cubicBezTo>
                <a:cubicBezTo>
                  <a:pt x="161027" y="255917"/>
                  <a:pt x="164262" y="251963"/>
                  <a:pt x="168215" y="248729"/>
                </a:cubicBezTo>
                <a:cubicBezTo>
                  <a:pt x="166778" y="238305"/>
                  <a:pt x="166418" y="228960"/>
                  <a:pt x="166778" y="223928"/>
                </a:cubicBezTo>
                <a:lnTo>
                  <a:pt x="137663" y="223928"/>
                </a:lnTo>
                <a:close/>
                <a:moveTo>
                  <a:pt x="131913" y="200924"/>
                </a:moveTo>
                <a:lnTo>
                  <a:pt x="127959" y="214582"/>
                </a:lnTo>
                <a:lnTo>
                  <a:pt x="176482" y="214582"/>
                </a:lnTo>
                <a:lnTo>
                  <a:pt x="172169" y="200924"/>
                </a:lnTo>
                <a:lnTo>
                  <a:pt x="131913" y="200924"/>
                </a:lnTo>
                <a:close/>
                <a:moveTo>
                  <a:pt x="199846" y="114660"/>
                </a:moveTo>
                <a:cubicBezTo>
                  <a:pt x="200564" y="138023"/>
                  <a:pt x="196251" y="164262"/>
                  <a:pt x="183312" y="191219"/>
                </a:cubicBezTo>
                <a:cubicBezTo>
                  <a:pt x="192297" y="191579"/>
                  <a:pt x="207394" y="193735"/>
                  <a:pt x="220333" y="204518"/>
                </a:cubicBezTo>
                <a:cubicBezTo>
                  <a:pt x="221771" y="186187"/>
                  <a:pt x="221412" y="144493"/>
                  <a:pt x="199846" y="114660"/>
                </a:cubicBezTo>
                <a:close/>
                <a:moveTo>
                  <a:pt x="104596" y="114660"/>
                </a:moveTo>
                <a:cubicBezTo>
                  <a:pt x="82670" y="144493"/>
                  <a:pt x="82670" y="186187"/>
                  <a:pt x="84108" y="204518"/>
                </a:cubicBezTo>
                <a:cubicBezTo>
                  <a:pt x="97047" y="193735"/>
                  <a:pt x="112144" y="191579"/>
                  <a:pt x="121129" y="191219"/>
                </a:cubicBezTo>
                <a:cubicBezTo>
                  <a:pt x="108190" y="164262"/>
                  <a:pt x="103517" y="138023"/>
                  <a:pt x="104596" y="114660"/>
                </a:cubicBezTo>
                <a:close/>
                <a:moveTo>
                  <a:pt x="153377" y="88271"/>
                </a:moveTo>
                <a:cubicBezTo>
                  <a:pt x="146783" y="88271"/>
                  <a:pt x="141287" y="93608"/>
                  <a:pt x="141287" y="99657"/>
                </a:cubicBezTo>
                <a:cubicBezTo>
                  <a:pt x="141287" y="106062"/>
                  <a:pt x="146783" y="111399"/>
                  <a:pt x="153377" y="111399"/>
                </a:cubicBezTo>
                <a:cubicBezTo>
                  <a:pt x="159605" y="111399"/>
                  <a:pt x="164734" y="106062"/>
                  <a:pt x="164734" y="99657"/>
                </a:cubicBezTo>
                <a:cubicBezTo>
                  <a:pt x="164734" y="93608"/>
                  <a:pt x="159605" y="88271"/>
                  <a:pt x="153377" y="88271"/>
                </a:cubicBezTo>
                <a:close/>
                <a:moveTo>
                  <a:pt x="153377" y="79375"/>
                </a:moveTo>
                <a:cubicBezTo>
                  <a:pt x="164734" y="79375"/>
                  <a:pt x="174259" y="88627"/>
                  <a:pt x="174259" y="99657"/>
                </a:cubicBezTo>
                <a:cubicBezTo>
                  <a:pt x="174259" y="111043"/>
                  <a:pt x="164734" y="120294"/>
                  <a:pt x="153377" y="120294"/>
                </a:cubicBezTo>
                <a:cubicBezTo>
                  <a:pt x="141287" y="120294"/>
                  <a:pt x="131762" y="111043"/>
                  <a:pt x="131762" y="99657"/>
                </a:cubicBezTo>
                <a:cubicBezTo>
                  <a:pt x="131762" y="88627"/>
                  <a:pt x="141287" y="79375"/>
                  <a:pt x="153377" y="79375"/>
                </a:cubicBezTo>
                <a:close/>
                <a:moveTo>
                  <a:pt x="126162" y="57150"/>
                </a:moveTo>
                <a:cubicBezTo>
                  <a:pt x="112503" y="90937"/>
                  <a:pt x="104596" y="138742"/>
                  <a:pt x="131553" y="191579"/>
                </a:cubicBezTo>
                <a:lnTo>
                  <a:pt x="172888" y="191579"/>
                </a:lnTo>
                <a:cubicBezTo>
                  <a:pt x="199846" y="138382"/>
                  <a:pt x="191938" y="90937"/>
                  <a:pt x="178279" y="57150"/>
                </a:cubicBezTo>
                <a:lnTo>
                  <a:pt x="126162" y="57150"/>
                </a:lnTo>
                <a:close/>
                <a:moveTo>
                  <a:pt x="152400" y="11862"/>
                </a:moveTo>
                <a:cubicBezTo>
                  <a:pt x="147368" y="17613"/>
                  <a:pt x="138382" y="30552"/>
                  <a:pt x="130115" y="48164"/>
                </a:cubicBezTo>
                <a:lnTo>
                  <a:pt x="174326" y="48164"/>
                </a:lnTo>
                <a:cubicBezTo>
                  <a:pt x="166059" y="30552"/>
                  <a:pt x="157073" y="17613"/>
                  <a:pt x="152400" y="11862"/>
                </a:cubicBezTo>
                <a:close/>
                <a:moveTo>
                  <a:pt x="150963" y="0"/>
                </a:moveTo>
                <a:cubicBezTo>
                  <a:pt x="151681" y="0"/>
                  <a:pt x="151681" y="0"/>
                  <a:pt x="152400" y="0"/>
                </a:cubicBezTo>
                <a:cubicBezTo>
                  <a:pt x="152400" y="0"/>
                  <a:pt x="152760" y="0"/>
                  <a:pt x="153119" y="0"/>
                </a:cubicBezTo>
                <a:cubicBezTo>
                  <a:pt x="153479" y="360"/>
                  <a:pt x="153838" y="360"/>
                  <a:pt x="153838" y="360"/>
                </a:cubicBezTo>
                <a:cubicBezTo>
                  <a:pt x="154197" y="360"/>
                  <a:pt x="154557" y="719"/>
                  <a:pt x="154916" y="1079"/>
                </a:cubicBezTo>
                <a:cubicBezTo>
                  <a:pt x="155276" y="1079"/>
                  <a:pt x="155276" y="1079"/>
                  <a:pt x="155276" y="1079"/>
                </a:cubicBezTo>
                <a:lnTo>
                  <a:pt x="155276" y="1438"/>
                </a:lnTo>
                <a:lnTo>
                  <a:pt x="155635" y="1438"/>
                </a:lnTo>
                <a:cubicBezTo>
                  <a:pt x="155995" y="1797"/>
                  <a:pt x="172169" y="20129"/>
                  <a:pt x="185109" y="49602"/>
                </a:cubicBezTo>
                <a:cubicBezTo>
                  <a:pt x="185828" y="50321"/>
                  <a:pt x="186187" y="51040"/>
                  <a:pt x="186187" y="52118"/>
                </a:cubicBezTo>
                <a:cubicBezTo>
                  <a:pt x="191579" y="65777"/>
                  <a:pt x="196611" y="81232"/>
                  <a:pt x="198767" y="98845"/>
                </a:cubicBezTo>
                <a:cubicBezTo>
                  <a:pt x="239743" y="140539"/>
                  <a:pt x="228960" y="212426"/>
                  <a:pt x="228600" y="215661"/>
                </a:cubicBezTo>
                <a:cubicBezTo>
                  <a:pt x="228241" y="217458"/>
                  <a:pt x="226803" y="218896"/>
                  <a:pt x="225365" y="219255"/>
                </a:cubicBezTo>
                <a:cubicBezTo>
                  <a:pt x="225006" y="219614"/>
                  <a:pt x="224287" y="219614"/>
                  <a:pt x="223928" y="219614"/>
                </a:cubicBezTo>
                <a:cubicBezTo>
                  <a:pt x="222849" y="219614"/>
                  <a:pt x="221412" y="218896"/>
                  <a:pt x="220333" y="217817"/>
                </a:cubicBezTo>
                <a:cubicBezTo>
                  <a:pt x="207753" y="202362"/>
                  <a:pt x="190500" y="200564"/>
                  <a:pt x="181874" y="200564"/>
                </a:cubicBezTo>
                <a:lnTo>
                  <a:pt x="186906" y="217817"/>
                </a:lnTo>
                <a:cubicBezTo>
                  <a:pt x="187265" y="219614"/>
                  <a:pt x="187265" y="221052"/>
                  <a:pt x="186546" y="221771"/>
                </a:cubicBezTo>
                <a:cubicBezTo>
                  <a:pt x="185468" y="223209"/>
                  <a:pt x="184030" y="223928"/>
                  <a:pt x="182593" y="223928"/>
                </a:cubicBezTo>
                <a:lnTo>
                  <a:pt x="176123" y="223928"/>
                </a:lnTo>
                <a:cubicBezTo>
                  <a:pt x="175763" y="228241"/>
                  <a:pt x="176123" y="235070"/>
                  <a:pt x="176842" y="243696"/>
                </a:cubicBezTo>
                <a:cubicBezTo>
                  <a:pt x="181155" y="242259"/>
                  <a:pt x="185468" y="241180"/>
                  <a:pt x="190500" y="241180"/>
                </a:cubicBezTo>
                <a:cubicBezTo>
                  <a:pt x="202721" y="241180"/>
                  <a:pt x="213504" y="247291"/>
                  <a:pt x="219974" y="256636"/>
                </a:cubicBezTo>
                <a:cubicBezTo>
                  <a:pt x="222849" y="255558"/>
                  <a:pt x="226084" y="254839"/>
                  <a:pt x="229679" y="254839"/>
                </a:cubicBezTo>
                <a:cubicBezTo>
                  <a:pt x="240462" y="254839"/>
                  <a:pt x="250166" y="260949"/>
                  <a:pt x="255198" y="269935"/>
                </a:cubicBezTo>
                <a:cubicBezTo>
                  <a:pt x="257714" y="269216"/>
                  <a:pt x="259871" y="268857"/>
                  <a:pt x="262746" y="268857"/>
                </a:cubicBezTo>
                <a:cubicBezTo>
                  <a:pt x="277124" y="268857"/>
                  <a:pt x="288626" y="280359"/>
                  <a:pt x="288626" y="294377"/>
                </a:cubicBezTo>
                <a:lnTo>
                  <a:pt x="288266" y="295096"/>
                </a:lnTo>
                <a:lnTo>
                  <a:pt x="299768" y="295096"/>
                </a:lnTo>
                <a:cubicBezTo>
                  <a:pt x="302284" y="295096"/>
                  <a:pt x="304441" y="297252"/>
                  <a:pt x="304441" y="299768"/>
                </a:cubicBezTo>
                <a:cubicBezTo>
                  <a:pt x="304441" y="302284"/>
                  <a:pt x="302284" y="304441"/>
                  <a:pt x="299768" y="304441"/>
                </a:cubicBezTo>
                <a:lnTo>
                  <a:pt x="283234" y="304441"/>
                </a:lnTo>
                <a:lnTo>
                  <a:pt x="248369" y="304441"/>
                </a:lnTo>
                <a:lnTo>
                  <a:pt x="247650" y="304441"/>
                </a:lnTo>
                <a:lnTo>
                  <a:pt x="215661" y="304441"/>
                </a:lnTo>
                <a:lnTo>
                  <a:pt x="212426" y="304441"/>
                </a:lnTo>
                <a:lnTo>
                  <a:pt x="168215" y="304441"/>
                </a:lnTo>
                <a:lnTo>
                  <a:pt x="165699" y="304441"/>
                </a:lnTo>
                <a:lnTo>
                  <a:pt x="129756" y="304441"/>
                </a:lnTo>
                <a:lnTo>
                  <a:pt x="129037" y="304441"/>
                </a:lnTo>
                <a:lnTo>
                  <a:pt x="91296" y="304441"/>
                </a:lnTo>
                <a:lnTo>
                  <a:pt x="87343" y="304441"/>
                </a:lnTo>
                <a:lnTo>
                  <a:pt x="51399" y="304441"/>
                </a:lnTo>
                <a:lnTo>
                  <a:pt x="50321" y="304441"/>
                </a:lnTo>
                <a:lnTo>
                  <a:pt x="21926" y="304441"/>
                </a:lnTo>
                <a:lnTo>
                  <a:pt x="4673" y="304441"/>
                </a:lnTo>
                <a:cubicBezTo>
                  <a:pt x="1797" y="304441"/>
                  <a:pt x="0" y="302284"/>
                  <a:pt x="0" y="299768"/>
                </a:cubicBezTo>
                <a:cubicBezTo>
                  <a:pt x="0" y="297252"/>
                  <a:pt x="1797" y="295096"/>
                  <a:pt x="4673" y="295096"/>
                </a:cubicBezTo>
                <a:lnTo>
                  <a:pt x="16175" y="295096"/>
                </a:lnTo>
                <a:lnTo>
                  <a:pt x="16175" y="294377"/>
                </a:lnTo>
                <a:cubicBezTo>
                  <a:pt x="16175" y="280359"/>
                  <a:pt x="27677" y="268857"/>
                  <a:pt x="41695" y="268857"/>
                </a:cubicBezTo>
                <a:cubicBezTo>
                  <a:pt x="43851" y="268857"/>
                  <a:pt x="45648" y="268857"/>
                  <a:pt x="47446" y="269576"/>
                </a:cubicBezTo>
                <a:cubicBezTo>
                  <a:pt x="52478" y="262746"/>
                  <a:pt x="60385" y="258433"/>
                  <a:pt x="69371" y="258433"/>
                </a:cubicBezTo>
                <a:cubicBezTo>
                  <a:pt x="74763" y="258433"/>
                  <a:pt x="79795" y="259871"/>
                  <a:pt x="83748" y="262746"/>
                </a:cubicBezTo>
                <a:cubicBezTo>
                  <a:pt x="89859" y="253042"/>
                  <a:pt x="99923" y="246931"/>
                  <a:pt x="111784" y="246931"/>
                </a:cubicBezTo>
                <a:cubicBezTo>
                  <a:pt x="117176" y="246931"/>
                  <a:pt x="121848" y="248010"/>
                  <a:pt x="126521" y="250166"/>
                </a:cubicBezTo>
                <a:cubicBezTo>
                  <a:pt x="128318" y="239024"/>
                  <a:pt x="128318" y="228960"/>
                  <a:pt x="128318" y="223928"/>
                </a:cubicBezTo>
                <a:lnTo>
                  <a:pt x="121489" y="223928"/>
                </a:lnTo>
                <a:cubicBezTo>
                  <a:pt x="120051" y="223928"/>
                  <a:pt x="118973" y="223209"/>
                  <a:pt x="117895" y="221771"/>
                </a:cubicBezTo>
                <a:cubicBezTo>
                  <a:pt x="116816" y="221052"/>
                  <a:pt x="116816" y="219614"/>
                  <a:pt x="117176" y="217817"/>
                </a:cubicBezTo>
                <a:lnTo>
                  <a:pt x="122567" y="200564"/>
                </a:lnTo>
                <a:cubicBezTo>
                  <a:pt x="113941" y="200564"/>
                  <a:pt x="96329" y="202362"/>
                  <a:pt x="83748" y="217817"/>
                </a:cubicBezTo>
                <a:cubicBezTo>
                  <a:pt x="83029" y="218896"/>
                  <a:pt x="81592" y="219614"/>
                  <a:pt x="80513" y="219614"/>
                </a:cubicBezTo>
                <a:cubicBezTo>
                  <a:pt x="80154" y="219614"/>
                  <a:pt x="79795" y="219614"/>
                  <a:pt x="79076" y="219255"/>
                </a:cubicBezTo>
                <a:cubicBezTo>
                  <a:pt x="77279" y="218896"/>
                  <a:pt x="76200" y="217458"/>
                  <a:pt x="75841" y="215661"/>
                </a:cubicBezTo>
                <a:cubicBezTo>
                  <a:pt x="75481" y="212426"/>
                  <a:pt x="64698" y="140539"/>
                  <a:pt x="105674" y="98845"/>
                </a:cubicBezTo>
                <a:cubicBezTo>
                  <a:pt x="107830" y="81232"/>
                  <a:pt x="112503" y="65777"/>
                  <a:pt x="118254" y="52118"/>
                </a:cubicBezTo>
                <a:cubicBezTo>
                  <a:pt x="118254" y="51040"/>
                  <a:pt x="118613" y="50321"/>
                  <a:pt x="119332" y="49602"/>
                </a:cubicBezTo>
                <a:cubicBezTo>
                  <a:pt x="131913" y="20129"/>
                  <a:pt x="148446" y="1797"/>
                  <a:pt x="148806" y="1438"/>
                </a:cubicBezTo>
                <a:cubicBezTo>
                  <a:pt x="148806" y="1438"/>
                  <a:pt x="148806" y="1438"/>
                  <a:pt x="149165" y="1438"/>
                </a:cubicBezTo>
                <a:lnTo>
                  <a:pt x="149165" y="1079"/>
                </a:lnTo>
                <a:cubicBezTo>
                  <a:pt x="149525" y="719"/>
                  <a:pt x="150244" y="360"/>
                  <a:pt x="150603" y="360"/>
                </a:cubicBezTo>
                <a:cubicBezTo>
                  <a:pt x="150603" y="360"/>
                  <a:pt x="150963" y="360"/>
                  <a:pt x="150963" y="0"/>
                </a:cubicBezTo>
                <a:close/>
              </a:path>
            </a:pathLst>
          </a:custGeom>
          <a:solidFill>
            <a:schemeClr val="bg1"/>
          </a:solidFill>
          <a:ln>
            <a:noFill/>
          </a:ln>
          <a:effectLst/>
        </p:spPr>
        <p:txBody>
          <a:bodyPr anchor="ctr"/>
          <a:lstStyle/>
          <a:p>
            <a:endParaRPr lang="en-US" sz="900"/>
          </a:p>
        </p:txBody>
      </p:sp>
      <p:sp>
        <p:nvSpPr>
          <p:cNvPr id="32" name="Title 1">
            <a:extLst>
              <a:ext uri="{FF2B5EF4-FFF2-40B4-BE49-F238E27FC236}">
                <a16:creationId xmlns:a16="http://schemas.microsoft.com/office/drawing/2014/main" id="{AD192D77-CBC5-7F94-B397-346500CB5523}"/>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
        <p:nvSpPr>
          <p:cNvPr id="33" name="Text Placeholder 35">
            <a:extLst>
              <a:ext uri="{FF2B5EF4-FFF2-40B4-BE49-F238E27FC236}">
                <a16:creationId xmlns:a16="http://schemas.microsoft.com/office/drawing/2014/main" id="{78563602-7288-4198-ABD5-EA90F0B38EAE}"/>
              </a:ext>
            </a:extLst>
          </p:cNvPr>
          <p:cNvSpPr>
            <a:spLocks noGrp="1"/>
          </p:cNvSpPr>
          <p:nvPr>
            <p:ph type="body" sz="quarter" idx="33" hasCustomPrompt="1"/>
          </p:nvPr>
        </p:nvSpPr>
        <p:spPr>
          <a:xfrm>
            <a:off x="788628" y="1732325"/>
            <a:ext cx="1765410" cy="331694"/>
          </a:xfrm>
        </p:spPr>
        <p:txBody>
          <a:bodyPr anchor="b">
            <a:noAutofit/>
          </a:bodyPr>
          <a:lstStyle>
            <a:lvl1pPr marL="0" indent="0" algn="l">
              <a:buNone/>
              <a:defRPr sz="1600" b="1">
                <a:solidFill>
                  <a:srgbClr val="007DB2"/>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4" name="Text Placeholder 2">
            <a:extLst>
              <a:ext uri="{FF2B5EF4-FFF2-40B4-BE49-F238E27FC236}">
                <a16:creationId xmlns:a16="http://schemas.microsoft.com/office/drawing/2014/main" id="{F3887FEA-CC5D-FF0F-6023-CCB88C77DAF7}"/>
              </a:ext>
            </a:extLst>
          </p:cNvPr>
          <p:cNvSpPr>
            <a:spLocks noGrp="1"/>
          </p:cNvSpPr>
          <p:nvPr>
            <p:ph type="body" idx="39" hasCustomPrompt="1"/>
          </p:nvPr>
        </p:nvSpPr>
        <p:spPr>
          <a:xfrm>
            <a:off x="788628" y="2197694"/>
            <a:ext cx="2050893" cy="735762"/>
          </a:xfrm>
        </p:spPr>
        <p:txBody>
          <a:bodyPr>
            <a:normAutofit/>
          </a:bodyPr>
          <a:lstStyle>
            <a:lvl1pPr marL="0" indent="0" algn="l">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5" name="Text Placeholder 35">
            <a:extLst>
              <a:ext uri="{FF2B5EF4-FFF2-40B4-BE49-F238E27FC236}">
                <a16:creationId xmlns:a16="http://schemas.microsoft.com/office/drawing/2014/main" id="{60982333-C0BB-3FE0-0F7D-3362997767FF}"/>
              </a:ext>
            </a:extLst>
          </p:cNvPr>
          <p:cNvSpPr>
            <a:spLocks noGrp="1"/>
          </p:cNvSpPr>
          <p:nvPr>
            <p:ph type="body" sz="quarter" idx="40" hasCustomPrompt="1"/>
          </p:nvPr>
        </p:nvSpPr>
        <p:spPr>
          <a:xfrm>
            <a:off x="3720672" y="1732325"/>
            <a:ext cx="1765410" cy="331694"/>
          </a:xfrm>
        </p:spPr>
        <p:txBody>
          <a:bodyPr anchor="b">
            <a:noAutofit/>
          </a:bodyPr>
          <a:lstStyle>
            <a:lvl1pPr marL="0" indent="0" algn="l">
              <a:buNone/>
              <a:defRPr sz="1600" b="1">
                <a:solidFill>
                  <a:srgbClr val="3EB1C8"/>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6" name="Text Placeholder 2">
            <a:extLst>
              <a:ext uri="{FF2B5EF4-FFF2-40B4-BE49-F238E27FC236}">
                <a16:creationId xmlns:a16="http://schemas.microsoft.com/office/drawing/2014/main" id="{754ECAC7-88A1-5759-FB2E-57FC39B81B9B}"/>
              </a:ext>
            </a:extLst>
          </p:cNvPr>
          <p:cNvSpPr>
            <a:spLocks noGrp="1"/>
          </p:cNvSpPr>
          <p:nvPr>
            <p:ph type="body" idx="41" hasCustomPrompt="1"/>
          </p:nvPr>
        </p:nvSpPr>
        <p:spPr>
          <a:xfrm>
            <a:off x="3720672" y="2197694"/>
            <a:ext cx="2050893" cy="735762"/>
          </a:xfrm>
        </p:spPr>
        <p:txBody>
          <a:bodyPr>
            <a:normAutofit/>
          </a:bodyPr>
          <a:lstStyle>
            <a:lvl1pPr marL="0" indent="0" algn="l">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7" name="Text Placeholder 35">
            <a:extLst>
              <a:ext uri="{FF2B5EF4-FFF2-40B4-BE49-F238E27FC236}">
                <a16:creationId xmlns:a16="http://schemas.microsoft.com/office/drawing/2014/main" id="{A1E4FE5E-B4AC-5323-1C4E-689038764A42}"/>
              </a:ext>
            </a:extLst>
          </p:cNvPr>
          <p:cNvSpPr>
            <a:spLocks noGrp="1"/>
          </p:cNvSpPr>
          <p:nvPr>
            <p:ph type="body" sz="quarter" idx="42" hasCustomPrompt="1"/>
          </p:nvPr>
        </p:nvSpPr>
        <p:spPr>
          <a:xfrm>
            <a:off x="3720672" y="3312647"/>
            <a:ext cx="1765410" cy="331694"/>
          </a:xfrm>
        </p:spPr>
        <p:txBody>
          <a:bodyPr anchor="b">
            <a:noAutofit/>
          </a:bodyPr>
          <a:lstStyle>
            <a:lvl1pPr marL="0" indent="0" algn="l">
              <a:buNone/>
              <a:defRPr sz="1600" b="1">
                <a:solidFill>
                  <a:srgbClr val="22B990"/>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8" name="Text Placeholder 2">
            <a:extLst>
              <a:ext uri="{FF2B5EF4-FFF2-40B4-BE49-F238E27FC236}">
                <a16:creationId xmlns:a16="http://schemas.microsoft.com/office/drawing/2014/main" id="{4FCD1694-E233-C1C5-F643-28A0B33B729C}"/>
              </a:ext>
            </a:extLst>
          </p:cNvPr>
          <p:cNvSpPr>
            <a:spLocks noGrp="1"/>
          </p:cNvSpPr>
          <p:nvPr>
            <p:ph type="body" idx="43" hasCustomPrompt="1"/>
          </p:nvPr>
        </p:nvSpPr>
        <p:spPr>
          <a:xfrm>
            <a:off x="3720672" y="3778016"/>
            <a:ext cx="2050893" cy="735762"/>
          </a:xfrm>
        </p:spPr>
        <p:txBody>
          <a:bodyPr>
            <a:normAutofit/>
          </a:bodyPr>
          <a:lstStyle>
            <a:lvl1pPr marL="0" indent="0" algn="l">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9" name="Text Placeholder 35">
            <a:extLst>
              <a:ext uri="{FF2B5EF4-FFF2-40B4-BE49-F238E27FC236}">
                <a16:creationId xmlns:a16="http://schemas.microsoft.com/office/drawing/2014/main" id="{D0AD054D-9219-A37F-905C-600629CD1F86}"/>
              </a:ext>
            </a:extLst>
          </p:cNvPr>
          <p:cNvSpPr>
            <a:spLocks noGrp="1"/>
          </p:cNvSpPr>
          <p:nvPr>
            <p:ph type="body" sz="quarter" idx="44" hasCustomPrompt="1"/>
          </p:nvPr>
        </p:nvSpPr>
        <p:spPr>
          <a:xfrm>
            <a:off x="778689" y="3312647"/>
            <a:ext cx="1765410" cy="331694"/>
          </a:xfrm>
        </p:spPr>
        <p:txBody>
          <a:bodyPr anchor="b">
            <a:noAutofit/>
          </a:bodyPr>
          <a:lstStyle>
            <a:lvl1pPr marL="0" indent="0" algn="l">
              <a:buNone/>
              <a:defRPr sz="1600" b="1">
                <a:solidFill>
                  <a:srgbClr val="DDDBD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0" name="Text Placeholder 2">
            <a:extLst>
              <a:ext uri="{FF2B5EF4-FFF2-40B4-BE49-F238E27FC236}">
                <a16:creationId xmlns:a16="http://schemas.microsoft.com/office/drawing/2014/main" id="{EC5F2E9A-68C6-4B4F-6F9C-BCB09F6C84FF}"/>
              </a:ext>
            </a:extLst>
          </p:cNvPr>
          <p:cNvSpPr>
            <a:spLocks noGrp="1"/>
          </p:cNvSpPr>
          <p:nvPr>
            <p:ph type="body" idx="45" hasCustomPrompt="1"/>
          </p:nvPr>
        </p:nvSpPr>
        <p:spPr>
          <a:xfrm>
            <a:off x="778689" y="3778016"/>
            <a:ext cx="2050893" cy="735762"/>
          </a:xfrm>
        </p:spPr>
        <p:txBody>
          <a:bodyPr>
            <a:normAutofit/>
          </a:bodyPr>
          <a:lstStyle>
            <a:lvl1pPr marL="0" indent="0" algn="l">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1" name="Text Placeholder 35">
            <a:extLst>
              <a:ext uri="{FF2B5EF4-FFF2-40B4-BE49-F238E27FC236}">
                <a16:creationId xmlns:a16="http://schemas.microsoft.com/office/drawing/2014/main" id="{A92E9F38-9B41-EB7A-6992-033AA3AB88FB}"/>
              </a:ext>
            </a:extLst>
          </p:cNvPr>
          <p:cNvSpPr>
            <a:spLocks noGrp="1"/>
          </p:cNvSpPr>
          <p:nvPr>
            <p:ph type="body" sz="quarter" idx="46" hasCustomPrompt="1"/>
          </p:nvPr>
        </p:nvSpPr>
        <p:spPr>
          <a:xfrm>
            <a:off x="3720672" y="4902908"/>
            <a:ext cx="1765410" cy="331694"/>
          </a:xfrm>
        </p:spPr>
        <p:txBody>
          <a:bodyPr anchor="b">
            <a:noAutofit/>
          </a:bodyPr>
          <a:lstStyle>
            <a:lvl1pPr marL="0" indent="0" algn="l">
              <a:buNone/>
              <a:defRPr sz="1600" b="1">
                <a:solidFill>
                  <a:srgbClr val="FFC36F"/>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2" name="Text Placeholder 2">
            <a:extLst>
              <a:ext uri="{FF2B5EF4-FFF2-40B4-BE49-F238E27FC236}">
                <a16:creationId xmlns:a16="http://schemas.microsoft.com/office/drawing/2014/main" id="{0B6866C5-565A-3422-E1D9-B34A3707A731}"/>
              </a:ext>
            </a:extLst>
          </p:cNvPr>
          <p:cNvSpPr>
            <a:spLocks noGrp="1"/>
          </p:cNvSpPr>
          <p:nvPr>
            <p:ph type="body" idx="47" hasCustomPrompt="1"/>
          </p:nvPr>
        </p:nvSpPr>
        <p:spPr>
          <a:xfrm>
            <a:off x="3720672" y="5368277"/>
            <a:ext cx="2050893" cy="735762"/>
          </a:xfrm>
        </p:spPr>
        <p:txBody>
          <a:bodyPr>
            <a:normAutofit/>
          </a:bodyPr>
          <a:lstStyle>
            <a:lvl1pPr marL="0" indent="0" algn="l">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3" name="Text Placeholder 35">
            <a:extLst>
              <a:ext uri="{FF2B5EF4-FFF2-40B4-BE49-F238E27FC236}">
                <a16:creationId xmlns:a16="http://schemas.microsoft.com/office/drawing/2014/main" id="{7BC21EE3-E76D-A297-21D8-DEFB8CFCF6E7}"/>
              </a:ext>
            </a:extLst>
          </p:cNvPr>
          <p:cNvSpPr>
            <a:spLocks noGrp="1"/>
          </p:cNvSpPr>
          <p:nvPr>
            <p:ph type="body" sz="quarter" idx="48" hasCustomPrompt="1"/>
          </p:nvPr>
        </p:nvSpPr>
        <p:spPr>
          <a:xfrm>
            <a:off x="778689" y="4902908"/>
            <a:ext cx="1765410" cy="331694"/>
          </a:xfrm>
        </p:spPr>
        <p:txBody>
          <a:bodyPr anchor="b">
            <a:noAutofit/>
          </a:bodyPr>
          <a:lstStyle>
            <a:lvl1pPr marL="0" indent="0" algn="l">
              <a:buNone/>
              <a:defRPr sz="1600" b="1">
                <a:solidFill>
                  <a:srgbClr val="F2D92A"/>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4" name="Text Placeholder 2">
            <a:extLst>
              <a:ext uri="{FF2B5EF4-FFF2-40B4-BE49-F238E27FC236}">
                <a16:creationId xmlns:a16="http://schemas.microsoft.com/office/drawing/2014/main" id="{F6AC32C5-694F-C15C-D49E-BDB18E93F17B}"/>
              </a:ext>
            </a:extLst>
          </p:cNvPr>
          <p:cNvSpPr>
            <a:spLocks noGrp="1"/>
          </p:cNvSpPr>
          <p:nvPr>
            <p:ph type="body" idx="49" hasCustomPrompt="1"/>
          </p:nvPr>
        </p:nvSpPr>
        <p:spPr>
          <a:xfrm>
            <a:off x="778689" y="5368277"/>
            <a:ext cx="2050893" cy="735762"/>
          </a:xfrm>
        </p:spPr>
        <p:txBody>
          <a:bodyPr>
            <a:normAutofit/>
          </a:bodyPr>
          <a:lstStyle>
            <a:lvl1pPr marL="0" indent="0" algn="l">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Tree>
    <p:extLst>
      <p:ext uri="{BB962C8B-B14F-4D97-AF65-F5344CB8AC3E}">
        <p14:creationId xmlns:p14="http://schemas.microsoft.com/office/powerpoint/2010/main" val="10846386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_Wifi_Medium">
    <p:bg>
      <p:bgPr>
        <a:gradFill>
          <a:gsLst>
            <a:gs pos="100000">
              <a:schemeClr val="accent1"/>
            </a:gs>
            <a:gs pos="8000">
              <a:schemeClr val="accent3"/>
            </a:gs>
          </a:gsLst>
          <a:path path="circle">
            <a:fillToRect l="100000" t="100000"/>
          </a:path>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435A804-D9C2-2784-7FCB-B1F9DD0F1A69}"/>
              </a:ext>
            </a:extLst>
          </p:cNvPr>
          <p:cNvPicPr>
            <a:picLocks noChangeAspect="1"/>
          </p:cNvPicPr>
          <p:nvPr userDrawn="1"/>
        </p:nvPicPr>
        <p:blipFill>
          <a:blip r:embed="rId2">
            <a:alphaModFix amt="29000"/>
          </a:blip>
          <a:srcRect/>
          <a:stretch/>
        </p:blipFill>
        <p:spPr>
          <a:xfrm>
            <a:off x="0" y="0"/>
            <a:ext cx="12192000" cy="6858000"/>
          </a:xfrm>
          <a:prstGeom prst="rect">
            <a:avLst/>
          </a:prstGeom>
          <a:noFill/>
        </p:spPr>
      </p:pic>
      <p:sp>
        <p:nvSpPr>
          <p:cNvPr id="5" name="Title 1">
            <a:extLst>
              <a:ext uri="{FF2B5EF4-FFF2-40B4-BE49-F238E27FC236}">
                <a16:creationId xmlns:a16="http://schemas.microsoft.com/office/drawing/2014/main" id="{F529F8F1-1C0F-3C22-559A-1803706A726C}"/>
              </a:ext>
            </a:extLst>
          </p:cNvPr>
          <p:cNvSpPr>
            <a:spLocks noGrp="1"/>
          </p:cNvSpPr>
          <p:nvPr>
            <p:ph type="title" hasCustomPrompt="1"/>
          </p:nvPr>
        </p:nvSpPr>
        <p:spPr>
          <a:xfrm>
            <a:off x="5004284" y="4455157"/>
            <a:ext cx="6475414" cy="801577"/>
          </a:xfrm>
        </p:spPr>
        <p:txBody>
          <a:bodyPr anchor="b" anchorCtr="0">
            <a:noAutofit/>
          </a:bodyPr>
          <a:lstStyle>
            <a:lvl1pPr>
              <a:defRPr sz="4400">
                <a:solidFill>
                  <a:schemeClr val="bg1"/>
                </a:solidFill>
              </a:defRPr>
            </a:lvl1pPr>
          </a:lstStyle>
          <a:p>
            <a:r>
              <a:rPr lang="en-US"/>
              <a:t>Title Goes Here</a:t>
            </a:r>
          </a:p>
        </p:txBody>
      </p:sp>
      <p:sp>
        <p:nvSpPr>
          <p:cNvPr id="6" name="Text Placeholder 3">
            <a:extLst>
              <a:ext uri="{FF2B5EF4-FFF2-40B4-BE49-F238E27FC236}">
                <a16:creationId xmlns:a16="http://schemas.microsoft.com/office/drawing/2014/main" id="{448E9B5A-1E10-98D6-8BEB-C0DBA57B1F3B}"/>
              </a:ext>
            </a:extLst>
          </p:cNvPr>
          <p:cNvSpPr>
            <a:spLocks noGrp="1"/>
          </p:cNvSpPr>
          <p:nvPr>
            <p:ph type="body" sz="quarter" idx="15" hasCustomPrompt="1"/>
          </p:nvPr>
        </p:nvSpPr>
        <p:spPr>
          <a:xfrm>
            <a:off x="5004282" y="5347254"/>
            <a:ext cx="6475413" cy="696639"/>
          </a:xfrm>
        </p:spPr>
        <p:txBody>
          <a:bodyPr>
            <a:normAutofit/>
          </a:bodyPr>
          <a:lstStyle>
            <a:lvl1pPr marL="0" indent="0">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 Goes Here</a:t>
            </a:r>
          </a:p>
        </p:txBody>
      </p:sp>
    </p:spTree>
    <p:extLst>
      <p:ext uri="{BB962C8B-B14F-4D97-AF65-F5344CB8AC3E}">
        <p14:creationId xmlns:p14="http://schemas.microsoft.com/office/powerpoint/2010/main" val="39264923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06AA12FB-9C44-3248-0C54-126859B79B24}"/>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3B381610-8673-EB62-CEFC-BE5E44E40352}"/>
              </a:ext>
            </a:extLst>
          </p:cNvPr>
          <p:cNvGrpSpPr/>
          <p:nvPr userDrawn="1"/>
        </p:nvGrpSpPr>
        <p:grpSpPr>
          <a:xfrm>
            <a:off x="9991675" y="1242269"/>
            <a:ext cx="1209726" cy="2780932"/>
            <a:chOff x="18338273" y="2819818"/>
            <a:chExt cx="2419452" cy="5561863"/>
          </a:xfrm>
        </p:grpSpPr>
        <p:sp>
          <p:nvSpPr>
            <p:cNvPr id="4" name="Freeform 1">
              <a:extLst>
                <a:ext uri="{FF2B5EF4-FFF2-40B4-BE49-F238E27FC236}">
                  <a16:creationId xmlns:a16="http://schemas.microsoft.com/office/drawing/2014/main" id="{1BA26C76-198C-368E-EABA-15EED9B7E0E2}"/>
                </a:ext>
              </a:extLst>
            </p:cNvPr>
            <p:cNvSpPr>
              <a:spLocks noChangeArrowheads="1"/>
            </p:cNvSpPr>
            <p:nvPr/>
          </p:nvSpPr>
          <p:spPr bwMode="auto">
            <a:xfrm>
              <a:off x="18802001" y="2819818"/>
              <a:ext cx="1955724" cy="5561863"/>
            </a:xfrm>
            <a:custGeom>
              <a:avLst/>
              <a:gdLst>
                <a:gd name="T0" fmla="*/ 1497 w 2994"/>
                <a:gd name="T1" fmla="*/ 0 h 8514"/>
                <a:gd name="T2" fmla="*/ 788 w 2994"/>
                <a:gd name="T3" fmla="*/ 0 h 8514"/>
                <a:gd name="T4" fmla="*/ 788 w 2994"/>
                <a:gd name="T5" fmla="*/ 506 h 8514"/>
                <a:gd name="T6" fmla="*/ 788 w 2994"/>
                <a:gd name="T7" fmla="*/ 506 h 8514"/>
                <a:gd name="T8" fmla="*/ 0 w 2994"/>
                <a:gd name="T9" fmla="*/ 4256 h 8514"/>
                <a:gd name="T10" fmla="*/ 0 w 2994"/>
                <a:gd name="T11" fmla="*/ 4256 h 8514"/>
                <a:gd name="T12" fmla="*/ 788 w 2994"/>
                <a:gd name="T13" fmla="*/ 8005 h 8514"/>
                <a:gd name="T14" fmla="*/ 788 w 2994"/>
                <a:gd name="T15" fmla="*/ 8513 h 8514"/>
                <a:gd name="T16" fmla="*/ 1497 w 2994"/>
                <a:gd name="T17" fmla="*/ 8513 h 8514"/>
                <a:gd name="T18" fmla="*/ 1497 w 2994"/>
                <a:gd name="T19" fmla="*/ 8513 h 8514"/>
                <a:gd name="T20" fmla="*/ 2993 w 2994"/>
                <a:gd name="T21" fmla="*/ 4256 h 8514"/>
                <a:gd name="T22" fmla="*/ 2993 w 2994"/>
                <a:gd name="T23" fmla="*/ 4256 h 8514"/>
                <a:gd name="T24" fmla="*/ 1497 w 2994"/>
                <a:gd name="T25" fmla="*/ 0 h 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4" h="8514">
                  <a:moveTo>
                    <a:pt x="1497" y="0"/>
                  </a:moveTo>
                  <a:lnTo>
                    <a:pt x="788" y="0"/>
                  </a:lnTo>
                  <a:lnTo>
                    <a:pt x="788" y="506"/>
                  </a:lnTo>
                  <a:lnTo>
                    <a:pt x="788" y="506"/>
                  </a:lnTo>
                  <a:cubicBezTo>
                    <a:pt x="319" y="1226"/>
                    <a:pt x="0" y="2635"/>
                    <a:pt x="0" y="4256"/>
                  </a:cubicBezTo>
                  <a:lnTo>
                    <a:pt x="0" y="4256"/>
                  </a:lnTo>
                  <a:cubicBezTo>
                    <a:pt x="0" y="5877"/>
                    <a:pt x="319" y="7287"/>
                    <a:pt x="788" y="8005"/>
                  </a:cubicBezTo>
                  <a:lnTo>
                    <a:pt x="788" y="8513"/>
                  </a:lnTo>
                  <a:lnTo>
                    <a:pt x="1497" y="8513"/>
                  </a:lnTo>
                  <a:lnTo>
                    <a:pt x="1497" y="8513"/>
                  </a:lnTo>
                  <a:cubicBezTo>
                    <a:pt x="2323" y="8513"/>
                    <a:pt x="2993" y="6606"/>
                    <a:pt x="2993" y="4256"/>
                  </a:cubicBezTo>
                  <a:lnTo>
                    <a:pt x="2993" y="4256"/>
                  </a:lnTo>
                  <a:cubicBezTo>
                    <a:pt x="2993" y="1905"/>
                    <a:pt x="2323" y="0"/>
                    <a:pt x="1497" y="0"/>
                  </a:cubicBezTo>
                </a:path>
              </a:pathLst>
            </a:custGeom>
            <a:solidFill>
              <a:srgbClr val="014D6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5" name="Freeform 2">
              <a:extLst>
                <a:ext uri="{FF2B5EF4-FFF2-40B4-BE49-F238E27FC236}">
                  <a16:creationId xmlns:a16="http://schemas.microsoft.com/office/drawing/2014/main" id="{53A1F22C-21C9-0B7F-B77E-0EEB22D13918}"/>
                </a:ext>
              </a:extLst>
            </p:cNvPr>
            <p:cNvSpPr>
              <a:spLocks noChangeArrowheads="1"/>
            </p:cNvSpPr>
            <p:nvPr/>
          </p:nvSpPr>
          <p:spPr bwMode="auto">
            <a:xfrm>
              <a:off x="18338273" y="2819818"/>
              <a:ext cx="1955726" cy="5561863"/>
            </a:xfrm>
            <a:custGeom>
              <a:avLst/>
              <a:gdLst>
                <a:gd name="T0" fmla="*/ 2991 w 2992"/>
                <a:gd name="T1" fmla="*/ 4256 h 8514"/>
                <a:gd name="T2" fmla="*/ 2991 w 2992"/>
                <a:gd name="T3" fmla="*/ 4256 h 8514"/>
                <a:gd name="T4" fmla="*/ 1496 w 2992"/>
                <a:gd name="T5" fmla="*/ 8513 h 8514"/>
                <a:gd name="T6" fmla="*/ 1496 w 2992"/>
                <a:gd name="T7" fmla="*/ 8513 h 8514"/>
                <a:gd name="T8" fmla="*/ 0 w 2992"/>
                <a:gd name="T9" fmla="*/ 4256 h 8514"/>
                <a:gd name="T10" fmla="*/ 0 w 2992"/>
                <a:gd name="T11" fmla="*/ 4256 h 8514"/>
                <a:gd name="T12" fmla="*/ 1496 w 2992"/>
                <a:gd name="T13" fmla="*/ 0 h 8514"/>
                <a:gd name="T14" fmla="*/ 1496 w 2992"/>
                <a:gd name="T15" fmla="*/ 0 h 8514"/>
                <a:gd name="T16" fmla="*/ 2991 w 2992"/>
                <a:gd name="T17" fmla="*/ 4256 h 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2" h="8514">
                  <a:moveTo>
                    <a:pt x="2991" y="4256"/>
                  </a:moveTo>
                  <a:lnTo>
                    <a:pt x="2991" y="4256"/>
                  </a:lnTo>
                  <a:cubicBezTo>
                    <a:pt x="2991" y="6606"/>
                    <a:pt x="2322" y="8513"/>
                    <a:pt x="1496" y="8513"/>
                  </a:cubicBezTo>
                  <a:lnTo>
                    <a:pt x="1496" y="8513"/>
                  </a:lnTo>
                  <a:cubicBezTo>
                    <a:pt x="669" y="8513"/>
                    <a:pt x="0" y="6606"/>
                    <a:pt x="0" y="4256"/>
                  </a:cubicBezTo>
                  <a:lnTo>
                    <a:pt x="0" y="4256"/>
                  </a:lnTo>
                  <a:cubicBezTo>
                    <a:pt x="0" y="1905"/>
                    <a:pt x="669" y="0"/>
                    <a:pt x="1496" y="0"/>
                  </a:cubicBezTo>
                  <a:lnTo>
                    <a:pt x="1496" y="0"/>
                  </a:lnTo>
                  <a:cubicBezTo>
                    <a:pt x="2322" y="0"/>
                    <a:pt x="2991" y="1905"/>
                    <a:pt x="2991" y="4256"/>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6" name="Freeform 3">
              <a:extLst>
                <a:ext uri="{FF2B5EF4-FFF2-40B4-BE49-F238E27FC236}">
                  <a16:creationId xmlns:a16="http://schemas.microsoft.com/office/drawing/2014/main" id="{F8599618-6E65-B2B2-8D9F-E0475797DD24}"/>
                </a:ext>
              </a:extLst>
            </p:cNvPr>
            <p:cNvSpPr>
              <a:spLocks noChangeArrowheads="1"/>
            </p:cNvSpPr>
            <p:nvPr/>
          </p:nvSpPr>
          <p:spPr bwMode="auto">
            <a:xfrm>
              <a:off x="18459245" y="3381476"/>
              <a:ext cx="1561124" cy="4438547"/>
            </a:xfrm>
            <a:custGeom>
              <a:avLst/>
              <a:gdLst>
                <a:gd name="T0" fmla="*/ 2388 w 2389"/>
                <a:gd name="T1" fmla="*/ 3398 h 6796"/>
                <a:gd name="T2" fmla="*/ 2388 w 2389"/>
                <a:gd name="T3" fmla="*/ 3398 h 6796"/>
                <a:gd name="T4" fmla="*/ 1194 w 2389"/>
                <a:gd name="T5" fmla="*/ 6795 h 6796"/>
                <a:gd name="T6" fmla="*/ 1194 w 2389"/>
                <a:gd name="T7" fmla="*/ 6795 h 6796"/>
                <a:gd name="T8" fmla="*/ 0 w 2389"/>
                <a:gd name="T9" fmla="*/ 3398 h 6796"/>
                <a:gd name="T10" fmla="*/ 0 w 2389"/>
                <a:gd name="T11" fmla="*/ 3398 h 6796"/>
                <a:gd name="T12" fmla="*/ 1194 w 2389"/>
                <a:gd name="T13" fmla="*/ 0 h 6796"/>
                <a:gd name="T14" fmla="*/ 1194 w 2389"/>
                <a:gd name="T15" fmla="*/ 0 h 6796"/>
                <a:gd name="T16" fmla="*/ 2388 w 2389"/>
                <a:gd name="T17" fmla="*/ 3398 h 6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9" h="6796">
                  <a:moveTo>
                    <a:pt x="2388" y="3398"/>
                  </a:moveTo>
                  <a:lnTo>
                    <a:pt x="2388" y="3398"/>
                  </a:lnTo>
                  <a:cubicBezTo>
                    <a:pt x="2388" y="5275"/>
                    <a:pt x="1853" y="6795"/>
                    <a:pt x="1194" y="6795"/>
                  </a:cubicBezTo>
                  <a:lnTo>
                    <a:pt x="1194" y="6795"/>
                  </a:lnTo>
                  <a:cubicBezTo>
                    <a:pt x="534" y="6795"/>
                    <a:pt x="0" y="5275"/>
                    <a:pt x="0" y="3398"/>
                  </a:cubicBezTo>
                  <a:lnTo>
                    <a:pt x="0" y="3398"/>
                  </a:lnTo>
                  <a:cubicBezTo>
                    <a:pt x="0" y="1521"/>
                    <a:pt x="534" y="0"/>
                    <a:pt x="1194" y="0"/>
                  </a:cubicBezTo>
                  <a:lnTo>
                    <a:pt x="1194" y="0"/>
                  </a:lnTo>
                  <a:cubicBezTo>
                    <a:pt x="1853" y="0"/>
                    <a:pt x="2388" y="1521"/>
                    <a:pt x="2388" y="3398"/>
                  </a:cubicBezTo>
                </a:path>
              </a:pathLst>
            </a:custGeom>
            <a:solidFill>
              <a:srgbClr val="23B89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7" name="Freeform 4">
              <a:extLst>
                <a:ext uri="{FF2B5EF4-FFF2-40B4-BE49-F238E27FC236}">
                  <a16:creationId xmlns:a16="http://schemas.microsoft.com/office/drawing/2014/main" id="{9996F059-6115-6E53-365C-F94EA8EDCA66}"/>
                </a:ext>
              </a:extLst>
            </p:cNvPr>
            <p:cNvSpPr>
              <a:spLocks noChangeArrowheads="1"/>
            </p:cNvSpPr>
            <p:nvPr/>
          </p:nvSpPr>
          <p:spPr bwMode="auto">
            <a:xfrm>
              <a:off x="18597500" y="4020903"/>
              <a:ext cx="1111797" cy="3159693"/>
            </a:xfrm>
            <a:custGeom>
              <a:avLst/>
              <a:gdLst>
                <a:gd name="T0" fmla="*/ 1701 w 1702"/>
                <a:gd name="T1" fmla="*/ 2419 h 4838"/>
                <a:gd name="T2" fmla="*/ 1701 w 1702"/>
                <a:gd name="T3" fmla="*/ 2419 h 4838"/>
                <a:gd name="T4" fmla="*/ 851 w 1702"/>
                <a:gd name="T5" fmla="*/ 4837 h 4838"/>
                <a:gd name="T6" fmla="*/ 851 w 1702"/>
                <a:gd name="T7" fmla="*/ 4837 h 4838"/>
                <a:gd name="T8" fmla="*/ 0 w 1702"/>
                <a:gd name="T9" fmla="*/ 2419 h 4838"/>
                <a:gd name="T10" fmla="*/ 0 w 1702"/>
                <a:gd name="T11" fmla="*/ 2419 h 4838"/>
                <a:gd name="T12" fmla="*/ 851 w 1702"/>
                <a:gd name="T13" fmla="*/ 0 h 4838"/>
                <a:gd name="T14" fmla="*/ 851 w 1702"/>
                <a:gd name="T15" fmla="*/ 0 h 4838"/>
                <a:gd name="T16" fmla="*/ 1701 w 1702"/>
                <a:gd name="T17" fmla="*/ 2419 h 4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2" h="4838">
                  <a:moveTo>
                    <a:pt x="1701" y="2419"/>
                  </a:moveTo>
                  <a:lnTo>
                    <a:pt x="1701" y="2419"/>
                  </a:lnTo>
                  <a:cubicBezTo>
                    <a:pt x="1701" y="3755"/>
                    <a:pt x="1320" y="4837"/>
                    <a:pt x="851" y="4837"/>
                  </a:cubicBezTo>
                  <a:lnTo>
                    <a:pt x="851" y="4837"/>
                  </a:lnTo>
                  <a:cubicBezTo>
                    <a:pt x="381" y="4837"/>
                    <a:pt x="0" y="3755"/>
                    <a:pt x="0" y="2419"/>
                  </a:cubicBezTo>
                  <a:lnTo>
                    <a:pt x="0" y="2419"/>
                  </a:lnTo>
                  <a:cubicBezTo>
                    <a:pt x="0" y="1083"/>
                    <a:pt x="381" y="0"/>
                    <a:pt x="851" y="0"/>
                  </a:cubicBezTo>
                  <a:lnTo>
                    <a:pt x="851" y="0"/>
                  </a:lnTo>
                  <a:cubicBezTo>
                    <a:pt x="1320" y="0"/>
                    <a:pt x="1701" y="1083"/>
                    <a:pt x="1701" y="2419"/>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8" name="Freeform 5">
              <a:extLst>
                <a:ext uri="{FF2B5EF4-FFF2-40B4-BE49-F238E27FC236}">
                  <a16:creationId xmlns:a16="http://schemas.microsoft.com/office/drawing/2014/main" id="{6B3597E9-B7E7-6C31-E54E-0108E9AE5769}"/>
                </a:ext>
              </a:extLst>
            </p:cNvPr>
            <p:cNvSpPr>
              <a:spLocks noChangeArrowheads="1"/>
            </p:cNvSpPr>
            <p:nvPr/>
          </p:nvSpPr>
          <p:spPr bwMode="auto">
            <a:xfrm>
              <a:off x="18732874" y="4556639"/>
              <a:ext cx="734476" cy="2088220"/>
            </a:xfrm>
            <a:custGeom>
              <a:avLst/>
              <a:gdLst>
                <a:gd name="T0" fmla="*/ 1123 w 1124"/>
                <a:gd name="T1" fmla="*/ 1597 h 3195"/>
                <a:gd name="T2" fmla="*/ 1123 w 1124"/>
                <a:gd name="T3" fmla="*/ 1597 h 3195"/>
                <a:gd name="T4" fmla="*/ 561 w 1124"/>
                <a:gd name="T5" fmla="*/ 3194 h 3195"/>
                <a:gd name="T6" fmla="*/ 561 w 1124"/>
                <a:gd name="T7" fmla="*/ 3194 h 3195"/>
                <a:gd name="T8" fmla="*/ 0 w 1124"/>
                <a:gd name="T9" fmla="*/ 1597 h 3195"/>
                <a:gd name="T10" fmla="*/ 0 w 1124"/>
                <a:gd name="T11" fmla="*/ 1597 h 3195"/>
                <a:gd name="T12" fmla="*/ 561 w 1124"/>
                <a:gd name="T13" fmla="*/ 0 h 3195"/>
                <a:gd name="T14" fmla="*/ 561 w 1124"/>
                <a:gd name="T15" fmla="*/ 0 h 3195"/>
                <a:gd name="T16" fmla="*/ 1123 w 1124"/>
                <a:gd name="T17" fmla="*/ 1597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4" h="3195">
                  <a:moveTo>
                    <a:pt x="1123" y="1597"/>
                  </a:moveTo>
                  <a:lnTo>
                    <a:pt x="1123" y="1597"/>
                  </a:lnTo>
                  <a:cubicBezTo>
                    <a:pt x="1123" y="2479"/>
                    <a:pt x="871" y="3194"/>
                    <a:pt x="561" y="3194"/>
                  </a:cubicBezTo>
                  <a:lnTo>
                    <a:pt x="561" y="3194"/>
                  </a:lnTo>
                  <a:cubicBezTo>
                    <a:pt x="252" y="3194"/>
                    <a:pt x="0" y="2479"/>
                    <a:pt x="0" y="1597"/>
                  </a:cubicBezTo>
                  <a:lnTo>
                    <a:pt x="0" y="1597"/>
                  </a:lnTo>
                  <a:cubicBezTo>
                    <a:pt x="0" y="714"/>
                    <a:pt x="252" y="0"/>
                    <a:pt x="561" y="0"/>
                  </a:cubicBezTo>
                  <a:lnTo>
                    <a:pt x="561" y="0"/>
                  </a:lnTo>
                  <a:cubicBezTo>
                    <a:pt x="871" y="0"/>
                    <a:pt x="1123" y="714"/>
                    <a:pt x="1123" y="1597"/>
                  </a:cubicBezTo>
                </a:path>
              </a:pathLst>
            </a:custGeom>
            <a:solidFill>
              <a:srgbClr val="23B89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9" name="Freeform 6">
              <a:extLst>
                <a:ext uri="{FF2B5EF4-FFF2-40B4-BE49-F238E27FC236}">
                  <a16:creationId xmlns:a16="http://schemas.microsoft.com/office/drawing/2014/main" id="{B5CEE11C-6E9B-A744-47F0-AB4B84B54767}"/>
                </a:ext>
              </a:extLst>
            </p:cNvPr>
            <p:cNvSpPr>
              <a:spLocks noChangeArrowheads="1"/>
            </p:cNvSpPr>
            <p:nvPr/>
          </p:nvSpPr>
          <p:spPr bwMode="auto">
            <a:xfrm>
              <a:off x="18885530" y="5132700"/>
              <a:ext cx="328354" cy="936099"/>
            </a:xfrm>
            <a:custGeom>
              <a:avLst/>
              <a:gdLst>
                <a:gd name="T0" fmla="*/ 503 w 504"/>
                <a:gd name="T1" fmla="*/ 716 h 1432"/>
                <a:gd name="T2" fmla="*/ 503 w 504"/>
                <a:gd name="T3" fmla="*/ 716 h 1432"/>
                <a:gd name="T4" fmla="*/ 252 w 504"/>
                <a:gd name="T5" fmla="*/ 1431 h 1432"/>
                <a:gd name="T6" fmla="*/ 252 w 504"/>
                <a:gd name="T7" fmla="*/ 1431 h 1432"/>
                <a:gd name="T8" fmla="*/ 0 w 504"/>
                <a:gd name="T9" fmla="*/ 716 h 1432"/>
                <a:gd name="T10" fmla="*/ 0 w 504"/>
                <a:gd name="T11" fmla="*/ 716 h 1432"/>
                <a:gd name="T12" fmla="*/ 252 w 504"/>
                <a:gd name="T13" fmla="*/ 0 h 1432"/>
                <a:gd name="T14" fmla="*/ 252 w 504"/>
                <a:gd name="T15" fmla="*/ 0 h 1432"/>
                <a:gd name="T16" fmla="*/ 503 w 504"/>
                <a:gd name="T17" fmla="*/ 716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1432">
                  <a:moveTo>
                    <a:pt x="503" y="716"/>
                  </a:moveTo>
                  <a:lnTo>
                    <a:pt x="503" y="716"/>
                  </a:lnTo>
                  <a:cubicBezTo>
                    <a:pt x="503" y="1112"/>
                    <a:pt x="390" y="1431"/>
                    <a:pt x="252" y="1431"/>
                  </a:cubicBezTo>
                  <a:lnTo>
                    <a:pt x="252" y="1431"/>
                  </a:lnTo>
                  <a:cubicBezTo>
                    <a:pt x="113" y="1431"/>
                    <a:pt x="0" y="1112"/>
                    <a:pt x="0" y="716"/>
                  </a:cubicBezTo>
                  <a:lnTo>
                    <a:pt x="0" y="716"/>
                  </a:lnTo>
                  <a:cubicBezTo>
                    <a:pt x="0" y="321"/>
                    <a:pt x="113" y="0"/>
                    <a:pt x="252" y="0"/>
                  </a:cubicBezTo>
                  <a:lnTo>
                    <a:pt x="252" y="0"/>
                  </a:lnTo>
                  <a:cubicBezTo>
                    <a:pt x="390" y="0"/>
                    <a:pt x="503" y="321"/>
                    <a:pt x="503" y="716"/>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grpSp>
      <p:sp>
        <p:nvSpPr>
          <p:cNvPr id="10" name="Right Arrow 9">
            <a:extLst>
              <a:ext uri="{FF2B5EF4-FFF2-40B4-BE49-F238E27FC236}">
                <a16:creationId xmlns:a16="http://schemas.microsoft.com/office/drawing/2014/main" id="{91D01FC6-4FFF-8FA3-B343-615112B9761C}"/>
              </a:ext>
            </a:extLst>
          </p:cNvPr>
          <p:cNvSpPr/>
          <p:nvPr userDrawn="1"/>
        </p:nvSpPr>
        <p:spPr>
          <a:xfrm rot="20602143">
            <a:off x="912780" y="3802770"/>
            <a:ext cx="9644339" cy="393881"/>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useBgFill="1">
        <p:nvSpPr>
          <p:cNvPr id="11" name="Oval 10">
            <a:extLst>
              <a:ext uri="{FF2B5EF4-FFF2-40B4-BE49-F238E27FC236}">
                <a16:creationId xmlns:a16="http://schemas.microsoft.com/office/drawing/2014/main" id="{D37C3610-898F-B7A9-6BCC-BCDABA59DF26}"/>
              </a:ext>
            </a:extLst>
          </p:cNvPr>
          <p:cNvSpPr/>
          <p:nvPr userDrawn="1"/>
        </p:nvSpPr>
        <p:spPr>
          <a:xfrm>
            <a:off x="1587934" y="4656571"/>
            <a:ext cx="900546" cy="900546"/>
          </a:xfrm>
          <a:prstGeom prst="ellipse">
            <a:avLst/>
          </a:prstGeom>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useBgFill="1">
        <p:nvSpPr>
          <p:cNvPr id="12" name="Oval 11">
            <a:extLst>
              <a:ext uri="{FF2B5EF4-FFF2-40B4-BE49-F238E27FC236}">
                <a16:creationId xmlns:a16="http://schemas.microsoft.com/office/drawing/2014/main" id="{5A15DF93-8D56-82AF-3544-1CB058176110}"/>
              </a:ext>
            </a:extLst>
          </p:cNvPr>
          <p:cNvSpPr/>
          <p:nvPr userDrawn="1"/>
        </p:nvSpPr>
        <p:spPr>
          <a:xfrm>
            <a:off x="3719246" y="4011771"/>
            <a:ext cx="900546" cy="900546"/>
          </a:xfrm>
          <a:prstGeom prst="ellipse">
            <a:avLst/>
          </a:prstGeom>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useBgFill="1">
        <p:nvSpPr>
          <p:cNvPr id="13" name="Oval 12">
            <a:extLst>
              <a:ext uri="{FF2B5EF4-FFF2-40B4-BE49-F238E27FC236}">
                <a16:creationId xmlns:a16="http://schemas.microsoft.com/office/drawing/2014/main" id="{BB4BFEC4-C999-8C7C-A725-FF95F7C98862}"/>
              </a:ext>
            </a:extLst>
          </p:cNvPr>
          <p:cNvSpPr/>
          <p:nvPr userDrawn="1"/>
        </p:nvSpPr>
        <p:spPr>
          <a:xfrm>
            <a:off x="5850557" y="3376938"/>
            <a:ext cx="900546" cy="900546"/>
          </a:xfrm>
          <a:prstGeom prst="ellipse">
            <a:avLst/>
          </a:prstGeom>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useBgFill="1">
        <p:nvSpPr>
          <p:cNvPr id="14" name="Oval 13">
            <a:extLst>
              <a:ext uri="{FF2B5EF4-FFF2-40B4-BE49-F238E27FC236}">
                <a16:creationId xmlns:a16="http://schemas.microsoft.com/office/drawing/2014/main" id="{4EEBBFFA-0149-F888-772D-3696B2854C89}"/>
              </a:ext>
            </a:extLst>
          </p:cNvPr>
          <p:cNvSpPr/>
          <p:nvPr userDrawn="1"/>
        </p:nvSpPr>
        <p:spPr>
          <a:xfrm>
            <a:off x="7981869" y="2750237"/>
            <a:ext cx="900546" cy="900546"/>
          </a:xfrm>
          <a:prstGeom prst="ellipse">
            <a:avLst/>
          </a:prstGeom>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Freeform 690">
            <a:extLst>
              <a:ext uri="{FF2B5EF4-FFF2-40B4-BE49-F238E27FC236}">
                <a16:creationId xmlns:a16="http://schemas.microsoft.com/office/drawing/2014/main" id="{1457F72F-9CB6-E941-539D-BC74B35F5502}"/>
              </a:ext>
            </a:extLst>
          </p:cNvPr>
          <p:cNvSpPr>
            <a:spLocks noChangeArrowheads="1"/>
          </p:cNvSpPr>
          <p:nvPr userDrawn="1"/>
        </p:nvSpPr>
        <p:spPr bwMode="auto">
          <a:xfrm>
            <a:off x="1767019" y="4864712"/>
            <a:ext cx="542376" cy="484263"/>
          </a:xfrm>
          <a:custGeom>
            <a:avLst/>
            <a:gdLst/>
            <a:ahLst/>
            <a:cxnLst/>
            <a:rect l="0" t="0" r="r" b="b"/>
            <a:pathLst>
              <a:path w="310790" h="277453">
                <a:moveTo>
                  <a:pt x="301056" y="246940"/>
                </a:moveTo>
                <a:cubicBezTo>
                  <a:pt x="299975" y="247299"/>
                  <a:pt x="298893" y="247299"/>
                  <a:pt x="297812" y="248017"/>
                </a:cubicBezTo>
                <a:cubicBezTo>
                  <a:pt x="297451" y="248017"/>
                  <a:pt x="297091" y="248017"/>
                  <a:pt x="296730" y="248376"/>
                </a:cubicBezTo>
                <a:cubicBezTo>
                  <a:pt x="296009" y="248376"/>
                  <a:pt x="294928" y="249093"/>
                  <a:pt x="293846" y="249452"/>
                </a:cubicBezTo>
                <a:cubicBezTo>
                  <a:pt x="293846" y="249452"/>
                  <a:pt x="293846" y="249452"/>
                  <a:pt x="293846" y="249811"/>
                </a:cubicBezTo>
                <a:cubicBezTo>
                  <a:pt x="292765" y="250170"/>
                  <a:pt x="291683" y="250888"/>
                  <a:pt x="290602" y="251606"/>
                </a:cubicBezTo>
                <a:lnTo>
                  <a:pt x="290241" y="251965"/>
                </a:lnTo>
                <a:cubicBezTo>
                  <a:pt x="289160" y="252683"/>
                  <a:pt x="288439" y="253760"/>
                  <a:pt x="287718" y="254478"/>
                </a:cubicBezTo>
                <a:cubicBezTo>
                  <a:pt x="286636" y="255196"/>
                  <a:pt x="285915" y="255914"/>
                  <a:pt x="285194" y="256991"/>
                </a:cubicBezTo>
                <a:cubicBezTo>
                  <a:pt x="285194" y="257350"/>
                  <a:pt x="285194" y="257350"/>
                  <a:pt x="284834" y="257709"/>
                </a:cubicBezTo>
                <a:cubicBezTo>
                  <a:pt x="284113" y="258786"/>
                  <a:pt x="283752" y="259504"/>
                  <a:pt x="283031" y="260581"/>
                </a:cubicBezTo>
                <a:cubicBezTo>
                  <a:pt x="283031" y="260940"/>
                  <a:pt x="283031" y="260940"/>
                  <a:pt x="283031" y="260940"/>
                </a:cubicBezTo>
                <a:cubicBezTo>
                  <a:pt x="282310" y="261658"/>
                  <a:pt x="281950" y="262735"/>
                  <a:pt x="281589" y="263812"/>
                </a:cubicBezTo>
                <a:cubicBezTo>
                  <a:pt x="281589" y="264171"/>
                  <a:pt x="281589" y="264171"/>
                  <a:pt x="281229" y="264530"/>
                </a:cubicBezTo>
                <a:cubicBezTo>
                  <a:pt x="280868" y="265607"/>
                  <a:pt x="280508" y="266684"/>
                  <a:pt x="280508" y="267761"/>
                </a:cubicBezTo>
                <a:cubicBezTo>
                  <a:pt x="280508" y="267761"/>
                  <a:pt x="280508" y="267761"/>
                  <a:pt x="280508" y="268120"/>
                </a:cubicBezTo>
                <a:lnTo>
                  <a:pt x="300696" y="268120"/>
                </a:lnTo>
                <a:cubicBezTo>
                  <a:pt x="301056" y="268120"/>
                  <a:pt x="301056" y="267761"/>
                  <a:pt x="301056" y="267402"/>
                </a:cubicBezTo>
                <a:lnTo>
                  <a:pt x="301056" y="246940"/>
                </a:lnTo>
                <a:close/>
                <a:moveTo>
                  <a:pt x="56998" y="246940"/>
                </a:moveTo>
                <a:lnTo>
                  <a:pt x="56998" y="267402"/>
                </a:lnTo>
                <a:cubicBezTo>
                  <a:pt x="56998" y="267761"/>
                  <a:pt x="57358" y="268120"/>
                  <a:pt x="57358" y="268120"/>
                </a:cubicBezTo>
                <a:lnTo>
                  <a:pt x="78267" y="268120"/>
                </a:lnTo>
                <a:cubicBezTo>
                  <a:pt x="78267" y="267761"/>
                  <a:pt x="78267" y="267761"/>
                  <a:pt x="78267" y="267761"/>
                </a:cubicBezTo>
                <a:cubicBezTo>
                  <a:pt x="77907" y="266684"/>
                  <a:pt x="77546" y="265607"/>
                  <a:pt x="77186" y="264171"/>
                </a:cubicBezTo>
                <a:cubicBezTo>
                  <a:pt x="77186" y="264171"/>
                  <a:pt x="77186" y="263812"/>
                  <a:pt x="76825" y="263812"/>
                </a:cubicBezTo>
                <a:cubicBezTo>
                  <a:pt x="76825" y="262735"/>
                  <a:pt x="76465" y="261658"/>
                  <a:pt x="75744" y="260940"/>
                </a:cubicBezTo>
                <a:cubicBezTo>
                  <a:pt x="75744" y="260940"/>
                  <a:pt x="75744" y="260581"/>
                  <a:pt x="75744" y="260222"/>
                </a:cubicBezTo>
                <a:cubicBezTo>
                  <a:pt x="75023" y="259145"/>
                  <a:pt x="74302" y="258427"/>
                  <a:pt x="73581" y="257350"/>
                </a:cubicBezTo>
                <a:cubicBezTo>
                  <a:pt x="73581" y="257350"/>
                  <a:pt x="73220" y="256991"/>
                  <a:pt x="73220" y="256632"/>
                </a:cubicBezTo>
                <a:cubicBezTo>
                  <a:pt x="72499" y="255914"/>
                  <a:pt x="71778" y="255196"/>
                  <a:pt x="71057" y="254119"/>
                </a:cubicBezTo>
                <a:cubicBezTo>
                  <a:pt x="69976" y="253401"/>
                  <a:pt x="69255" y="252324"/>
                  <a:pt x="68173" y="251965"/>
                </a:cubicBezTo>
                <a:cubicBezTo>
                  <a:pt x="68173" y="251606"/>
                  <a:pt x="67813" y="251606"/>
                  <a:pt x="67452" y="251606"/>
                </a:cubicBezTo>
                <a:cubicBezTo>
                  <a:pt x="66731" y="250529"/>
                  <a:pt x="65650" y="250170"/>
                  <a:pt x="64568" y="249452"/>
                </a:cubicBezTo>
                <a:cubicBezTo>
                  <a:pt x="64568" y="249452"/>
                  <a:pt x="64568" y="249452"/>
                  <a:pt x="64208" y="249452"/>
                </a:cubicBezTo>
                <a:cubicBezTo>
                  <a:pt x="63487" y="248734"/>
                  <a:pt x="62405" y="248376"/>
                  <a:pt x="61324" y="248017"/>
                </a:cubicBezTo>
                <a:cubicBezTo>
                  <a:pt x="60963" y="248017"/>
                  <a:pt x="60963" y="248017"/>
                  <a:pt x="60603" y="248017"/>
                </a:cubicBezTo>
                <a:cubicBezTo>
                  <a:pt x="59521" y="247299"/>
                  <a:pt x="58440" y="246940"/>
                  <a:pt x="57358" y="246940"/>
                </a:cubicBezTo>
                <a:cubicBezTo>
                  <a:pt x="56998" y="246940"/>
                  <a:pt x="56998" y="246940"/>
                  <a:pt x="56998" y="246940"/>
                </a:cubicBezTo>
                <a:close/>
                <a:moveTo>
                  <a:pt x="244034" y="195069"/>
                </a:moveTo>
                <a:cubicBezTo>
                  <a:pt x="240444" y="195069"/>
                  <a:pt x="237932" y="197940"/>
                  <a:pt x="237932" y="201170"/>
                </a:cubicBezTo>
                <a:lnTo>
                  <a:pt x="237932" y="211220"/>
                </a:lnTo>
                <a:cubicBezTo>
                  <a:pt x="237932" y="214809"/>
                  <a:pt x="240444" y="217680"/>
                  <a:pt x="244034" y="217680"/>
                </a:cubicBezTo>
                <a:lnTo>
                  <a:pt x="254083" y="217680"/>
                </a:lnTo>
                <a:cubicBezTo>
                  <a:pt x="257672" y="217680"/>
                  <a:pt x="260185" y="214809"/>
                  <a:pt x="260185" y="211220"/>
                </a:cubicBezTo>
                <a:lnTo>
                  <a:pt x="260185" y="201170"/>
                </a:lnTo>
                <a:cubicBezTo>
                  <a:pt x="260185" y="197940"/>
                  <a:pt x="257672" y="195069"/>
                  <a:pt x="254083" y="195069"/>
                </a:cubicBezTo>
                <a:lnTo>
                  <a:pt x="244034" y="195069"/>
                </a:lnTo>
                <a:close/>
                <a:moveTo>
                  <a:pt x="102746" y="195069"/>
                </a:moveTo>
                <a:cubicBezTo>
                  <a:pt x="99156" y="195069"/>
                  <a:pt x="96643" y="197940"/>
                  <a:pt x="96643" y="201170"/>
                </a:cubicBezTo>
                <a:lnTo>
                  <a:pt x="96643" y="211220"/>
                </a:lnTo>
                <a:cubicBezTo>
                  <a:pt x="96643" y="214809"/>
                  <a:pt x="99156" y="217680"/>
                  <a:pt x="102746" y="217680"/>
                </a:cubicBezTo>
                <a:lnTo>
                  <a:pt x="113154" y="217680"/>
                </a:lnTo>
                <a:cubicBezTo>
                  <a:pt x="116384" y="217680"/>
                  <a:pt x="118897" y="214809"/>
                  <a:pt x="118897" y="211220"/>
                </a:cubicBezTo>
                <a:lnTo>
                  <a:pt x="118897" y="201170"/>
                </a:lnTo>
                <a:cubicBezTo>
                  <a:pt x="118897" y="197940"/>
                  <a:pt x="116384" y="195069"/>
                  <a:pt x="113154" y="195069"/>
                </a:cubicBezTo>
                <a:lnTo>
                  <a:pt x="102746" y="195069"/>
                </a:lnTo>
                <a:close/>
                <a:moveTo>
                  <a:pt x="244034" y="185737"/>
                </a:moveTo>
                <a:lnTo>
                  <a:pt x="254083" y="185737"/>
                </a:lnTo>
                <a:cubicBezTo>
                  <a:pt x="262697" y="185737"/>
                  <a:pt x="269516" y="192556"/>
                  <a:pt x="269516" y="201170"/>
                </a:cubicBezTo>
                <a:lnTo>
                  <a:pt x="269516" y="211220"/>
                </a:lnTo>
                <a:cubicBezTo>
                  <a:pt x="269516" y="219834"/>
                  <a:pt x="262697" y="226653"/>
                  <a:pt x="254083" y="226653"/>
                </a:cubicBezTo>
                <a:lnTo>
                  <a:pt x="244034" y="226653"/>
                </a:lnTo>
                <a:cubicBezTo>
                  <a:pt x="235420" y="226653"/>
                  <a:pt x="228600" y="219834"/>
                  <a:pt x="228600" y="211220"/>
                </a:cubicBezTo>
                <a:lnTo>
                  <a:pt x="228600" y="201170"/>
                </a:lnTo>
                <a:cubicBezTo>
                  <a:pt x="228600" y="192556"/>
                  <a:pt x="235420" y="185737"/>
                  <a:pt x="244034" y="185737"/>
                </a:cubicBezTo>
                <a:close/>
                <a:moveTo>
                  <a:pt x="102746" y="185737"/>
                </a:moveTo>
                <a:lnTo>
                  <a:pt x="113154" y="185737"/>
                </a:lnTo>
                <a:cubicBezTo>
                  <a:pt x="121409" y="185737"/>
                  <a:pt x="128228" y="192556"/>
                  <a:pt x="128228" y="201170"/>
                </a:cubicBezTo>
                <a:lnTo>
                  <a:pt x="128228" y="211220"/>
                </a:lnTo>
                <a:cubicBezTo>
                  <a:pt x="128228" y="219834"/>
                  <a:pt x="121409" y="226653"/>
                  <a:pt x="113154" y="226653"/>
                </a:cubicBezTo>
                <a:lnTo>
                  <a:pt x="102746" y="226653"/>
                </a:lnTo>
                <a:cubicBezTo>
                  <a:pt x="94490" y="226653"/>
                  <a:pt x="87312" y="219834"/>
                  <a:pt x="87312" y="211220"/>
                </a:cubicBezTo>
                <a:lnTo>
                  <a:pt x="87312" y="201170"/>
                </a:lnTo>
                <a:cubicBezTo>
                  <a:pt x="87312" y="192556"/>
                  <a:pt x="94490" y="185737"/>
                  <a:pt x="102746" y="185737"/>
                </a:cubicBezTo>
                <a:close/>
                <a:moveTo>
                  <a:pt x="178228" y="160337"/>
                </a:moveTo>
                <a:cubicBezTo>
                  <a:pt x="181151" y="160337"/>
                  <a:pt x="182978" y="162504"/>
                  <a:pt x="182978" y="165031"/>
                </a:cubicBezTo>
                <a:lnTo>
                  <a:pt x="182978" y="169725"/>
                </a:lnTo>
                <a:cubicBezTo>
                  <a:pt x="190651" y="171169"/>
                  <a:pt x="196862" y="175863"/>
                  <a:pt x="199785" y="182363"/>
                </a:cubicBezTo>
                <a:cubicBezTo>
                  <a:pt x="200516" y="184890"/>
                  <a:pt x="199785" y="187779"/>
                  <a:pt x="196862" y="188862"/>
                </a:cubicBezTo>
                <a:cubicBezTo>
                  <a:pt x="194670" y="189584"/>
                  <a:pt x="191747" y="188501"/>
                  <a:pt x="190651" y="185974"/>
                </a:cubicBezTo>
                <a:cubicBezTo>
                  <a:pt x="188824" y="181641"/>
                  <a:pt x="184074" y="178752"/>
                  <a:pt x="178228" y="178752"/>
                </a:cubicBezTo>
                <a:cubicBezTo>
                  <a:pt x="170921" y="178752"/>
                  <a:pt x="165075" y="183807"/>
                  <a:pt x="165075" y="190307"/>
                </a:cubicBezTo>
                <a:cubicBezTo>
                  <a:pt x="165075" y="197889"/>
                  <a:pt x="169459" y="201500"/>
                  <a:pt x="178228" y="201500"/>
                </a:cubicBezTo>
                <a:cubicBezTo>
                  <a:pt x="195401" y="201500"/>
                  <a:pt x="201247" y="212332"/>
                  <a:pt x="201247" y="222443"/>
                </a:cubicBezTo>
                <a:cubicBezTo>
                  <a:pt x="201247" y="232553"/>
                  <a:pt x="193574" y="240858"/>
                  <a:pt x="182978" y="242663"/>
                </a:cubicBezTo>
                <a:lnTo>
                  <a:pt x="182978" y="247357"/>
                </a:lnTo>
                <a:cubicBezTo>
                  <a:pt x="182978" y="250246"/>
                  <a:pt x="181151" y="252051"/>
                  <a:pt x="178228" y="252051"/>
                </a:cubicBezTo>
                <a:cubicBezTo>
                  <a:pt x="175671" y="252051"/>
                  <a:pt x="173479" y="250246"/>
                  <a:pt x="173479" y="247357"/>
                </a:cubicBezTo>
                <a:lnTo>
                  <a:pt x="173479" y="242663"/>
                </a:lnTo>
                <a:cubicBezTo>
                  <a:pt x="166536" y="241219"/>
                  <a:pt x="159960" y="236525"/>
                  <a:pt x="157402" y="230025"/>
                </a:cubicBezTo>
                <a:cubicBezTo>
                  <a:pt x="156306" y="227859"/>
                  <a:pt x="157402" y="224970"/>
                  <a:pt x="159960" y="223887"/>
                </a:cubicBezTo>
                <a:cubicBezTo>
                  <a:pt x="162152" y="222804"/>
                  <a:pt x="165075" y="223887"/>
                  <a:pt x="166171" y="226414"/>
                </a:cubicBezTo>
                <a:cubicBezTo>
                  <a:pt x="167998" y="230747"/>
                  <a:pt x="173113" y="233997"/>
                  <a:pt x="178594" y="233997"/>
                </a:cubicBezTo>
                <a:cubicBezTo>
                  <a:pt x="185901" y="233997"/>
                  <a:pt x="191747" y="228942"/>
                  <a:pt x="191747" y="222443"/>
                </a:cubicBezTo>
                <a:cubicBezTo>
                  <a:pt x="191747" y="214860"/>
                  <a:pt x="186997" y="210888"/>
                  <a:pt x="178228" y="210888"/>
                </a:cubicBezTo>
                <a:cubicBezTo>
                  <a:pt x="161421" y="210888"/>
                  <a:pt x="155575" y="200056"/>
                  <a:pt x="155575" y="190307"/>
                </a:cubicBezTo>
                <a:cubicBezTo>
                  <a:pt x="155575" y="180196"/>
                  <a:pt x="163248" y="171530"/>
                  <a:pt x="173479" y="169725"/>
                </a:cubicBezTo>
                <a:lnTo>
                  <a:pt x="173479" y="165031"/>
                </a:lnTo>
                <a:cubicBezTo>
                  <a:pt x="173479" y="162504"/>
                  <a:pt x="175671" y="160337"/>
                  <a:pt x="178228" y="160337"/>
                </a:cubicBezTo>
                <a:close/>
                <a:moveTo>
                  <a:pt x="280508" y="144271"/>
                </a:moveTo>
                <a:cubicBezTo>
                  <a:pt x="280508" y="145707"/>
                  <a:pt x="280868" y="146783"/>
                  <a:pt x="281229" y="147860"/>
                </a:cubicBezTo>
                <a:cubicBezTo>
                  <a:pt x="281589" y="147860"/>
                  <a:pt x="281589" y="148219"/>
                  <a:pt x="281589" y="148578"/>
                </a:cubicBezTo>
                <a:cubicBezTo>
                  <a:pt x="281950" y="149296"/>
                  <a:pt x="282310" y="150373"/>
                  <a:pt x="283031" y="151450"/>
                </a:cubicBezTo>
                <a:cubicBezTo>
                  <a:pt x="283031" y="151450"/>
                  <a:pt x="283031" y="151450"/>
                  <a:pt x="283031" y="151809"/>
                </a:cubicBezTo>
                <a:cubicBezTo>
                  <a:pt x="283752" y="152886"/>
                  <a:pt x="284113" y="153604"/>
                  <a:pt x="284834" y="154681"/>
                </a:cubicBezTo>
                <a:cubicBezTo>
                  <a:pt x="285194" y="155040"/>
                  <a:pt x="285194" y="155040"/>
                  <a:pt x="285194" y="155399"/>
                </a:cubicBezTo>
                <a:cubicBezTo>
                  <a:pt x="285915" y="156117"/>
                  <a:pt x="286636" y="156835"/>
                  <a:pt x="287718" y="157912"/>
                </a:cubicBezTo>
                <a:cubicBezTo>
                  <a:pt x="288439" y="158630"/>
                  <a:pt x="289160" y="159707"/>
                  <a:pt x="290241" y="160066"/>
                </a:cubicBezTo>
                <a:cubicBezTo>
                  <a:pt x="290241" y="160425"/>
                  <a:pt x="290602" y="160425"/>
                  <a:pt x="290602" y="160425"/>
                </a:cubicBezTo>
                <a:cubicBezTo>
                  <a:pt x="291683" y="161502"/>
                  <a:pt x="292765" y="162220"/>
                  <a:pt x="293846" y="162579"/>
                </a:cubicBezTo>
                <a:cubicBezTo>
                  <a:pt x="294928" y="163297"/>
                  <a:pt x="296009" y="163656"/>
                  <a:pt x="296730" y="164015"/>
                </a:cubicBezTo>
                <a:cubicBezTo>
                  <a:pt x="297091" y="164015"/>
                  <a:pt x="297451" y="164015"/>
                  <a:pt x="297812" y="164374"/>
                </a:cubicBezTo>
                <a:cubicBezTo>
                  <a:pt x="298893" y="164733"/>
                  <a:pt x="299975" y="165092"/>
                  <a:pt x="301056" y="165092"/>
                </a:cubicBezTo>
                <a:lnTo>
                  <a:pt x="301056" y="144989"/>
                </a:lnTo>
                <a:cubicBezTo>
                  <a:pt x="301056" y="144271"/>
                  <a:pt x="301056" y="144271"/>
                  <a:pt x="300696" y="144271"/>
                </a:cubicBezTo>
                <a:lnTo>
                  <a:pt x="280508" y="144271"/>
                </a:lnTo>
                <a:close/>
                <a:moveTo>
                  <a:pt x="87640" y="144271"/>
                </a:moveTo>
                <a:cubicBezTo>
                  <a:pt x="87640" y="144271"/>
                  <a:pt x="87640" y="144630"/>
                  <a:pt x="87640" y="144989"/>
                </a:cubicBezTo>
                <a:cubicBezTo>
                  <a:pt x="87280" y="146425"/>
                  <a:pt x="87280" y="148219"/>
                  <a:pt x="86559" y="149655"/>
                </a:cubicBezTo>
                <a:lnTo>
                  <a:pt x="86559" y="150014"/>
                </a:lnTo>
                <a:cubicBezTo>
                  <a:pt x="85838" y="151809"/>
                  <a:pt x="85117" y="153245"/>
                  <a:pt x="84396" y="155040"/>
                </a:cubicBezTo>
                <a:cubicBezTo>
                  <a:pt x="84396" y="155040"/>
                  <a:pt x="84396" y="155399"/>
                  <a:pt x="84035" y="155758"/>
                </a:cubicBezTo>
                <a:cubicBezTo>
                  <a:pt x="83314" y="157194"/>
                  <a:pt x="82233" y="158630"/>
                  <a:pt x="81512" y="160066"/>
                </a:cubicBezTo>
                <a:cubicBezTo>
                  <a:pt x="81151" y="160425"/>
                  <a:pt x="81151" y="160425"/>
                  <a:pt x="80791" y="160784"/>
                </a:cubicBezTo>
                <a:cubicBezTo>
                  <a:pt x="78988" y="163656"/>
                  <a:pt x="76465" y="166169"/>
                  <a:pt x="73581" y="167963"/>
                </a:cubicBezTo>
                <a:cubicBezTo>
                  <a:pt x="73220" y="167963"/>
                  <a:pt x="73220" y="168322"/>
                  <a:pt x="72860" y="168681"/>
                </a:cubicBezTo>
                <a:cubicBezTo>
                  <a:pt x="71418" y="169758"/>
                  <a:pt x="69976" y="170476"/>
                  <a:pt x="68534" y="171194"/>
                </a:cubicBezTo>
                <a:cubicBezTo>
                  <a:pt x="68173" y="171194"/>
                  <a:pt x="68173" y="171553"/>
                  <a:pt x="67452" y="171553"/>
                </a:cubicBezTo>
                <a:cubicBezTo>
                  <a:pt x="66010" y="172271"/>
                  <a:pt x="64568" y="172989"/>
                  <a:pt x="62766" y="173707"/>
                </a:cubicBezTo>
                <a:cubicBezTo>
                  <a:pt x="60963" y="174066"/>
                  <a:pt x="59161" y="174425"/>
                  <a:pt x="57358" y="174784"/>
                </a:cubicBezTo>
                <a:cubicBezTo>
                  <a:pt x="57358" y="174784"/>
                  <a:pt x="57358" y="174784"/>
                  <a:pt x="56998" y="174784"/>
                </a:cubicBezTo>
                <a:lnTo>
                  <a:pt x="56998" y="237247"/>
                </a:lnTo>
                <a:cubicBezTo>
                  <a:pt x="57358" y="237247"/>
                  <a:pt x="57358" y="237606"/>
                  <a:pt x="57358" y="237606"/>
                </a:cubicBezTo>
                <a:cubicBezTo>
                  <a:pt x="59161" y="237606"/>
                  <a:pt x="60963" y="238324"/>
                  <a:pt x="62766" y="238683"/>
                </a:cubicBezTo>
                <a:cubicBezTo>
                  <a:pt x="64568" y="239401"/>
                  <a:pt x="66010" y="239760"/>
                  <a:pt x="67452" y="240478"/>
                </a:cubicBezTo>
                <a:cubicBezTo>
                  <a:pt x="68173" y="240837"/>
                  <a:pt x="68173" y="240837"/>
                  <a:pt x="68534" y="240837"/>
                </a:cubicBezTo>
                <a:cubicBezTo>
                  <a:pt x="69976" y="241914"/>
                  <a:pt x="71418" y="242632"/>
                  <a:pt x="72860" y="243709"/>
                </a:cubicBezTo>
                <a:cubicBezTo>
                  <a:pt x="73220" y="243709"/>
                  <a:pt x="73220" y="243709"/>
                  <a:pt x="73581" y="244068"/>
                </a:cubicBezTo>
                <a:cubicBezTo>
                  <a:pt x="76465" y="246222"/>
                  <a:pt x="78988" y="248734"/>
                  <a:pt x="80791" y="251606"/>
                </a:cubicBezTo>
                <a:cubicBezTo>
                  <a:pt x="81151" y="251606"/>
                  <a:pt x="81151" y="251965"/>
                  <a:pt x="81512" y="251965"/>
                </a:cubicBezTo>
                <a:cubicBezTo>
                  <a:pt x="82233" y="253760"/>
                  <a:pt x="83314" y="255196"/>
                  <a:pt x="84035" y="256632"/>
                </a:cubicBezTo>
                <a:cubicBezTo>
                  <a:pt x="84396" y="256632"/>
                  <a:pt x="84396" y="256991"/>
                  <a:pt x="84396" y="257350"/>
                </a:cubicBezTo>
                <a:cubicBezTo>
                  <a:pt x="85117" y="258786"/>
                  <a:pt x="85838" y="260581"/>
                  <a:pt x="86559" y="262376"/>
                </a:cubicBezTo>
                <a:cubicBezTo>
                  <a:pt x="87280" y="264171"/>
                  <a:pt x="87280" y="265966"/>
                  <a:pt x="87640" y="267402"/>
                </a:cubicBezTo>
                <a:cubicBezTo>
                  <a:pt x="87640" y="267761"/>
                  <a:pt x="87640" y="267761"/>
                  <a:pt x="87640" y="268120"/>
                </a:cubicBezTo>
                <a:lnTo>
                  <a:pt x="270774" y="268120"/>
                </a:lnTo>
                <a:cubicBezTo>
                  <a:pt x="270774" y="267761"/>
                  <a:pt x="270774" y="267761"/>
                  <a:pt x="271135" y="267402"/>
                </a:cubicBezTo>
                <a:cubicBezTo>
                  <a:pt x="271135" y="265966"/>
                  <a:pt x="271495" y="264171"/>
                  <a:pt x="272216" y="262376"/>
                </a:cubicBezTo>
                <a:cubicBezTo>
                  <a:pt x="272577" y="260940"/>
                  <a:pt x="273298" y="259145"/>
                  <a:pt x="274019" y="257709"/>
                </a:cubicBezTo>
                <a:cubicBezTo>
                  <a:pt x="274379" y="257350"/>
                  <a:pt x="274379" y="256991"/>
                  <a:pt x="274379" y="256632"/>
                </a:cubicBezTo>
                <a:cubicBezTo>
                  <a:pt x="275100" y="255196"/>
                  <a:pt x="276182" y="253760"/>
                  <a:pt x="276903" y="252324"/>
                </a:cubicBezTo>
                <a:cubicBezTo>
                  <a:pt x="277263" y="251965"/>
                  <a:pt x="277263" y="251965"/>
                  <a:pt x="277624" y="251606"/>
                </a:cubicBezTo>
                <a:cubicBezTo>
                  <a:pt x="278705" y="250170"/>
                  <a:pt x="279787" y="248734"/>
                  <a:pt x="280868" y="247658"/>
                </a:cubicBezTo>
                <a:cubicBezTo>
                  <a:pt x="281950" y="246581"/>
                  <a:pt x="283392" y="245145"/>
                  <a:pt x="284834" y="244427"/>
                </a:cubicBezTo>
                <a:cubicBezTo>
                  <a:pt x="285194" y="244068"/>
                  <a:pt x="285194" y="244068"/>
                  <a:pt x="285555" y="243709"/>
                </a:cubicBezTo>
                <a:cubicBezTo>
                  <a:pt x="286997" y="242991"/>
                  <a:pt x="288078" y="241914"/>
                  <a:pt x="289520" y="241196"/>
                </a:cubicBezTo>
                <a:cubicBezTo>
                  <a:pt x="290241" y="241196"/>
                  <a:pt x="290241" y="240837"/>
                  <a:pt x="290602" y="240837"/>
                </a:cubicBezTo>
                <a:cubicBezTo>
                  <a:pt x="292404" y="240119"/>
                  <a:pt x="293846" y="239401"/>
                  <a:pt x="295288" y="238683"/>
                </a:cubicBezTo>
                <a:lnTo>
                  <a:pt x="295649" y="238683"/>
                </a:lnTo>
                <a:cubicBezTo>
                  <a:pt x="297091" y="238324"/>
                  <a:pt x="298893" y="237606"/>
                  <a:pt x="300696" y="237606"/>
                </a:cubicBezTo>
                <a:cubicBezTo>
                  <a:pt x="300696" y="237606"/>
                  <a:pt x="301056" y="237606"/>
                  <a:pt x="301056" y="237247"/>
                </a:cubicBezTo>
                <a:lnTo>
                  <a:pt x="301056" y="174784"/>
                </a:lnTo>
                <a:lnTo>
                  <a:pt x="300696" y="174784"/>
                </a:lnTo>
                <a:cubicBezTo>
                  <a:pt x="298893" y="174425"/>
                  <a:pt x="297091" y="174066"/>
                  <a:pt x="295649" y="173348"/>
                </a:cubicBezTo>
                <a:lnTo>
                  <a:pt x="295288" y="173348"/>
                </a:lnTo>
                <a:cubicBezTo>
                  <a:pt x="293846" y="172630"/>
                  <a:pt x="292404" y="172271"/>
                  <a:pt x="290602" y="171553"/>
                </a:cubicBezTo>
                <a:cubicBezTo>
                  <a:pt x="290241" y="171194"/>
                  <a:pt x="290241" y="171194"/>
                  <a:pt x="289520" y="171194"/>
                </a:cubicBezTo>
                <a:cubicBezTo>
                  <a:pt x="288078" y="170476"/>
                  <a:pt x="286997" y="169399"/>
                  <a:pt x="285555" y="168322"/>
                </a:cubicBezTo>
                <a:cubicBezTo>
                  <a:pt x="285194" y="167963"/>
                  <a:pt x="285194" y="167963"/>
                  <a:pt x="284834" y="167963"/>
                </a:cubicBezTo>
                <a:cubicBezTo>
                  <a:pt x="283392" y="166886"/>
                  <a:pt x="281950" y="165810"/>
                  <a:pt x="280868" y="164733"/>
                </a:cubicBezTo>
                <a:cubicBezTo>
                  <a:pt x="279787" y="163297"/>
                  <a:pt x="278705" y="162220"/>
                  <a:pt x="277624" y="160425"/>
                </a:cubicBezTo>
                <a:cubicBezTo>
                  <a:pt x="277263" y="160425"/>
                  <a:pt x="277263" y="160066"/>
                  <a:pt x="276903" y="159707"/>
                </a:cubicBezTo>
                <a:cubicBezTo>
                  <a:pt x="276182" y="158630"/>
                  <a:pt x="275100" y="156835"/>
                  <a:pt x="274379" y="155399"/>
                </a:cubicBezTo>
                <a:cubicBezTo>
                  <a:pt x="274379" y="155399"/>
                  <a:pt x="274379" y="155040"/>
                  <a:pt x="274019" y="154681"/>
                </a:cubicBezTo>
                <a:cubicBezTo>
                  <a:pt x="273298" y="153245"/>
                  <a:pt x="272577" y="151450"/>
                  <a:pt x="272216" y="149655"/>
                </a:cubicBezTo>
                <a:cubicBezTo>
                  <a:pt x="271495" y="148219"/>
                  <a:pt x="271135" y="146425"/>
                  <a:pt x="271135" y="144989"/>
                </a:cubicBezTo>
                <a:cubicBezTo>
                  <a:pt x="270774" y="144630"/>
                  <a:pt x="270774" y="144271"/>
                  <a:pt x="270774" y="144271"/>
                </a:cubicBezTo>
                <a:lnTo>
                  <a:pt x="87640" y="144271"/>
                </a:lnTo>
                <a:close/>
                <a:moveTo>
                  <a:pt x="57358" y="144271"/>
                </a:moveTo>
                <a:cubicBezTo>
                  <a:pt x="57358" y="144271"/>
                  <a:pt x="56998" y="144271"/>
                  <a:pt x="56998" y="144989"/>
                </a:cubicBezTo>
                <a:lnTo>
                  <a:pt x="56998" y="165451"/>
                </a:lnTo>
                <a:cubicBezTo>
                  <a:pt x="56998" y="165451"/>
                  <a:pt x="56998" y="165451"/>
                  <a:pt x="57358" y="165451"/>
                </a:cubicBezTo>
                <a:cubicBezTo>
                  <a:pt x="58440" y="165092"/>
                  <a:pt x="59521" y="164733"/>
                  <a:pt x="60603" y="164374"/>
                </a:cubicBezTo>
                <a:cubicBezTo>
                  <a:pt x="60963" y="164374"/>
                  <a:pt x="60963" y="164374"/>
                  <a:pt x="61324" y="164015"/>
                </a:cubicBezTo>
                <a:cubicBezTo>
                  <a:pt x="62405" y="163656"/>
                  <a:pt x="63487" y="163297"/>
                  <a:pt x="64208" y="162938"/>
                </a:cubicBezTo>
                <a:cubicBezTo>
                  <a:pt x="64568" y="162938"/>
                  <a:pt x="64568" y="162579"/>
                  <a:pt x="64568" y="162579"/>
                </a:cubicBezTo>
                <a:cubicBezTo>
                  <a:pt x="65650" y="162220"/>
                  <a:pt x="66731" y="161502"/>
                  <a:pt x="67452" y="160784"/>
                </a:cubicBezTo>
                <a:cubicBezTo>
                  <a:pt x="67813" y="160784"/>
                  <a:pt x="68173" y="160425"/>
                  <a:pt x="68173" y="160425"/>
                </a:cubicBezTo>
                <a:cubicBezTo>
                  <a:pt x="69255" y="159707"/>
                  <a:pt x="69976" y="158989"/>
                  <a:pt x="71057" y="157912"/>
                </a:cubicBezTo>
                <a:cubicBezTo>
                  <a:pt x="71778" y="157194"/>
                  <a:pt x="72499" y="156476"/>
                  <a:pt x="73220" y="155399"/>
                </a:cubicBezTo>
                <a:lnTo>
                  <a:pt x="73581" y="155040"/>
                </a:lnTo>
                <a:cubicBezTo>
                  <a:pt x="74302" y="153963"/>
                  <a:pt x="75023" y="152886"/>
                  <a:pt x="75744" y="152168"/>
                </a:cubicBezTo>
                <a:cubicBezTo>
                  <a:pt x="75744" y="151809"/>
                  <a:pt x="75744" y="151450"/>
                  <a:pt x="75744" y="151450"/>
                </a:cubicBezTo>
                <a:cubicBezTo>
                  <a:pt x="76465" y="150373"/>
                  <a:pt x="76825" y="149655"/>
                  <a:pt x="76825" y="148578"/>
                </a:cubicBezTo>
                <a:cubicBezTo>
                  <a:pt x="77186" y="148578"/>
                  <a:pt x="77186" y="148219"/>
                  <a:pt x="77186" y="147860"/>
                </a:cubicBezTo>
                <a:cubicBezTo>
                  <a:pt x="77546" y="146783"/>
                  <a:pt x="77907" y="145707"/>
                  <a:pt x="78267" y="144271"/>
                </a:cubicBezTo>
                <a:lnTo>
                  <a:pt x="57358" y="144271"/>
                </a:lnTo>
                <a:close/>
                <a:moveTo>
                  <a:pt x="57358" y="134937"/>
                </a:moveTo>
                <a:lnTo>
                  <a:pt x="83314" y="134937"/>
                </a:lnTo>
                <a:lnTo>
                  <a:pt x="275100" y="134937"/>
                </a:lnTo>
                <a:lnTo>
                  <a:pt x="300696" y="134937"/>
                </a:lnTo>
                <a:cubicBezTo>
                  <a:pt x="306103" y="134937"/>
                  <a:pt x="310790" y="139245"/>
                  <a:pt x="310790" y="144989"/>
                </a:cubicBezTo>
                <a:lnTo>
                  <a:pt x="310790" y="170476"/>
                </a:lnTo>
                <a:lnTo>
                  <a:pt x="310790" y="241914"/>
                </a:lnTo>
                <a:lnTo>
                  <a:pt x="310790" y="267402"/>
                </a:lnTo>
                <a:cubicBezTo>
                  <a:pt x="310790" y="272786"/>
                  <a:pt x="306103" y="277453"/>
                  <a:pt x="300696" y="277453"/>
                </a:cubicBezTo>
                <a:lnTo>
                  <a:pt x="275100" y="277453"/>
                </a:lnTo>
                <a:lnTo>
                  <a:pt x="83314" y="277453"/>
                </a:lnTo>
                <a:lnTo>
                  <a:pt x="57358" y="277453"/>
                </a:lnTo>
                <a:cubicBezTo>
                  <a:pt x="51951" y="277453"/>
                  <a:pt x="47625" y="272786"/>
                  <a:pt x="47625" y="267402"/>
                </a:cubicBezTo>
                <a:lnTo>
                  <a:pt x="47625" y="241914"/>
                </a:lnTo>
                <a:lnTo>
                  <a:pt x="47625" y="170476"/>
                </a:lnTo>
                <a:lnTo>
                  <a:pt x="47625" y="144989"/>
                </a:lnTo>
                <a:cubicBezTo>
                  <a:pt x="47625" y="139245"/>
                  <a:pt x="51951" y="134937"/>
                  <a:pt x="57358" y="134937"/>
                </a:cubicBezTo>
                <a:close/>
                <a:moveTo>
                  <a:pt x="234648" y="92075"/>
                </a:moveTo>
                <a:cubicBezTo>
                  <a:pt x="237180" y="92075"/>
                  <a:pt x="239351" y="94245"/>
                  <a:pt x="239351" y="96777"/>
                </a:cubicBezTo>
                <a:lnTo>
                  <a:pt x="239351" y="115948"/>
                </a:lnTo>
                <a:cubicBezTo>
                  <a:pt x="239351" y="118480"/>
                  <a:pt x="237180" y="120288"/>
                  <a:pt x="234648" y="120288"/>
                </a:cubicBezTo>
                <a:lnTo>
                  <a:pt x="215839" y="120288"/>
                </a:lnTo>
                <a:cubicBezTo>
                  <a:pt x="213308" y="120288"/>
                  <a:pt x="211137" y="118480"/>
                  <a:pt x="211137" y="115948"/>
                </a:cubicBezTo>
                <a:cubicBezTo>
                  <a:pt x="211137" y="113054"/>
                  <a:pt x="213308" y="111246"/>
                  <a:pt x="215839" y="111246"/>
                </a:cubicBezTo>
                <a:lnTo>
                  <a:pt x="229946" y="111246"/>
                </a:lnTo>
                <a:lnTo>
                  <a:pt x="229946" y="96777"/>
                </a:lnTo>
                <a:cubicBezTo>
                  <a:pt x="229946" y="94245"/>
                  <a:pt x="232116" y="92075"/>
                  <a:pt x="234648" y="92075"/>
                </a:cubicBezTo>
                <a:close/>
                <a:moveTo>
                  <a:pt x="28514" y="92075"/>
                </a:moveTo>
                <a:cubicBezTo>
                  <a:pt x="31046" y="92075"/>
                  <a:pt x="33216" y="94245"/>
                  <a:pt x="33216" y="96777"/>
                </a:cubicBezTo>
                <a:lnTo>
                  <a:pt x="33216" y="110884"/>
                </a:lnTo>
                <a:lnTo>
                  <a:pt x="47323" y="110884"/>
                </a:lnTo>
                <a:cubicBezTo>
                  <a:pt x="49855" y="110884"/>
                  <a:pt x="52025" y="113054"/>
                  <a:pt x="52025" y="115586"/>
                </a:cubicBezTo>
                <a:cubicBezTo>
                  <a:pt x="52025" y="118480"/>
                  <a:pt x="49855" y="120288"/>
                  <a:pt x="47323" y="120288"/>
                </a:cubicBezTo>
                <a:lnTo>
                  <a:pt x="28514" y="120288"/>
                </a:lnTo>
                <a:cubicBezTo>
                  <a:pt x="25982" y="120288"/>
                  <a:pt x="23812" y="118480"/>
                  <a:pt x="23812" y="115586"/>
                </a:cubicBezTo>
                <a:lnTo>
                  <a:pt x="23812" y="96777"/>
                </a:lnTo>
                <a:cubicBezTo>
                  <a:pt x="23812" y="94245"/>
                  <a:pt x="25982" y="92075"/>
                  <a:pt x="28514" y="92075"/>
                </a:cubicBezTo>
                <a:close/>
                <a:moveTo>
                  <a:pt x="136715" y="28575"/>
                </a:moveTo>
                <a:cubicBezTo>
                  <a:pt x="143217" y="28575"/>
                  <a:pt x="150081" y="31445"/>
                  <a:pt x="155499" y="36466"/>
                </a:cubicBezTo>
                <a:cubicBezTo>
                  <a:pt x="157305" y="38259"/>
                  <a:pt x="157305" y="41129"/>
                  <a:pt x="155499" y="42922"/>
                </a:cubicBezTo>
                <a:cubicBezTo>
                  <a:pt x="154054" y="45074"/>
                  <a:pt x="151164" y="45074"/>
                  <a:pt x="148997" y="43281"/>
                </a:cubicBezTo>
                <a:cubicBezTo>
                  <a:pt x="145385" y="40053"/>
                  <a:pt x="140689" y="37901"/>
                  <a:pt x="136715" y="37901"/>
                </a:cubicBezTo>
                <a:cubicBezTo>
                  <a:pt x="128768" y="37901"/>
                  <a:pt x="121544" y="43281"/>
                  <a:pt x="117570" y="51889"/>
                </a:cubicBezTo>
                <a:lnTo>
                  <a:pt x="136715" y="51889"/>
                </a:lnTo>
                <a:cubicBezTo>
                  <a:pt x="139244" y="51889"/>
                  <a:pt x="141411" y="54041"/>
                  <a:pt x="141411" y="56552"/>
                </a:cubicBezTo>
                <a:cubicBezTo>
                  <a:pt x="141411" y="59063"/>
                  <a:pt x="139244" y="61215"/>
                  <a:pt x="136715" y="61215"/>
                </a:cubicBezTo>
                <a:lnTo>
                  <a:pt x="114319" y="61215"/>
                </a:lnTo>
                <a:cubicBezTo>
                  <a:pt x="113597" y="64443"/>
                  <a:pt x="113236" y="67671"/>
                  <a:pt x="113236" y="71258"/>
                </a:cubicBezTo>
                <a:cubicBezTo>
                  <a:pt x="113236" y="74845"/>
                  <a:pt x="113597" y="78073"/>
                  <a:pt x="114319" y="81301"/>
                </a:cubicBezTo>
                <a:lnTo>
                  <a:pt x="136715" y="81301"/>
                </a:lnTo>
                <a:cubicBezTo>
                  <a:pt x="139244" y="81301"/>
                  <a:pt x="141411" y="83095"/>
                  <a:pt x="141411" y="85964"/>
                </a:cubicBezTo>
                <a:cubicBezTo>
                  <a:pt x="141411" y="88475"/>
                  <a:pt x="139244" y="90268"/>
                  <a:pt x="136715" y="90268"/>
                </a:cubicBezTo>
                <a:lnTo>
                  <a:pt x="117570" y="90268"/>
                </a:lnTo>
                <a:cubicBezTo>
                  <a:pt x="121544" y="98877"/>
                  <a:pt x="128768" y="104257"/>
                  <a:pt x="136715" y="104257"/>
                </a:cubicBezTo>
                <a:cubicBezTo>
                  <a:pt x="141411" y="104257"/>
                  <a:pt x="146107" y="102105"/>
                  <a:pt x="149720" y="98518"/>
                </a:cubicBezTo>
                <a:cubicBezTo>
                  <a:pt x="151526" y="96725"/>
                  <a:pt x="154777" y="96725"/>
                  <a:pt x="156222" y="98518"/>
                </a:cubicBezTo>
                <a:cubicBezTo>
                  <a:pt x="158389" y="100311"/>
                  <a:pt x="158389" y="103181"/>
                  <a:pt x="156583" y="104974"/>
                </a:cubicBezTo>
                <a:cubicBezTo>
                  <a:pt x="150442" y="110713"/>
                  <a:pt x="143940" y="113941"/>
                  <a:pt x="136715" y="113941"/>
                </a:cubicBezTo>
                <a:cubicBezTo>
                  <a:pt x="124072" y="113941"/>
                  <a:pt x="112874" y="104257"/>
                  <a:pt x="107456" y="90268"/>
                </a:cubicBezTo>
                <a:lnTo>
                  <a:pt x="102760" y="90268"/>
                </a:lnTo>
                <a:cubicBezTo>
                  <a:pt x="100231" y="90268"/>
                  <a:pt x="98425" y="88475"/>
                  <a:pt x="98425" y="85964"/>
                </a:cubicBezTo>
                <a:cubicBezTo>
                  <a:pt x="98425" y="83095"/>
                  <a:pt x="100231" y="81301"/>
                  <a:pt x="102760" y="81301"/>
                </a:cubicBezTo>
                <a:lnTo>
                  <a:pt x="104927" y="81301"/>
                </a:lnTo>
                <a:cubicBezTo>
                  <a:pt x="104205" y="78073"/>
                  <a:pt x="103844" y="74845"/>
                  <a:pt x="103844" y="71258"/>
                </a:cubicBezTo>
                <a:cubicBezTo>
                  <a:pt x="103844" y="67671"/>
                  <a:pt x="104205" y="64443"/>
                  <a:pt x="104927" y="61215"/>
                </a:cubicBezTo>
                <a:lnTo>
                  <a:pt x="102760" y="61215"/>
                </a:lnTo>
                <a:cubicBezTo>
                  <a:pt x="100231" y="61215"/>
                  <a:pt x="98425" y="59063"/>
                  <a:pt x="98425" y="56552"/>
                </a:cubicBezTo>
                <a:cubicBezTo>
                  <a:pt x="98425" y="54041"/>
                  <a:pt x="100231" y="51889"/>
                  <a:pt x="102760" y="51889"/>
                </a:cubicBezTo>
                <a:lnTo>
                  <a:pt x="107456" y="51889"/>
                </a:lnTo>
                <a:cubicBezTo>
                  <a:pt x="112874" y="38259"/>
                  <a:pt x="124072" y="28575"/>
                  <a:pt x="136715" y="28575"/>
                </a:cubicBezTo>
                <a:close/>
                <a:moveTo>
                  <a:pt x="170493" y="25612"/>
                </a:moveTo>
                <a:cubicBezTo>
                  <a:pt x="172342" y="23812"/>
                  <a:pt x="175669" y="24172"/>
                  <a:pt x="177148" y="25972"/>
                </a:cubicBezTo>
                <a:cubicBezTo>
                  <a:pt x="188608" y="38932"/>
                  <a:pt x="194893" y="55131"/>
                  <a:pt x="194893" y="72411"/>
                </a:cubicBezTo>
                <a:cubicBezTo>
                  <a:pt x="194893" y="89331"/>
                  <a:pt x="188608" y="105890"/>
                  <a:pt x="177148" y="118850"/>
                </a:cubicBezTo>
                <a:cubicBezTo>
                  <a:pt x="176039" y="119930"/>
                  <a:pt x="174930" y="120290"/>
                  <a:pt x="173451" y="120290"/>
                </a:cubicBezTo>
                <a:cubicBezTo>
                  <a:pt x="172342" y="120290"/>
                  <a:pt x="171233" y="119930"/>
                  <a:pt x="170493" y="119570"/>
                </a:cubicBezTo>
                <a:cubicBezTo>
                  <a:pt x="168275" y="117770"/>
                  <a:pt x="168275" y="114890"/>
                  <a:pt x="169754" y="112730"/>
                </a:cubicBezTo>
                <a:cubicBezTo>
                  <a:pt x="179735" y="101570"/>
                  <a:pt x="185281" y="87171"/>
                  <a:pt x="185281" y="72411"/>
                </a:cubicBezTo>
                <a:cubicBezTo>
                  <a:pt x="185281" y="57651"/>
                  <a:pt x="179735" y="43252"/>
                  <a:pt x="169754" y="32092"/>
                </a:cubicBezTo>
                <a:cubicBezTo>
                  <a:pt x="168275" y="30292"/>
                  <a:pt x="168275" y="27052"/>
                  <a:pt x="170493" y="25612"/>
                </a:cubicBezTo>
                <a:close/>
                <a:moveTo>
                  <a:pt x="93879" y="25612"/>
                </a:moveTo>
                <a:cubicBezTo>
                  <a:pt x="96097" y="27052"/>
                  <a:pt x="96467" y="30292"/>
                  <a:pt x="94619" y="32092"/>
                </a:cubicBezTo>
                <a:cubicBezTo>
                  <a:pt x="85007" y="43252"/>
                  <a:pt x="79462" y="57651"/>
                  <a:pt x="79462" y="72411"/>
                </a:cubicBezTo>
                <a:cubicBezTo>
                  <a:pt x="79462" y="87171"/>
                  <a:pt x="85007" y="101570"/>
                  <a:pt x="94619" y="112730"/>
                </a:cubicBezTo>
                <a:cubicBezTo>
                  <a:pt x="96467" y="114530"/>
                  <a:pt x="96097" y="117410"/>
                  <a:pt x="93879" y="119210"/>
                </a:cubicBezTo>
                <a:cubicBezTo>
                  <a:pt x="93140" y="119930"/>
                  <a:pt x="92031" y="120290"/>
                  <a:pt x="90922" y="120290"/>
                </a:cubicBezTo>
                <a:cubicBezTo>
                  <a:pt x="89813" y="120290"/>
                  <a:pt x="88334" y="119930"/>
                  <a:pt x="87225" y="118850"/>
                </a:cubicBezTo>
                <a:cubicBezTo>
                  <a:pt x="76134" y="105890"/>
                  <a:pt x="69850" y="89331"/>
                  <a:pt x="69850" y="72411"/>
                </a:cubicBezTo>
                <a:cubicBezTo>
                  <a:pt x="69850" y="55131"/>
                  <a:pt x="76134" y="38932"/>
                  <a:pt x="87225" y="25972"/>
                </a:cubicBezTo>
                <a:cubicBezTo>
                  <a:pt x="89073" y="24172"/>
                  <a:pt x="92031" y="23812"/>
                  <a:pt x="93879" y="25612"/>
                </a:cubicBezTo>
                <a:close/>
                <a:moveTo>
                  <a:pt x="215839" y="23812"/>
                </a:moveTo>
                <a:lnTo>
                  <a:pt x="234648" y="23812"/>
                </a:lnTo>
                <a:cubicBezTo>
                  <a:pt x="237180" y="23812"/>
                  <a:pt x="239351" y="25955"/>
                  <a:pt x="239351" y="28813"/>
                </a:cubicBezTo>
                <a:lnTo>
                  <a:pt x="239351" y="47386"/>
                </a:lnTo>
                <a:cubicBezTo>
                  <a:pt x="239351" y="49887"/>
                  <a:pt x="237180" y="52030"/>
                  <a:pt x="234648" y="52030"/>
                </a:cubicBezTo>
                <a:cubicBezTo>
                  <a:pt x="232116" y="52030"/>
                  <a:pt x="229946" y="49887"/>
                  <a:pt x="229946" y="47386"/>
                </a:cubicBezTo>
                <a:lnTo>
                  <a:pt x="229946" y="33456"/>
                </a:lnTo>
                <a:lnTo>
                  <a:pt x="215839" y="33456"/>
                </a:lnTo>
                <a:cubicBezTo>
                  <a:pt x="213308" y="33456"/>
                  <a:pt x="211137" y="31313"/>
                  <a:pt x="211137" y="28813"/>
                </a:cubicBezTo>
                <a:cubicBezTo>
                  <a:pt x="211137" y="25955"/>
                  <a:pt x="213308" y="23812"/>
                  <a:pt x="215839" y="23812"/>
                </a:cubicBezTo>
                <a:close/>
                <a:moveTo>
                  <a:pt x="28514" y="23812"/>
                </a:moveTo>
                <a:lnTo>
                  <a:pt x="47323" y="23812"/>
                </a:lnTo>
                <a:cubicBezTo>
                  <a:pt x="49855" y="23812"/>
                  <a:pt x="52025" y="25955"/>
                  <a:pt x="52025" y="28813"/>
                </a:cubicBezTo>
                <a:cubicBezTo>
                  <a:pt x="52025" y="31313"/>
                  <a:pt x="49855" y="33456"/>
                  <a:pt x="47323" y="33456"/>
                </a:cubicBezTo>
                <a:lnTo>
                  <a:pt x="33216" y="33456"/>
                </a:lnTo>
                <a:lnTo>
                  <a:pt x="33216" y="47386"/>
                </a:lnTo>
                <a:cubicBezTo>
                  <a:pt x="33216" y="49887"/>
                  <a:pt x="31046" y="52030"/>
                  <a:pt x="28514" y="52030"/>
                </a:cubicBezTo>
                <a:cubicBezTo>
                  <a:pt x="25982" y="52030"/>
                  <a:pt x="23812" y="49887"/>
                  <a:pt x="23812" y="47386"/>
                </a:cubicBezTo>
                <a:lnTo>
                  <a:pt x="23812" y="28813"/>
                </a:lnTo>
                <a:cubicBezTo>
                  <a:pt x="23812" y="25955"/>
                  <a:pt x="25982" y="23812"/>
                  <a:pt x="28514" y="23812"/>
                </a:cubicBezTo>
                <a:close/>
                <a:moveTo>
                  <a:pt x="13717" y="0"/>
                </a:moveTo>
                <a:lnTo>
                  <a:pt x="249086" y="0"/>
                </a:lnTo>
                <a:cubicBezTo>
                  <a:pt x="256666" y="0"/>
                  <a:pt x="263164" y="6103"/>
                  <a:pt x="263164" y="13641"/>
                </a:cubicBezTo>
                <a:lnTo>
                  <a:pt x="263164" y="114515"/>
                </a:lnTo>
                <a:cubicBezTo>
                  <a:pt x="263164" y="117028"/>
                  <a:pt x="260998" y="118823"/>
                  <a:pt x="258471" y="118823"/>
                </a:cubicBezTo>
                <a:cubicBezTo>
                  <a:pt x="255944" y="118823"/>
                  <a:pt x="253778" y="117028"/>
                  <a:pt x="253778" y="114515"/>
                </a:cubicBezTo>
                <a:lnTo>
                  <a:pt x="253778" y="13641"/>
                </a:lnTo>
                <a:cubicBezTo>
                  <a:pt x="253778" y="11128"/>
                  <a:pt x="251612" y="8974"/>
                  <a:pt x="249086" y="8974"/>
                </a:cubicBezTo>
                <a:lnTo>
                  <a:pt x="13717" y="8974"/>
                </a:lnTo>
                <a:cubicBezTo>
                  <a:pt x="11191" y="8974"/>
                  <a:pt x="9025" y="11128"/>
                  <a:pt x="9025" y="13641"/>
                </a:cubicBezTo>
                <a:lnTo>
                  <a:pt x="9025" y="128157"/>
                </a:lnTo>
                <a:cubicBezTo>
                  <a:pt x="9025" y="130670"/>
                  <a:pt x="11191" y="132824"/>
                  <a:pt x="13717" y="132824"/>
                </a:cubicBezTo>
                <a:lnTo>
                  <a:pt x="28157" y="132824"/>
                </a:lnTo>
                <a:cubicBezTo>
                  <a:pt x="31045" y="132824"/>
                  <a:pt x="33211" y="134977"/>
                  <a:pt x="33211" y="137849"/>
                </a:cubicBezTo>
                <a:cubicBezTo>
                  <a:pt x="33211" y="140362"/>
                  <a:pt x="31045" y="142516"/>
                  <a:pt x="28157" y="142516"/>
                </a:cubicBezTo>
                <a:lnTo>
                  <a:pt x="13717" y="142516"/>
                </a:lnTo>
                <a:cubicBezTo>
                  <a:pt x="6137" y="142516"/>
                  <a:pt x="0" y="136054"/>
                  <a:pt x="0" y="128157"/>
                </a:cubicBezTo>
                <a:lnTo>
                  <a:pt x="0" y="13641"/>
                </a:lnTo>
                <a:cubicBezTo>
                  <a:pt x="0" y="6103"/>
                  <a:pt x="6137" y="0"/>
                  <a:pt x="13717" y="0"/>
                </a:cubicBezTo>
                <a:close/>
              </a:path>
            </a:pathLst>
          </a:custGeom>
          <a:solidFill>
            <a:schemeClr val="accent1"/>
          </a:solidFill>
          <a:ln>
            <a:noFill/>
          </a:ln>
          <a:effectLst/>
        </p:spPr>
        <p:txBody>
          <a:bodyPr anchor="ctr"/>
          <a:lstStyle/>
          <a:p>
            <a:endParaRPr lang="en-US" sz="900"/>
          </a:p>
        </p:txBody>
      </p:sp>
      <p:sp>
        <p:nvSpPr>
          <p:cNvPr id="16" name="Freeform 689">
            <a:extLst>
              <a:ext uri="{FF2B5EF4-FFF2-40B4-BE49-F238E27FC236}">
                <a16:creationId xmlns:a16="http://schemas.microsoft.com/office/drawing/2014/main" id="{073E4344-0AD2-8E9E-113D-018C85A9FD5F}"/>
              </a:ext>
            </a:extLst>
          </p:cNvPr>
          <p:cNvSpPr>
            <a:spLocks noChangeArrowheads="1"/>
          </p:cNvSpPr>
          <p:nvPr userDrawn="1"/>
        </p:nvSpPr>
        <p:spPr bwMode="auto">
          <a:xfrm>
            <a:off x="3924619" y="4190855"/>
            <a:ext cx="489799" cy="542376"/>
          </a:xfrm>
          <a:custGeom>
            <a:avLst/>
            <a:gdLst/>
            <a:ahLst/>
            <a:cxnLst/>
            <a:rect l="0" t="0" r="r" b="b"/>
            <a:pathLst>
              <a:path w="280628" h="310444">
                <a:moveTo>
                  <a:pt x="153811" y="256829"/>
                </a:moveTo>
                <a:cubicBezTo>
                  <a:pt x="156280" y="256829"/>
                  <a:pt x="158397" y="258946"/>
                  <a:pt x="158397" y="261415"/>
                </a:cubicBezTo>
                <a:cubicBezTo>
                  <a:pt x="158397" y="263885"/>
                  <a:pt x="156280" y="266001"/>
                  <a:pt x="153811" y="266001"/>
                </a:cubicBezTo>
                <a:cubicBezTo>
                  <a:pt x="151341" y="266001"/>
                  <a:pt x="149225" y="263885"/>
                  <a:pt x="149225" y="261415"/>
                </a:cubicBezTo>
                <a:cubicBezTo>
                  <a:pt x="149225" y="258946"/>
                  <a:pt x="151341" y="256829"/>
                  <a:pt x="153811" y="256829"/>
                </a:cubicBezTo>
                <a:close/>
                <a:moveTo>
                  <a:pt x="126634" y="256829"/>
                </a:moveTo>
                <a:cubicBezTo>
                  <a:pt x="129565" y="256829"/>
                  <a:pt x="131396" y="258946"/>
                  <a:pt x="131396" y="261415"/>
                </a:cubicBezTo>
                <a:cubicBezTo>
                  <a:pt x="131396" y="263885"/>
                  <a:pt x="129565" y="266001"/>
                  <a:pt x="126634" y="266001"/>
                </a:cubicBezTo>
                <a:cubicBezTo>
                  <a:pt x="124069" y="266001"/>
                  <a:pt x="122238" y="263885"/>
                  <a:pt x="122238" y="261415"/>
                </a:cubicBezTo>
                <a:cubicBezTo>
                  <a:pt x="122238" y="258946"/>
                  <a:pt x="124069" y="256829"/>
                  <a:pt x="126634" y="256829"/>
                </a:cubicBezTo>
                <a:close/>
                <a:moveTo>
                  <a:pt x="168099" y="234604"/>
                </a:moveTo>
                <a:cubicBezTo>
                  <a:pt x="170568" y="234604"/>
                  <a:pt x="172685" y="236368"/>
                  <a:pt x="172685" y="239190"/>
                </a:cubicBezTo>
                <a:cubicBezTo>
                  <a:pt x="172685" y="241660"/>
                  <a:pt x="170568" y="243776"/>
                  <a:pt x="168099" y="243776"/>
                </a:cubicBezTo>
                <a:cubicBezTo>
                  <a:pt x="165629" y="243776"/>
                  <a:pt x="163513" y="241660"/>
                  <a:pt x="163513" y="239190"/>
                </a:cubicBezTo>
                <a:cubicBezTo>
                  <a:pt x="163513" y="236368"/>
                  <a:pt x="165629" y="234604"/>
                  <a:pt x="168099" y="234604"/>
                </a:cubicBezTo>
                <a:close/>
                <a:moveTo>
                  <a:pt x="139700" y="234604"/>
                </a:moveTo>
                <a:cubicBezTo>
                  <a:pt x="142082" y="234604"/>
                  <a:pt x="144123" y="236368"/>
                  <a:pt x="144123" y="239190"/>
                </a:cubicBezTo>
                <a:cubicBezTo>
                  <a:pt x="144123" y="241660"/>
                  <a:pt x="142082" y="243776"/>
                  <a:pt x="139700" y="243776"/>
                </a:cubicBezTo>
                <a:cubicBezTo>
                  <a:pt x="136979" y="243776"/>
                  <a:pt x="134938" y="241660"/>
                  <a:pt x="134938" y="239190"/>
                </a:cubicBezTo>
                <a:cubicBezTo>
                  <a:pt x="134938" y="236368"/>
                  <a:pt x="136979" y="234604"/>
                  <a:pt x="139700" y="234604"/>
                </a:cubicBezTo>
                <a:close/>
                <a:moveTo>
                  <a:pt x="112536" y="234604"/>
                </a:moveTo>
                <a:cubicBezTo>
                  <a:pt x="115005" y="234604"/>
                  <a:pt x="117122" y="236368"/>
                  <a:pt x="117122" y="239190"/>
                </a:cubicBezTo>
                <a:cubicBezTo>
                  <a:pt x="117122" y="241660"/>
                  <a:pt x="115005" y="243776"/>
                  <a:pt x="112536" y="243776"/>
                </a:cubicBezTo>
                <a:cubicBezTo>
                  <a:pt x="110066" y="243776"/>
                  <a:pt x="107950" y="241660"/>
                  <a:pt x="107950" y="239190"/>
                </a:cubicBezTo>
                <a:cubicBezTo>
                  <a:pt x="107950" y="236368"/>
                  <a:pt x="110066" y="234604"/>
                  <a:pt x="112536" y="234604"/>
                </a:cubicBezTo>
                <a:close/>
                <a:moveTo>
                  <a:pt x="182386" y="210792"/>
                </a:moveTo>
                <a:cubicBezTo>
                  <a:pt x="184855" y="210792"/>
                  <a:pt x="186972" y="212909"/>
                  <a:pt x="186972" y="215731"/>
                </a:cubicBezTo>
                <a:cubicBezTo>
                  <a:pt x="186972" y="218200"/>
                  <a:pt x="184855" y="219964"/>
                  <a:pt x="182386" y="219964"/>
                </a:cubicBezTo>
                <a:cubicBezTo>
                  <a:pt x="179916" y="219964"/>
                  <a:pt x="177800" y="218200"/>
                  <a:pt x="177800" y="215731"/>
                </a:cubicBezTo>
                <a:cubicBezTo>
                  <a:pt x="177800" y="212909"/>
                  <a:pt x="179916" y="210792"/>
                  <a:pt x="182386" y="210792"/>
                </a:cubicBezTo>
                <a:close/>
                <a:moveTo>
                  <a:pt x="153811" y="210792"/>
                </a:moveTo>
                <a:cubicBezTo>
                  <a:pt x="156280" y="210792"/>
                  <a:pt x="158397" y="212909"/>
                  <a:pt x="158397" y="215731"/>
                </a:cubicBezTo>
                <a:cubicBezTo>
                  <a:pt x="158397" y="218200"/>
                  <a:pt x="156280" y="219964"/>
                  <a:pt x="153811" y="219964"/>
                </a:cubicBezTo>
                <a:cubicBezTo>
                  <a:pt x="151341" y="219964"/>
                  <a:pt x="149225" y="218200"/>
                  <a:pt x="149225" y="215731"/>
                </a:cubicBezTo>
                <a:cubicBezTo>
                  <a:pt x="149225" y="212909"/>
                  <a:pt x="151341" y="210792"/>
                  <a:pt x="153811" y="210792"/>
                </a:cubicBezTo>
                <a:close/>
                <a:moveTo>
                  <a:pt x="126634" y="210792"/>
                </a:moveTo>
                <a:cubicBezTo>
                  <a:pt x="129565" y="210792"/>
                  <a:pt x="131396" y="212909"/>
                  <a:pt x="131396" y="215731"/>
                </a:cubicBezTo>
                <a:cubicBezTo>
                  <a:pt x="131396" y="218200"/>
                  <a:pt x="129565" y="219964"/>
                  <a:pt x="126634" y="219964"/>
                </a:cubicBezTo>
                <a:cubicBezTo>
                  <a:pt x="124069" y="219964"/>
                  <a:pt x="122238" y="218200"/>
                  <a:pt x="122238" y="215731"/>
                </a:cubicBezTo>
                <a:cubicBezTo>
                  <a:pt x="122238" y="212909"/>
                  <a:pt x="124069" y="210792"/>
                  <a:pt x="126634" y="210792"/>
                </a:cubicBezTo>
                <a:close/>
                <a:moveTo>
                  <a:pt x="98249" y="210792"/>
                </a:moveTo>
                <a:cubicBezTo>
                  <a:pt x="100718" y="210792"/>
                  <a:pt x="102835" y="212909"/>
                  <a:pt x="102835" y="215731"/>
                </a:cubicBezTo>
                <a:cubicBezTo>
                  <a:pt x="102835" y="218200"/>
                  <a:pt x="100718" y="219964"/>
                  <a:pt x="98249" y="219964"/>
                </a:cubicBezTo>
                <a:cubicBezTo>
                  <a:pt x="95779" y="219964"/>
                  <a:pt x="93663" y="218200"/>
                  <a:pt x="93663" y="215731"/>
                </a:cubicBezTo>
                <a:cubicBezTo>
                  <a:pt x="93663" y="212909"/>
                  <a:pt x="95779" y="210792"/>
                  <a:pt x="98249" y="210792"/>
                </a:cubicBezTo>
                <a:close/>
                <a:moveTo>
                  <a:pt x="168099" y="186979"/>
                </a:moveTo>
                <a:cubicBezTo>
                  <a:pt x="170568" y="186979"/>
                  <a:pt x="172685" y="189096"/>
                  <a:pt x="172685" y="191565"/>
                </a:cubicBezTo>
                <a:cubicBezTo>
                  <a:pt x="172685" y="194035"/>
                  <a:pt x="170568" y="196151"/>
                  <a:pt x="168099" y="196151"/>
                </a:cubicBezTo>
                <a:cubicBezTo>
                  <a:pt x="165629" y="196151"/>
                  <a:pt x="163513" y="194035"/>
                  <a:pt x="163513" y="191565"/>
                </a:cubicBezTo>
                <a:cubicBezTo>
                  <a:pt x="163513" y="189096"/>
                  <a:pt x="165629" y="186979"/>
                  <a:pt x="168099" y="186979"/>
                </a:cubicBezTo>
                <a:close/>
                <a:moveTo>
                  <a:pt x="139700" y="186979"/>
                </a:moveTo>
                <a:cubicBezTo>
                  <a:pt x="142082" y="186979"/>
                  <a:pt x="144123" y="189096"/>
                  <a:pt x="144123" y="191565"/>
                </a:cubicBezTo>
                <a:cubicBezTo>
                  <a:pt x="144123" y="194035"/>
                  <a:pt x="142082" y="196151"/>
                  <a:pt x="139700" y="196151"/>
                </a:cubicBezTo>
                <a:cubicBezTo>
                  <a:pt x="136979" y="196151"/>
                  <a:pt x="134938" y="194035"/>
                  <a:pt x="134938" y="191565"/>
                </a:cubicBezTo>
                <a:cubicBezTo>
                  <a:pt x="134938" y="189096"/>
                  <a:pt x="136979" y="186979"/>
                  <a:pt x="139700" y="186979"/>
                </a:cubicBezTo>
                <a:close/>
                <a:moveTo>
                  <a:pt x="112536" y="186979"/>
                </a:moveTo>
                <a:cubicBezTo>
                  <a:pt x="115005" y="186979"/>
                  <a:pt x="117122" y="189096"/>
                  <a:pt x="117122" y="191565"/>
                </a:cubicBezTo>
                <a:cubicBezTo>
                  <a:pt x="117122" y="194035"/>
                  <a:pt x="115005" y="196151"/>
                  <a:pt x="112536" y="196151"/>
                </a:cubicBezTo>
                <a:cubicBezTo>
                  <a:pt x="110066" y="196151"/>
                  <a:pt x="107950" y="194035"/>
                  <a:pt x="107950" y="191565"/>
                </a:cubicBezTo>
                <a:cubicBezTo>
                  <a:pt x="107950" y="189096"/>
                  <a:pt x="110066" y="186979"/>
                  <a:pt x="112536" y="186979"/>
                </a:cubicBezTo>
                <a:close/>
                <a:moveTo>
                  <a:pt x="118879" y="142790"/>
                </a:moveTo>
                <a:cubicBezTo>
                  <a:pt x="107352" y="158654"/>
                  <a:pt x="88979" y="169110"/>
                  <a:pt x="67725" y="169471"/>
                </a:cubicBezTo>
                <a:cubicBezTo>
                  <a:pt x="67725" y="171634"/>
                  <a:pt x="67365" y="173797"/>
                  <a:pt x="67365" y="175600"/>
                </a:cubicBezTo>
                <a:cubicBezTo>
                  <a:pt x="67365" y="210212"/>
                  <a:pt x="75650" y="242301"/>
                  <a:pt x="90060" y="264654"/>
                </a:cubicBezTo>
                <a:cubicBezTo>
                  <a:pt x="91501" y="266818"/>
                  <a:pt x="90780" y="269702"/>
                  <a:pt x="88979" y="271144"/>
                </a:cubicBezTo>
                <a:cubicBezTo>
                  <a:pt x="87899" y="271505"/>
                  <a:pt x="87178" y="271865"/>
                  <a:pt x="86097" y="271865"/>
                </a:cubicBezTo>
                <a:cubicBezTo>
                  <a:pt x="85017" y="271865"/>
                  <a:pt x="83215" y="271144"/>
                  <a:pt x="82135" y="269702"/>
                </a:cubicBezTo>
                <a:cubicBezTo>
                  <a:pt x="67005" y="245906"/>
                  <a:pt x="57999" y="211654"/>
                  <a:pt x="57999" y="175600"/>
                </a:cubicBezTo>
                <a:cubicBezTo>
                  <a:pt x="57999" y="173797"/>
                  <a:pt x="57999" y="171634"/>
                  <a:pt x="58359" y="169471"/>
                </a:cubicBezTo>
                <a:cubicBezTo>
                  <a:pt x="49713" y="168389"/>
                  <a:pt x="42148" y="165865"/>
                  <a:pt x="34943" y="161899"/>
                </a:cubicBezTo>
                <a:cubicBezTo>
                  <a:pt x="34583" y="165505"/>
                  <a:pt x="34583" y="169471"/>
                  <a:pt x="34583" y="173076"/>
                </a:cubicBezTo>
                <a:cubicBezTo>
                  <a:pt x="34583" y="285926"/>
                  <a:pt x="87899" y="301069"/>
                  <a:pt x="140494" y="301069"/>
                </a:cubicBezTo>
                <a:cubicBezTo>
                  <a:pt x="192729" y="301069"/>
                  <a:pt x="246045" y="285926"/>
                  <a:pt x="246045" y="173076"/>
                </a:cubicBezTo>
                <a:cubicBezTo>
                  <a:pt x="246045" y="169471"/>
                  <a:pt x="246045" y="165505"/>
                  <a:pt x="245685" y="161899"/>
                </a:cubicBezTo>
                <a:cubicBezTo>
                  <a:pt x="238840" y="165865"/>
                  <a:pt x="230915" y="168389"/>
                  <a:pt x="222269" y="169471"/>
                </a:cubicBezTo>
                <a:cubicBezTo>
                  <a:pt x="222629" y="171634"/>
                  <a:pt x="222629" y="173797"/>
                  <a:pt x="222629" y="175600"/>
                </a:cubicBezTo>
                <a:cubicBezTo>
                  <a:pt x="222629" y="211654"/>
                  <a:pt x="213983" y="245906"/>
                  <a:pt x="198493" y="269702"/>
                </a:cubicBezTo>
                <a:cubicBezTo>
                  <a:pt x="197773" y="271144"/>
                  <a:pt x="195971" y="271865"/>
                  <a:pt x="194530" y="271865"/>
                </a:cubicBezTo>
                <a:cubicBezTo>
                  <a:pt x="193450" y="271865"/>
                  <a:pt x="192729" y="271505"/>
                  <a:pt x="192008" y="271144"/>
                </a:cubicBezTo>
                <a:cubicBezTo>
                  <a:pt x="189847" y="269702"/>
                  <a:pt x="189126" y="266818"/>
                  <a:pt x="190567" y="264654"/>
                </a:cubicBezTo>
                <a:cubicBezTo>
                  <a:pt x="204977" y="242301"/>
                  <a:pt x="213263" y="210212"/>
                  <a:pt x="213263" y="175600"/>
                </a:cubicBezTo>
                <a:cubicBezTo>
                  <a:pt x="213263" y="173797"/>
                  <a:pt x="212903" y="171634"/>
                  <a:pt x="212903" y="169471"/>
                </a:cubicBezTo>
                <a:cubicBezTo>
                  <a:pt x="192008" y="169110"/>
                  <a:pt x="173276" y="158654"/>
                  <a:pt x="161748" y="142790"/>
                </a:cubicBezTo>
                <a:lnTo>
                  <a:pt x="144096" y="171273"/>
                </a:lnTo>
                <a:cubicBezTo>
                  <a:pt x="143376" y="172355"/>
                  <a:pt x="141935" y="173437"/>
                  <a:pt x="140134" y="173437"/>
                </a:cubicBezTo>
                <a:cubicBezTo>
                  <a:pt x="138693" y="173437"/>
                  <a:pt x="136891" y="172355"/>
                  <a:pt x="136171" y="171273"/>
                </a:cubicBezTo>
                <a:lnTo>
                  <a:pt x="118879" y="142790"/>
                </a:lnTo>
                <a:close/>
                <a:moveTo>
                  <a:pt x="214741" y="58392"/>
                </a:moveTo>
                <a:cubicBezTo>
                  <a:pt x="217299" y="58392"/>
                  <a:pt x="219491" y="60559"/>
                  <a:pt x="219491" y="63086"/>
                </a:cubicBezTo>
                <a:lnTo>
                  <a:pt x="219491" y="67780"/>
                </a:lnTo>
                <a:cubicBezTo>
                  <a:pt x="227164" y="69224"/>
                  <a:pt x="233010" y="73918"/>
                  <a:pt x="235933" y="80779"/>
                </a:cubicBezTo>
                <a:cubicBezTo>
                  <a:pt x="237029" y="82945"/>
                  <a:pt x="235933" y="85834"/>
                  <a:pt x="233375" y="86917"/>
                </a:cubicBezTo>
                <a:cubicBezTo>
                  <a:pt x="231183" y="88000"/>
                  <a:pt x="228260" y="86556"/>
                  <a:pt x="227164" y="84390"/>
                </a:cubicBezTo>
                <a:cubicBezTo>
                  <a:pt x="225337" y="79696"/>
                  <a:pt x="220222" y="76807"/>
                  <a:pt x="214741" y="76807"/>
                </a:cubicBezTo>
                <a:cubicBezTo>
                  <a:pt x="207434" y="76807"/>
                  <a:pt x="201588" y="81862"/>
                  <a:pt x="201588" y="88362"/>
                </a:cubicBezTo>
                <a:cubicBezTo>
                  <a:pt x="201588" y="95944"/>
                  <a:pt x="205972" y="99555"/>
                  <a:pt x="214741" y="99555"/>
                </a:cubicBezTo>
                <a:cubicBezTo>
                  <a:pt x="231549" y="99555"/>
                  <a:pt x="237760" y="110387"/>
                  <a:pt x="237760" y="120498"/>
                </a:cubicBezTo>
                <a:cubicBezTo>
                  <a:pt x="237760" y="130608"/>
                  <a:pt x="229722" y="138913"/>
                  <a:pt x="219491" y="140718"/>
                </a:cubicBezTo>
                <a:lnTo>
                  <a:pt x="219491" y="145412"/>
                </a:lnTo>
                <a:cubicBezTo>
                  <a:pt x="219491" y="148301"/>
                  <a:pt x="217299" y="150106"/>
                  <a:pt x="214741" y="150106"/>
                </a:cubicBezTo>
                <a:cubicBezTo>
                  <a:pt x="212184" y="150106"/>
                  <a:pt x="209992" y="148301"/>
                  <a:pt x="209992" y="145412"/>
                </a:cubicBezTo>
                <a:lnTo>
                  <a:pt x="209992" y="140718"/>
                </a:lnTo>
                <a:cubicBezTo>
                  <a:pt x="202684" y="139274"/>
                  <a:pt x="196473" y="134580"/>
                  <a:pt x="193915" y="128080"/>
                </a:cubicBezTo>
                <a:cubicBezTo>
                  <a:pt x="192454" y="125914"/>
                  <a:pt x="193915" y="123025"/>
                  <a:pt x="196107" y="121942"/>
                </a:cubicBezTo>
                <a:cubicBezTo>
                  <a:pt x="198665" y="120859"/>
                  <a:pt x="201588" y="121942"/>
                  <a:pt x="202684" y="124469"/>
                </a:cubicBezTo>
                <a:cubicBezTo>
                  <a:pt x="204511" y="128802"/>
                  <a:pt x="209261" y="132052"/>
                  <a:pt x="215107" y="132052"/>
                </a:cubicBezTo>
                <a:cubicBezTo>
                  <a:pt x="222049" y="132052"/>
                  <a:pt x="227895" y="126997"/>
                  <a:pt x="227895" y="120498"/>
                </a:cubicBezTo>
                <a:cubicBezTo>
                  <a:pt x="227895" y="112915"/>
                  <a:pt x="223510" y="108943"/>
                  <a:pt x="214741" y="108943"/>
                </a:cubicBezTo>
                <a:cubicBezTo>
                  <a:pt x="197934" y="108943"/>
                  <a:pt x="192088" y="98111"/>
                  <a:pt x="192088" y="88362"/>
                </a:cubicBezTo>
                <a:cubicBezTo>
                  <a:pt x="192088" y="78251"/>
                  <a:pt x="199761" y="69947"/>
                  <a:pt x="209992" y="67780"/>
                </a:cubicBezTo>
                <a:lnTo>
                  <a:pt x="209992" y="63086"/>
                </a:lnTo>
                <a:cubicBezTo>
                  <a:pt x="209992" y="60559"/>
                  <a:pt x="212184" y="58392"/>
                  <a:pt x="214741" y="58392"/>
                </a:cubicBezTo>
                <a:close/>
                <a:moveTo>
                  <a:pt x="65700" y="58392"/>
                </a:moveTo>
                <a:cubicBezTo>
                  <a:pt x="68237" y="58392"/>
                  <a:pt x="70412" y="60559"/>
                  <a:pt x="70412" y="63086"/>
                </a:cubicBezTo>
                <a:lnTo>
                  <a:pt x="70412" y="67780"/>
                </a:lnTo>
                <a:cubicBezTo>
                  <a:pt x="77662" y="69224"/>
                  <a:pt x="83825" y="73918"/>
                  <a:pt x="86725" y="80779"/>
                </a:cubicBezTo>
                <a:cubicBezTo>
                  <a:pt x="87812" y="82945"/>
                  <a:pt x="86725" y="85834"/>
                  <a:pt x="84187" y="86917"/>
                </a:cubicBezTo>
                <a:cubicBezTo>
                  <a:pt x="81650" y="88000"/>
                  <a:pt x="78750" y="86556"/>
                  <a:pt x="78025" y="84390"/>
                </a:cubicBezTo>
                <a:cubicBezTo>
                  <a:pt x="75850" y="79696"/>
                  <a:pt x="71137" y="76807"/>
                  <a:pt x="65700" y="76807"/>
                </a:cubicBezTo>
                <a:cubicBezTo>
                  <a:pt x="58450" y="76807"/>
                  <a:pt x="52650" y="81862"/>
                  <a:pt x="52650" y="88362"/>
                </a:cubicBezTo>
                <a:cubicBezTo>
                  <a:pt x="52650" y="95944"/>
                  <a:pt x="56638" y="99555"/>
                  <a:pt x="65700" y="99555"/>
                </a:cubicBezTo>
                <a:cubicBezTo>
                  <a:pt x="82375" y="99555"/>
                  <a:pt x="88537" y="110387"/>
                  <a:pt x="88537" y="120498"/>
                </a:cubicBezTo>
                <a:cubicBezTo>
                  <a:pt x="88537" y="130608"/>
                  <a:pt x="80562" y="138913"/>
                  <a:pt x="70412" y="140718"/>
                </a:cubicBezTo>
                <a:lnTo>
                  <a:pt x="70412" y="145412"/>
                </a:lnTo>
                <a:cubicBezTo>
                  <a:pt x="70412" y="148301"/>
                  <a:pt x="68237" y="150106"/>
                  <a:pt x="65700" y="150106"/>
                </a:cubicBezTo>
                <a:cubicBezTo>
                  <a:pt x="63163" y="150106"/>
                  <a:pt x="60988" y="148301"/>
                  <a:pt x="60988" y="145412"/>
                </a:cubicBezTo>
                <a:lnTo>
                  <a:pt x="60988" y="140718"/>
                </a:lnTo>
                <a:cubicBezTo>
                  <a:pt x="53738" y="139274"/>
                  <a:pt x="47575" y="134580"/>
                  <a:pt x="44675" y="128080"/>
                </a:cubicBezTo>
                <a:cubicBezTo>
                  <a:pt x="43588" y="125914"/>
                  <a:pt x="44675" y="123025"/>
                  <a:pt x="47213" y="121942"/>
                </a:cubicBezTo>
                <a:cubicBezTo>
                  <a:pt x="49388" y="120859"/>
                  <a:pt x="52288" y="121942"/>
                  <a:pt x="53375" y="124469"/>
                </a:cubicBezTo>
                <a:cubicBezTo>
                  <a:pt x="55188" y="128802"/>
                  <a:pt x="60263" y="132052"/>
                  <a:pt x="65700" y="132052"/>
                </a:cubicBezTo>
                <a:cubicBezTo>
                  <a:pt x="72950" y="132052"/>
                  <a:pt x="78750" y="126997"/>
                  <a:pt x="78750" y="120498"/>
                </a:cubicBezTo>
                <a:cubicBezTo>
                  <a:pt x="78750" y="112915"/>
                  <a:pt x="74400" y="108943"/>
                  <a:pt x="65700" y="108943"/>
                </a:cubicBezTo>
                <a:cubicBezTo>
                  <a:pt x="49025" y="108943"/>
                  <a:pt x="42863" y="98111"/>
                  <a:pt x="42863" y="88362"/>
                </a:cubicBezTo>
                <a:cubicBezTo>
                  <a:pt x="42863" y="78251"/>
                  <a:pt x="50475" y="69947"/>
                  <a:pt x="60988" y="67780"/>
                </a:cubicBezTo>
                <a:lnTo>
                  <a:pt x="60988" y="63086"/>
                </a:lnTo>
                <a:cubicBezTo>
                  <a:pt x="60988" y="60559"/>
                  <a:pt x="63163" y="58392"/>
                  <a:pt x="65700" y="58392"/>
                </a:cubicBezTo>
                <a:close/>
                <a:moveTo>
                  <a:pt x="215064" y="47606"/>
                </a:moveTo>
                <a:cubicBezTo>
                  <a:pt x="183723" y="47606"/>
                  <a:pt x="158506" y="72845"/>
                  <a:pt x="158506" y="103851"/>
                </a:cubicBezTo>
                <a:cubicBezTo>
                  <a:pt x="158506" y="135219"/>
                  <a:pt x="183723" y="160457"/>
                  <a:pt x="215064" y="160457"/>
                </a:cubicBezTo>
                <a:cubicBezTo>
                  <a:pt x="246045" y="160457"/>
                  <a:pt x="271262" y="135219"/>
                  <a:pt x="271262" y="103851"/>
                </a:cubicBezTo>
                <a:cubicBezTo>
                  <a:pt x="271262" y="72845"/>
                  <a:pt x="246045" y="47606"/>
                  <a:pt x="215064" y="47606"/>
                </a:cubicBezTo>
                <a:close/>
                <a:moveTo>
                  <a:pt x="65924" y="47606"/>
                </a:moveTo>
                <a:cubicBezTo>
                  <a:pt x="34583" y="47606"/>
                  <a:pt x="9366" y="72845"/>
                  <a:pt x="9366" y="103851"/>
                </a:cubicBezTo>
                <a:cubicBezTo>
                  <a:pt x="9366" y="135219"/>
                  <a:pt x="34583" y="160457"/>
                  <a:pt x="65924" y="160457"/>
                </a:cubicBezTo>
                <a:cubicBezTo>
                  <a:pt x="96905" y="160457"/>
                  <a:pt x="122121" y="135219"/>
                  <a:pt x="122121" y="103851"/>
                </a:cubicBezTo>
                <a:cubicBezTo>
                  <a:pt x="122121" y="72845"/>
                  <a:pt x="96905" y="47606"/>
                  <a:pt x="65924" y="47606"/>
                </a:cubicBezTo>
                <a:close/>
                <a:moveTo>
                  <a:pt x="140494" y="37151"/>
                </a:moveTo>
                <a:cubicBezTo>
                  <a:pt x="123202" y="37151"/>
                  <a:pt x="108072" y="39674"/>
                  <a:pt x="95103" y="44722"/>
                </a:cubicBezTo>
                <a:cubicBezTo>
                  <a:pt x="116718" y="55538"/>
                  <a:pt x="131488" y="78253"/>
                  <a:pt x="131488" y="103851"/>
                </a:cubicBezTo>
                <a:cubicBezTo>
                  <a:pt x="131488" y="114668"/>
                  <a:pt x="128966" y="124763"/>
                  <a:pt x="124643" y="133777"/>
                </a:cubicBezTo>
                <a:lnTo>
                  <a:pt x="140134" y="159736"/>
                </a:lnTo>
                <a:lnTo>
                  <a:pt x="155984" y="133777"/>
                </a:lnTo>
                <a:cubicBezTo>
                  <a:pt x="151661" y="124763"/>
                  <a:pt x="149140" y="114668"/>
                  <a:pt x="149140" y="103851"/>
                </a:cubicBezTo>
                <a:cubicBezTo>
                  <a:pt x="149140" y="78253"/>
                  <a:pt x="163909" y="55899"/>
                  <a:pt x="185524" y="45083"/>
                </a:cubicBezTo>
                <a:cubicBezTo>
                  <a:pt x="172555" y="39674"/>
                  <a:pt x="157785" y="37151"/>
                  <a:pt x="140494" y="37151"/>
                </a:cubicBezTo>
                <a:close/>
                <a:moveTo>
                  <a:pt x="217946" y="12994"/>
                </a:moveTo>
                <a:cubicBezTo>
                  <a:pt x="217946" y="19844"/>
                  <a:pt x="216145" y="29219"/>
                  <a:pt x="210021" y="38232"/>
                </a:cubicBezTo>
                <a:cubicBezTo>
                  <a:pt x="211462" y="38232"/>
                  <a:pt x="213263" y="38232"/>
                  <a:pt x="215064" y="38232"/>
                </a:cubicBezTo>
                <a:cubicBezTo>
                  <a:pt x="220828" y="38232"/>
                  <a:pt x="226952" y="38953"/>
                  <a:pt x="232356" y="40756"/>
                </a:cubicBezTo>
                <a:cubicBezTo>
                  <a:pt x="231995" y="25974"/>
                  <a:pt x="224070" y="17681"/>
                  <a:pt x="217946" y="12994"/>
                </a:cubicBezTo>
                <a:close/>
                <a:moveTo>
                  <a:pt x="62682" y="12994"/>
                </a:moveTo>
                <a:cubicBezTo>
                  <a:pt x="56558" y="17681"/>
                  <a:pt x="48993" y="25974"/>
                  <a:pt x="48272" y="40756"/>
                </a:cubicBezTo>
                <a:cubicBezTo>
                  <a:pt x="54036" y="38953"/>
                  <a:pt x="59800" y="38232"/>
                  <a:pt x="65924" y="38232"/>
                </a:cubicBezTo>
                <a:cubicBezTo>
                  <a:pt x="67365" y="38232"/>
                  <a:pt x="69166" y="38232"/>
                  <a:pt x="70607" y="38232"/>
                </a:cubicBezTo>
                <a:cubicBezTo>
                  <a:pt x="64843" y="29219"/>
                  <a:pt x="62682" y="19844"/>
                  <a:pt x="62682" y="12994"/>
                </a:cubicBezTo>
                <a:close/>
                <a:moveTo>
                  <a:pt x="66284" y="375"/>
                </a:moveTo>
                <a:cubicBezTo>
                  <a:pt x="67725" y="-346"/>
                  <a:pt x="69526" y="14"/>
                  <a:pt x="70967" y="1096"/>
                </a:cubicBezTo>
                <a:cubicBezTo>
                  <a:pt x="72048" y="2538"/>
                  <a:pt x="72768" y="3980"/>
                  <a:pt x="72408" y="5783"/>
                </a:cubicBezTo>
                <a:cubicBezTo>
                  <a:pt x="72408" y="6504"/>
                  <a:pt x="68806" y="25253"/>
                  <a:pt x="84296" y="39674"/>
                </a:cubicBezTo>
                <a:cubicBezTo>
                  <a:pt x="99787" y="31742"/>
                  <a:pt x="118519" y="27416"/>
                  <a:pt x="140494" y="27416"/>
                </a:cubicBezTo>
                <a:cubicBezTo>
                  <a:pt x="162108" y="27416"/>
                  <a:pt x="180841" y="31742"/>
                  <a:pt x="196332" y="39674"/>
                </a:cubicBezTo>
                <a:cubicBezTo>
                  <a:pt x="211822" y="25253"/>
                  <a:pt x="208220" y="6144"/>
                  <a:pt x="208220" y="5783"/>
                </a:cubicBezTo>
                <a:cubicBezTo>
                  <a:pt x="207859" y="3980"/>
                  <a:pt x="208580" y="2538"/>
                  <a:pt x="210021" y="1096"/>
                </a:cubicBezTo>
                <a:cubicBezTo>
                  <a:pt x="211101" y="14"/>
                  <a:pt x="212903" y="-346"/>
                  <a:pt x="214704" y="375"/>
                </a:cubicBezTo>
                <a:cubicBezTo>
                  <a:pt x="215064" y="375"/>
                  <a:pt x="242803" y="11552"/>
                  <a:pt x="242082" y="44001"/>
                </a:cubicBezTo>
                <a:cubicBezTo>
                  <a:pt x="264777" y="54457"/>
                  <a:pt x="280628" y="77171"/>
                  <a:pt x="280628" y="103851"/>
                </a:cubicBezTo>
                <a:cubicBezTo>
                  <a:pt x="280628" y="125124"/>
                  <a:pt x="270541" y="143872"/>
                  <a:pt x="255051" y="156130"/>
                </a:cubicBezTo>
                <a:cubicBezTo>
                  <a:pt x="255411" y="161539"/>
                  <a:pt x="255411" y="167307"/>
                  <a:pt x="255411" y="173076"/>
                </a:cubicBezTo>
                <a:cubicBezTo>
                  <a:pt x="255411" y="267899"/>
                  <a:pt x="220108" y="310444"/>
                  <a:pt x="140494" y="310444"/>
                </a:cubicBezTo>
                <a:cubicBezTo>
                  <a:pt x="60520" y="310444"/>
                  <a:pt x="25217" y="267899"/>
                  <a:pt x="25217" y="173076"/>
                </a:cubicBezTo>
                <a:cubicBezTo>
                  <a:pt x="25217" y="167307"/>
                  <a:pt x="25217" y="161539"/>
                  <a:pt x="25937" y="156130"/>
                </a:cubicBezTo>
                <a:cubicBezTo>
                  <a:pt x="10086" y="143872"/>
                  <a:pt x="0" y="125124"/>
                  <a:pt x="0" y="103851"/>
                </a:cubicBezTo>
                <a:cubicBezTo>
                  <a:pt x="0" y="77171"/>
                  <a:pt x="16211" y="54457"/>
                  <a:pt x="38546" y="44001"/>
                </a:cubicBezTo>
                <a:cubicBezTo>
                  <a:pt x="37825" y="11552"/>
                  <a:pt x="65924" y="375"/>
                  <a:pt x="66284" y="375"/>
                </a:cubicBezTo>
                <a:close/>
              </a:path>
            </a:pathLst>
          </a:custGeom>
          <a:solidFill>
            <a:schemeClr val="accent2"/>
          </a:solidFill>
          <a:ln>
            <a:noFill/>
          </a:ln>
          <a:effectLst/>
        </p:spPr>
        <p:txBody>
          <a:bodyPr anchor="ctr"/>
          <a:lstStyle/>
          <a:p>
            <a:endParaRPr lang="en-US" sz="900"/>
          </a:p>
        </p:txBody>
      </p:sp>
      <p:sp>
        <p:nvSpPr>
          <p:cNvPr id="17" name="Freeform 688">
            <a:extLst>
              <a:ext uri="{FF2B5EF4-FFF2-40B4-BE49-F238E27FC236}">
                <a16:creationId xmlns:a16="http://schemas.microsoft.com/office/drawing/2014/main" id="{240B87B1-1DED-CE2D-BBA7-B8E5ACA18645}"/>
              </a:ext>
            </a:extLst>
          </p:cNvPr>
          <p:cNvSpPr>
            <a:spLocks noChangeArrowheads="1"/>
          </p:cNvSpPr>
          <p:nvPr userDrawn="1"/>
        </p:nvSpPr>
        <p:spPr bwMode="auto">
          <a:xfrm>
            <a:off x="6031026" y="3556023"/>
            <a:ext cx="539608" cy="542376"/>
          </a:xfrm>
          <a:custGeom>
            <a:avLst/>
            <a:gdLst/>
            <a:ahLst/>
            <a:cxnLst/>
            <a:rect l="0" t="0" r="r" b="b"/>
            <a:pathLst>
              <a:path w="310253" h="310242">
                <a:moveTo>
                  <a:pt x="107678" y="200710"/>
                </a:moveTo>
                <a:cubicBezTo>
                  <a:pt x="102276" y="200710"/>
                  <a:pt x="97954" y="205020"/>
                  <a:pt x="97954" y="210406"/>
                </a:cubicBezTo>
                <a:cubicBezTo>
                  <a:pt x="97954" y="215434"/>
                  <a:pt x="102276" y="219384"/>
                  <a:pt x="107678" y="219384"/>
                </a:cubicBezTo>
                <a:cubicBezTo>
                  <a:pt x="112720" y="219384"/>
                  <a:pt x="117041" y="215434"/>
                  <a:pt x="117041" y="210406"/>
                </a:cubicBezTo>
                <a:cubicBezTo>
                  <a:pt x="117041" y="205020"/>
                  <a:pt x="112720" y="200710"/>
                  <a:pt x="107678" y="200710"/>
                </a:cubicBezTo>
                <a:close/>
                <a:moveTo>
                  <a:pt x="244298" y="147089"/>
                </a:moveTo>
                <a:cubicBezTo>
                  <a:pt x="246768" y="147089"/>
                  <a:pt x="248884" y="148875"/>
                  <a:pt x="248884" y="151733"/>
                </a:cubicBezTo>
                <a:lnTo>
                  <a:pt x="248884" y="170663"/>
                </a:lnTo>
                <a:cubicBezTo>
                  <a:pt x="248884" y="173521"/>
                  <a:pt x="246768" y="175307"/>
                  <a:pt x="244298" y="175307"/>
                </a:cubicBezTo>
                <a:cubicBezTo>
                  <a:pt x="241829" y="175307"/>
                  <a:pt x="239712" y="173521"/>
                  <a:pt x="239712" y="170663"/>
                </a:cubicBezTo>
                <a:lnTo>
                  <a:pt x="239712" y="151733"/>
                </a:lnTo>
                <a:cubicBezTo>
                  <a:pt x="239712" y="148875"/>
                  <a:pt x="241829" y="147089"/>
                  <a:pt x="244298" y="147089"/>
                </a:cubicBezTo>
                <a:close/>
                <a:moveTo>
                  <a:pt x="165546" y="145971"/>
                </a:moveTo>
                <a:cubicBezTo>
                  <a:pt x="160500" y="145971"/>
                  <a:pt x="156175" y="150312"/>
                  <a:pt x="156175" y="155377"/>
                </a:cubicBezTo>
                <a:cubicBezTo>
                  <a:pt x="156175" y="160804"/>
                  <a:pt x="160500" y="164783"/>
                  <a:pt x="165546" y="164783"/>
                </a:cubicBezTo>
                <a:cubicBezTo>
                  <a:pt x="170952" y="164783"/>
                  <a:pt x="175277" y="160804"/>
                  <a:pt x="175277" y="155377"/>
                </a:cubicBezTo>
                <a:cubicBezTo>
                  <a:pt x="175277" y="150312"/>
                  <a:pt x="170952" y="145971"/>
                  <a:pt x="165546" y="145971"/>
                </a:cubicBezTo>
                <a:close/>
                <a:moveTo>
                  <a:pt x="210597" y="106537"/>
                </a:moveTo>
                <a:lnTo>
                  <a:pt x="266820" y="136203"/>
                </a:lnTo>
                <a:lnTo>
                  <a:pt x="302861" y="113049"/>
                </a:lnTo>
                <a:cubicBezTo>
                  <a:pt x="305023" y="111964"/>
                  <a:pt x="307907" y="112326"/>
                  <a:pt x="309348" y="114497"/>
                </a:cubicBezTo>
                <a:cubicBezTo>
                  <a:pt x="310790" y="116667"/>
                  <a:pt x="310069" y="119561"/>
                  <a:pt x="307907" y="121009"/>
                </a:cubicBezTo>
                <a:lnTo>
                  <a:pt x="269704" y="145971"/>
                </a:lnTo>
                <a:cubicBezTo>
                  <a:pt x="268262" y="146695"/>
                  <a:pt x="266460" y="146695"/>
                  <a:pt x="265018" y="145971"/>
                </a:cubicBezTo>
                <a:lnTo>
                  <a:pt x="209515" y="116667"/>
                </a:lnTo>
                <a:lnTo>
                  <a:pt x="181764" y="145609"/>
                </a:lnTo>
                <a:cubicBezTo>
                  <a:pt x="183566" y="148504"/>
                  <a:pt x="184647" y="151760"/>
                  <a:pt x="184647" y="155377"/>
                </a:cubicBezTo>
                <a:cubicBezTo>
                  <a:pt x="184647" y="164060"/>
                  <a:pt x="178521" y="171657"/>
                  <a:pt x="170592" y="173466"/>
                </a:cubicBezTo>
                <a:lnTo>
                  <a:pt x="170592" y="207111"/>
                </a:lnTo>
                <a:cubicBezTo>
                  <a:pt x="170592" y="209644"/>
                  <a:pt x="168429" y="211814"/>
                  <a:pt x="165546" y="211814"/>
                </a:cubicBezTo>
                <a:cubicBezTo>
                  <a:pt x="163023" y="211814"/>
                  <a:pt x="160861" y="209644"/>
                  <a:pt x="160861" y="207111"/>
                </a:cubicBezTo>
                <a:lnTo>
                  <a:pt x="160861" y="173466"/>
                </a:lnTo>
                <a:cubicBezTo>
                  <a:pt x="152932" y="171657"/>
                  <a:pt x="147165" y="164060"/>
                  <a:pt x="147165" y="155377"/>
                </a:cubicBezTo>
                <a:cubicBezTo>
                  <a:pt x="147165" y="155016"/>
                  <a:pt x="147165" y="154292"/>
                  <a:pt x="147165" y="153930"/>
                </a:cubicBezTo>
                <a:lnTo>
                  <a:pt x="108242" y="141268"/>
                </a:lnTo>
                <a:lnTo>
                  <a:pt x="52739" y="190470"/>
                </a:lnTo>
                <a:cubicBezTo>
                  <a:pt x="51658" y="191193"/>
                  <a:pt x="50577" y="191555"/>
                  <a:pt x="49856" y="191555"/>
                </a:cubicBezTo>
                <a:cubicBezTo>
                  <a:pt x="48414" y="191555"/>
                  <a:pt x="46973" y="191193"/>
                  <a:pt x="46252" y="190108"/>
                </a:cubicBezTo>
                <a:cubicBezTo>
                  <a:pt x="44450" y="187937"/>
                  <a:pt x="44450" y="185043"/>
                  <a:pt x="46612" y="183234"/>
                </a:cubicBezTo>
                <a:lnTo>
                  <a:pt x="103917" y="132224"/>
                </a:lnTo>
                <a:cubicBezTo>
                  <a:pt x="104998" y="131138"/>
                  <a:pt x="106800" y="130776"/>
                  <a:pt x="108602" y="131500"/>
                </a:cubicBezTo>
                <a:lnTo>
                  <a:pt x="150049" y="145247"/>
                </a:lnTo>
                <a:cubicBezTo>
                  <a:pt x="153292" y="140183"/>
                  <a:pt x="159059" y="136565"/>
                  <a:pt x="165546" y="136565"/>
                </a:cubicBezTo>
                <a:cubicBezTo>
                  <a:pt x="169150" y="136565"/>
                  <a:pt x="172033" y="137650"/>
                  <a:pt x="174917" y="139097"/>
                </a:cubicBezTo>
                <a:lnTo>
                  <a:pt x="204830" y="107623"/>
                </a:lnTo>
                <a:cubicBezTo>
                  <a:pt x="206632" y="106176"/>
                  <a:pt x="208795" y="105814"/>
                  <a:pt x="210597" y="106537"/>
                </a:cubicBezTo>
                <a:close/>
                <a:moveTo>
                  <a:pt x="243754" y="44197"/>
                </a:moveTo>
                <a:cubicBezTo>
                  <a:pt x="238708" y="44197"/>
                  <a:pt x="234383" y="48492"/>
                  <a:pt x="234383" y="53504"/>
                </a:cubicBezTo>
                <a:cubicBezTo>
                  <a:pt x="234383" y="58516"/>
                  <a:pt x="238708" y="62811"/>
                  <a:pt x="243754" y="62811"/>
                </a:cubicBezTo>
                <a:cubicBezTo>
                  <a:pt x="249161" y="62811"/>
                  <a:pt x="253125" y="58516"/>
                  <a:pt x="253125" y="53504"/>
                </a:cubicBezTo>
                <a:cubicBezTo>
                  <a:pt x="253125" y="48492"/>
                  <a:pt x="249161" y="44197"/>
                  <a:pt x="243754" y="44197"/>
                </a:cubicBezTo>
                <a:close/>
                <a:moveTo>
                  <a:pt x="23408" y="1039"/>
                </a:moveTo>
                <a:cubicBezTo>
                  <a:pt x="26289" y="1039"/>
                  <a:pt x="28450" y="3194"/>
                  <a:pt x="28450" y="5708"/>
                </a:cubicBezTo>
                <a:lnTo>
                  <a:pt x="28450" y="282231"/>
                </a:lnTo>
                <a:lnTo>
                  <a:pt x="102636" y="282231"/>
                </a:lnTo>
                <a:lnTo>
                  <a:pt x="102636" y="228362"/>
                </a:lnTo>
                <a:cubicBezTo>
                  <a:pt x="100835" y="227644"/>
                  <a:pt x="99035" y="226926"/>
                  <a:pt x="97234" y="225849"/>
                </a:cubicBezTo>
                <a:lnTo>
                  <a:pt x="52938" y="265352"/>
                </a:lnTo>
                <a:cubicBezTo>
                  <a:pt x="51858" y="266429"/>
                  <a:pt x="50778" y="266429"/>
                  <a:pt x="50057" y="266429"/>
                </a:cubicBezTo>
                <a:cubicBezTo>
                  <a:pt x="48617" y="266429"/>
                  <a:pt x="47176" y="266070"/>
                  <a:pt x="46456" y="264993"/>
                </a:cubicBezTo>
                <a:cubicBezTo>
                  <a:pt x="44656" y="263197"/>
                  <a:pt x="44656" y="260324"/>
                  <a:pt x="46816" y="258529"/>
                </a:cubicBezTo>
                <a:lnTo>
                  <a:pt x="90752" y="218666"/>
                </a:lnTo>
                <a:cubicBezTo>
                  <a:pt x="89671" y="216152"/>
                  <a:pt x="88951" y="213279"/>
                  <a:pt x="88951" y="210406"/>
                </a:cubicBezTo>
                <a:cubicBezTo>
                  <a:pt x="88951" y="199992"/>
                  <a:pt x="97234" y="191373"/>
                  <a:pt x="107678" y="191373"/>
                </a:cubicBezTo>
                <a:cubicBezTo>
                  <a:pt x="117761" y="191373"/>
                  <a:pt x="126404" y="199992"/>
                  <a:pt x="126404" y="210406"/>
                </a:cubicBezTo>
                <a:lnTo>
                  <a:pt x="190147" y="226208"/>
                </a:lnTo>
                <a:lnTo>
                  <a:pt x="221118" y="187064"/>
                </a:lnTo>
                <a:cubicBezTo>
                  <a:pt x="222198" y="185627"/>
                  <a:pt x="223999" y="185268"/>
                  <a:pt x="225800" y="185627"/>
                </a:cubicBezTo>
                <a:lnTo>
                  <a:pt x="306469" y="206815"/>
                </a:lnTo>
                <a:cubicBezTo>
                  <a:pt x="309350" y="207533"/>
                  <a:pt x="310790" y="210047"/>
                  <a:pt x="310070" y="212561"/>
                </a:cubicBezTo>
                <a:cubicBezTo>
                  <a:pt x="309350" y="214716"/>
                  <a:pt x="306469" y="216511"/>
                  <a:pt x="304308" y="215793"/>
                </a:cubicBezTo>
                <a:lnTo>
                  <a:pt x="226160" y="195323"/>
                </a:lnTo>
                <a:lnTo>
                  <a:pt x="195549" y="234467"/>
                </a:lnTo>
                <a:cubicBezTo>
                  <a:pt x="194469" y="235904"/>
                  <a:pt x="192308" y="236622"/>
                  <a:pt x="190867" y="235904"/>
                </a:cubicBezTo>
                <a:lnTo>
                  <a:pt x="123884" y="219384"/>
                </a:lnTo>
                <a:cubicBezTo>
                  <a:pt x="121723" y="223694"/>
                  <a:pt x="117401" y="226926"/>
                  <a:pt x="112359" y="228362"/>
                </a:cubicBezTo>
                <a:lnTo>
                  <a:pt x="112359" y="282231"/>
                </a:lnTo>
                <a:lnTo>
                  <a:pt x="160977" y="282231"/>
                </a:lnTo>
                <a:lnTo>
                  <a:pt x="160977" y="248473"/>
                </a:lnTo>
                <a:cubicBezTo>
                  <a:pt x="160977" y="245959"/>
                  <a:pt x="163137" y="243805"/>
                  <a:pt x="165658" y="243805"/>
                </a:cubicBezTo>
                <a:cubicBezTo>
                  <a:pt x="168539" y="243805"/>
                  <a:pt x="170700" y="245959"/>
                  <a:pt x="170700" y="248473"/>
                </a:cubicBezTo>
                <a:lnTo>
                  <a:pt x="170700" y="282231"/>
                </a:lnTo>
                <a:lnTo>
                  <a:pt x="239124" y="282231"/>
                </a:lnTo>
                <a:lnTo>
                  <a:pt x="239124" y="218307"/>
                </a:lnTo>
                <a:cubicBezTo>
                  <a:pt x="239124" y="215793"/>
                  <a:pt x="241286" y="213998"/>
                  <a:pt x="243806" y="213998"/>
                </a:cubicBezTo>
                <a:cubicBezTo>
                  <a:pt x="246327" y="213998"/>
                  <a:pt x="248488" y="215793"/>
                  <a:pt x="248488" y="218307"/>
                </a:cubicBezTo>
                <a:lnTo>
                  <a:pt x="248488" y="282231"/>
                </a:lnTo>
                <a:lnTo>
                  <a:pt x="305388" y="282231"/>
                </a:lnTo>
                <a:cubicBezTo>
                  <a:pt x="307909" y="282231"/>
                  <a:pt x="310070" y="284385"/>
                  <a:pt x="310070" y="286899"/>
                </a:cubicBezTo>
                <a:cubicBezTo>
                  <a:pt x="310070" y="289413"/>
                  <a:pt x="307909" y="291568"/>
                  <a:pt x="305388" y="291568"/>
                </a:cubicBezTo>
                <a:lnTo>
                  <a:pt x="28450" y="291568"/>
                </a:lnTo>
                <a:lnTo>
                  <a:pt x="28450" y="305573"/>
                </a:lnTo>
                <a:cubicBezTo>
                  <a:pt x="28450" y="308446"/>
                  <a:pt x="26289" y="310242"/>
                  <a:pt x="23408" y="310242"/>
                </a:cubicBezTo>
                <a:cubicBezTo>
                  <a:pt x="20887" y="310242"/>
                  <a:pt x="18726" y="308446"/>
                  <a:pt x="18726" y="305573"/>
                </a:cubicBezTo>
                <a:lnTo>
                  <a:pt x="18726" y="291568"/>
                </a:lnTo>
                <a:lnTo>
                  <a:pt x="4681" y="291568"/>
                </a:lnTo>
                <a:cubicBezTo>
                  <a:pt x="2161" y="291568"/>
                  <a:pt x="0" y="289413"/>
                  <a:pt x="0" y="286899"/>
                </a:cubicBezTo>
                <a:cubicBezTo>
                  <a:pt x="0" y="284385"/>
                  <a:pt x="2161" y="282231"/>
                  <a:pt x="4681" y="282231"/>
                </a:cubicBezTo>
                <a:lnTo>
                  <a:pt x="18726" y="282231"/>
                </a:lnTo>
                <a:lnTo>
                  <a:pt x="18726" y="249551"/>
                </a:lnTo>
                <a:lnTo>
                  <a:pt x="4681" y="249551"/>
                </a:lnTo>
                <a:cubicBezTo>
                  <a:pt x="2161" y="249551"/>
                  <a:pt x="0" y="247396"/>
                  <a:pt x="0" y="244882"/>
                </a:cubicBezTo>
                <a:cubicBezTo>
                  <a:pt x="0" y="242009"/>
                  <a:pt x="2161" y="240213"/>
                  <a:pt x="4681" y="240213"/>
                </a:cubicBezTo>
                <a:lnTo>
                  <a:pt x="18726" y="240213"/>
                </a:lnTo>
                <a:lnTo>
                  <a:pt x="18726" y="199274"/>
                </a:lnTo>
                <a:lnTo>
                  <a:pt x="4681" y="199274"/>
                </a:lnTo>
                <a:cubicBezTo>
                  <a:pt x="2161" y="199274"/>
                  <a:pt x="0" y="197119"/>
                  <a:pt x="0" y="194605"/>
                </a:cubicBezTo>
                <a:cubicBezTo>
                  <a:pt x="0" y="192091"/>
                  <a:pt x="2161" y="189937"/>
                  <a:pt x="4681" y="189937"/>
                </a:cubicBezTo>
                <a:lnTo>
                  <a:pt x="18726" y="189937"/>
                </a:lnTo>
                <a:lnTo>
                  <a:pt x="18726" y="149356"/>
                </a:lnTo>
                <a:lnTo>
                  <a:pt x="4681" y="149356"/>
                </a:lnTo>
                <a:cubicBezTo>
                  <a:pt x="2161" y="149356"/>
                  <a:pt x="0" y="147201"/>
                  <a:pt x="0" y="144328"/>
                </a:cubicBezTo>
                <a:cubicBezTo>
                  <a:pt x="0" y="141814"/>
                  <a:pt x="2161" y="139660"/>
                  <a:pt x="4681" y="139660"/>
                </a:cubicBezTo>
                <a:lnTo>
                  <a:pt x="18726" y="139660"/>
                </a:lnTo>
                <a:lnTo>
                  <a:pt x="18726" y="99079"/>
                </a:lnTo>
                <a:lnTo>
                  <a:pt x="4681" y="99079"/>
                </a:lnTo>
                <a:cubicBezTo>
                  <a:pt x="2161" y="99079"/>
                  <a:pt x="0" y="96924"/>
                  <a:pt x="0" y="94410"/>
                </a:cubicBezTo>
                <a:cubicBezTo>
                  <a:pt x="0" y="91537"/>
                  <a:pt x="2161" y="89742"/>
                  <a:pt x="4681" y="89742"/>
                </a:cubicBezTo>
                <a:lnTo>
                  <a:pt x="18726" y="89742"/>
                </a:lnTo>
                <a:lnTo>
                  <a:pt x="18726" y="48802"/>
                </a:lnTo>
                <a:lnTo>
                  <a:pt x="4681" y="48802"/>
                </a:lnTo>
                <a:cubicBezTo>
                  <a:pt x="2161" y="48802"/>
                  <a:pt x="0" y="46647"/>
                  <a:pt x="0" y="44133"/>
                </a:cubicBezTo>
                <a:cubicBezTo>
                  <a:pt x="0" y="41620"/>
                  <a:pt x="2161" y="39465"/>
                  <a:pt x="4681" y="39465"/>
                </a:cubicBezTo>
                <a:lnTo>
                  <a:pt x="18726" y="39465"/>
                </a:lnTo>
                <a:lnTo>
                  <a:pt x="18726" y="5708"/>
                </a:lnTo>
                <a:cubicBezTo>
                  <a:pt x="18726" y="3194"/>
                  <a:pt x="20887" y="1039"/>
                  <a:pt x="23408" y="1039"/>
                </a:cubicBezTo>
                <a:close/>
                <a:moveTo>
                  <a:pt x="302501" y="883"/>
                </a:moveTo>
                <a:cubicBezTo>
                  <a:pt x="304663" y="-549"/>
                  <a:pt x="307546" y="-191"/>
                  <a:pt x="309348" y="1599"/>
                </a:cubicBezTo>
                <a:cubicBezTo>
                  <a:pt x="310790" y="3747"/>
                  <a:pt x="310429" y="6610"/>
                  <a:pt x="308267" y="8042"/>
                </a:cubicBezTo>
                <a:lnTo>
                  <a:pt x="261054" y="45629"/>
                </a:lnTo>
                <a:cubicBezTo>
                  <a:pt x="262135" y="48134"/>
                  <a:pt x="262496" y="50640"/>
                  <a:pt x="262496" y="53504"/>
                </a:cubicBezTo>
                <a:cubicBezTo>
                  <a:pt x="262496" y="62095"/>
                  <a:pt x="256369" y="69255"/>
                  <a:pt x="248440" y="71402"/>
                </a:cubicBezTo>
                <a:lnTo>
                  <a:pt x="248440" y="103977"/>
                </a:lnTo>
                <a:cubicBezTo>
                  <a:pt x="248440" y="106483"/>
                  <a:pt x="246277" y="108631"/>
                  <a:pt x="243754" y="108631"/>
                </a:cubicBezTo>
                <a:cubicBezTo>
                  <a:pt x="241232" y="108631"/>
                  <a:pt x="239069" y="106483"/>
                  <a:pt x="239069" y="103977"/>
                </a:cubicBezTo>
                <a:lnTo>
                  <a:pt x="239069" y="71402"/>
                </a:lnTo>
                <a:cubicBezTo>
                  <a:pt x="231140" y="69255"/>
                  <a:pt x="225013" y="62095"/>
                  <a:pt x="225013" y="53504"/>
                </a:cubicBezTo>
                <a:cubicBezTo>
                  <a:pt x="225013" y="53504"/>
                  <a:pt x="225013" y="53504"/>
                  <a:pt x="225013" y="53146"/>
                </a:cubicBezTo>
                <a:lnTo>
                  <a:pt x="159419" y="35964"/>
                </a:lnTo>
                <a:lnTo>
                  <a:pt x="98150" y="85363"/>
                </a:lnTo>
                <a:cubicBezTo>
                  <a:pt x="97429" y="86437"/>
                  <a:pt x="96348" y="86437"/>
                  <a:pt x="95267" y="86437"/>
                </a:cubicBezTo>
                <a:cubicBezTo>
                  <a:pt x="94186" y="86437"/>
                  <a:pt x="93465" y="86437"/>
                  <a:pt x="92744" y="86079"/>
                </a:cubicBezTo>
                <a:lnTo>
                  <a:pt x="46973" y="57084"/>
                </a:lnTo>
                <a:cubicBezTo>
                  <a:pt x="45171" y="55294"/>
                  <a:pt x="44450" y="52788"/>
                  <a:pt x="45531" y="50282"/>
                </a:cubicBezTo>
                <a:cubicBezTo>
                  <a:pt x="46973" y="48492"/>
                  <a:pt x="49856" y="47777"/>
                  <a:pt x="52379" y="48850"/>
                </a:cubicBezTo>
                <a:lnTo>
                  <a:pt x="94907" y="76056"/>
                </a:lnTo>
                <a:lnTo>
                  <a:pt x="155455" y="27014"/>
                </a:lnTo>
                <a:cubicBezTo>
                  <a:pt x="156536" y="25941"/>
                  <a:pt x="158338" y="25941"/>
                  <a:pt x="159419" y="26298"/>
                </a:cubicBezTo>
                <a:lnTo>
                  <a:pt x="227536" y="44197"/>
                </a:lnTo>
                <a:cubicBezTo>
                  <a:pt x="230779" y="38469"/>
                  <a:pt x="236906" y="34532"/>
                  <a:pt x="243754" y="34532"/>
                </a:cubicBezTo>
                <a:cubicBezTo>
                  <a:pt x="248079" y="34532"/>
                  <a:pt x="251683" y="35964"/>
                  <a:pt x="254927" y="38469"/>
                </a:cubicBezTo>
                <a:lnTo>
                  <a:pt x="302501" y="883"/>
                </a:lnTo>
                <a:close/>
              </a:path>
            </a:pathLst>
          </a:custGeom>
          <a:solidFill>
            <a:schemeClr val="accent3"/>
          </a:solidFill>
          <a:ln>
            <a:noFill/>
          </a:ln>
          <a:effectLst/>
        </p:spPr>
        <p:txBody>
          <a:bodyPr anchor="ctr"/>
          <a:lstStyle/>
          <a:p>
            <a:endParaRPr lang="en-US" sz="900"/>
          </a:p>
        </p:txBody>
      </p:sp>
      <p:sp>
        <p:nvSpPr>
          <p:cNvPr id="18" name="Freeform 687">
            <a:extLst>
              <a:ext uri="{FF2B5EF4-FFF2-40B4-BE49-F238E27FC236}">
                <a16:creationId xmlns:a16="http://schemas.microsoft.com/office/drawing/2014/main" id="{D1FE0184-80DA-7908-D409-F2ADAC1C6BC7}"/>
              </a:ext>
            </a:extLst>
          </p:cNvPr>
          <p:cNvSpPr>
            <a:spLocks noChangeArrowheads="1"/>
          </p:cNvSpPr>
          <p:nvPr userDrawn="1"/>
        </p:nvSpPr>
        <p:spPr bwMode="auto">
          <a:xfrm>
            <a:off x="8157684" y="2930705"/>
            <a:ext cx="539608" cy="539608"/>
          </a:xfrm>
          <a:custGeom>
            <a:avLst/>
            <a:gdLst/>
            <a:ahLst/>
            <a:cxnLst/>
            <a:rect l="0" t="0" r="r" b="b"/>
            <a:pathLst>
              <a:path w="310253" h="309203">
                <a:moveTo>
                  <a:pt x="124255" y="281192"/>
                </a:moveTo>
                <a:lnTo>
                  <a:pt x="115277" y="299866"/>
                </a:lnTo>
                <a:lnTo>
                  <a:pt x="193566" y="299866"/>
                </a:lnTo>
                <a:lnTo>
                  <a:pt x="184229" y="281192"/>
                </a:lnTo>
                <a:lnTo>
                  <a:pt x="124255" y="281192"/>
                </a:lnTo>
                <a:close/>
                <a:moveTo>
                  <a:pt x="155396" y="177715"/>
                </a:moveTo>
                <a:cubicBezTo>
                  <a:pt x="148247" y="177715"/>
                  <a:pt x="142528" y="183887"/>
                  <a:pt x="142528" y="191148"/>
                </a:cubicBezTo>
                <a:cubicBezTo>
                  <a:pt x="142528" y="194778"/>
                  <a:pt x="144315" y="198772"/>
                  <a:pt x="147532" y="201313"/>
                </a:cubicBezTo>
                <a:cubicBezTo>
                  <a:pt x="148962" y="202766"/>
                  <a:pt x="149677" y="204581"/>
                  <a:pt x="148962" y="206396"/>
                </a:cubicBezTo>
                <a:lnTo>
                  <a:pt x="139668" y="239434"/>
                </a:lnTo>
                <a:lnTo>
                  <a:pt x="170766" y="239434"/>
                </a:lnTo>
                <a:lnTo>
                  <a:pt x="161473" y="206396"/>
                </a:lnTo>
                <a:cubicBezTo>
                  <a:pt x="161115" y="204581"/>
                  <a:pt x="161830" y="202766"/>
                  <a:pt x="163260" y="201313"/>
                </a:cubicBezTo>
                <a:cubicBezTo>
                  <a:pt x="166120" y="198772"/>
                  <a:pt x="168264" y="194778"/>
                  <a:pt x="168264" y="191148"/>
                </a:cubicBezTo>
                <a:cubicBezTo>
                  <a:pt x="168264" y="183887"/>
                  <a:pt x="162188" y="177715"/>
                  <a:pt x="155396" y="177715"/>
                </a:cubicBezTo>
                <a:close/>
                <a:moveTo>
                  <a:pt x="155396" y="168275"/>
                </a:moveTo>
                <a:cubicBezTo>
                  <a:pt x="167549" y="168275"/>
                  <a:pt x="177200" y="178441"/>
                  <a:pt x="177200" y="191148"/>
                </a:cubicBezTo>
                <a:cubicBezTo>
                  <a:pt x="177200" y="196594"/>
                  <a:pt x="175413" y="202403"/>
                  <a:pt x="171481" y="206759"/>
                </a:cubicBezTo>
                <a:lnTo>
                  <a:pt x="181490" y="242702"/>
                </a:lnTo>
                <a:cubicBezTo>
                  <a:pt x="182205" y="244154"/>
                  <a:pt x="181847" y="245606"/>
                  <a:pt x="180775" y="247059"/>
                </a:cubicBezTo>
                <a:cubicBezTo>
                  <a:pt x="180060" y="247785"/>
                  <a:pt x="178630" y="248874"/>
                  <a:pt x="177200" y="248874"/>
                </a:cubicBezTo>
                <a:lnTo>
                  <a:pt x="133234" y="248874"/>
                </a:lnTo>
                <a:cubicBezTo>
                  <a:pt x="131804" y="248874"/>
                  <a:pt x="130732" y="247785"/>
                  <a:pt x="129660" y="247059"/>
                </a:cubicBezTo>
                <a:cubicBezTo>
                  <a:pt x="128587" y="245606"/>
                  <a:pt x="128587" y="244154"/>
                  <a:pt x="128945" y="242702"/>
                </a:cubicBezTo>
                <a:lnTo>
                  <a:pt x="139311" y="206759"/>
                </a:lnTo>
                <a:cubicBezTo>
                  <a:pt x="135379" y="202403"/>
                  <a:pt x="133234" y="196594"/>
                  <a:pt x="133234" y="191148"/>
                </a:cubicBezTo>
                <a:cubicBezTo>
                  <a:pt x="133234" y="178441"/>
                  <a:pt x="142885" y="168275"/>
                  <a:pt x="155396" y="168275"/>
                </a:cubicBezTo>
                <a:close/>
                <a:moveTo>
                  <a:pt x="154781" y="49212"/>
                </a:moveTo>
                <a:cubicBezTo>
                  <a:pt x="157262" y="49212"/>
                  <a:pt x="159388" y="51381"/>
                  <a:pt x="159388" y="54272"/>
                </a:cubicBezTo>
                <a:lnTo>
                  <a:pt x="159388" y="57525"/>
                </a:lnTo>
                <a:cubicBezTo>
                  <a:pt x="165412" y="58971"/>
                  <a:pt x="170727" y="63308"/>
                  <a:pt x="172853" y="68730"/>
                </a:cubicBezTo>
                <a:cubicBezTo>
                  <a:pt x="173916" y="71260"/>
                  <a:pt x="172853" y="74151"/>
                  <a:pt x="170727" y="74874"/>
                </a:cubicBezTo>
                <a:cubicBezTo>
                  <a:pt x="168247" y="75959"/>
                  <a:pt x="165412" y="74874"/>
                  <a:pt x="164703" y="72344"/>
                </a:cubicBezTo>
                <a:cubicBezTo>
                  <a:pt x="162931" y="68730"/>
                  <a:pt x="159034" y="66561"/>
                  <a:pt x="154781" y="66561"/>
                </a:cubicBezTo>
                <a:cubicBezTo>
                  <a:pt x="149112" y="66561"/>
                  <a:pt x="144151" y="70537"/>
                  <a:pt x="144151" y="75597"/>
                </a:cubicBezTo>
                <a:cubicBezTo>
                  <a:pt x="144151" y="81742"/>
                  <a:pt x="147694" y="84633"/>
                  <a:pt x="154781" y="84633"/>
                </a:cubicBezTo>
                <a:cubicBezTo>
                  <a:pt x="166475" y="84633"/>
                  <a:pt x="174271" y="92224"/>
                  <a:pt x="174271" y="103428"/>
                </a:cubicBezTo>
                <a:cubicBezTo>
                  <a:pt x="174271" y="112103"/>
                  <a:pt x="167892" y="119693"/>
                  <a:pt x="159388" y="121500"/>
                </a:cubicBezTo>
                <a:lnTo>
                  <a:pt x="159388" y="125115"/>
                </a:lnTo>
                <a:cubicBezTo>
                  <a:pt x="159388" y="127645"/>
                  <a:pt x="157262" y="129813"/>
                  <a:pt x="154781" y="129813"/>
                </a:cubicBezTo>
                <a:cubicBezTo>
                  <a:pt x="151946" y="129813"/>
                  <a:pt x="149820" y="127645"/>
                  <a:pt x="149820" y="125115"/>
                </a:cubicBezTo>
                <a:lnTo>
                  <a:pt x="149820" y="121500"/>
                </a:lnTo>
                <a:cubicBezTo>
                  <a:pt x="143796" y="120055"/>
                  <a:pt x="138835" y="116079"/>
                  <a:pt x="136355" y="110296"/>
                </a:cubicBezTo>
                <a:cubicBezTo>
                  <a:pt x="135292" y="108127"/>
                  <a:pt x="136709" y="105235"/>
                  <a:pt x="138835" y="104151"/>
                </a:cubicBezTo>
                <a:cubicBezTo>
                  <a:pt x="141316" y="103067"/>
                  <a:pt x="143796" y="104513"/>
                  <a:pt x="144859" y="106681"/>
                </a:cubicBezTo>
                <a:cubicBezTo>
                  <a:pt x="146277" y="110296"/>
                  <a:pt x="150529" y="112464"/>
                  <a:pt x="154781" y="112464"/>
                </a:cubicBezTo>
                <a:cubicBezTo>
                  <a:pt x="160451" y="112464"/>
                  <a:pt x="165058" y="108488"/>
                  <a:pt x="165058" y="103428"/>
                </a:cubicBezTo>
                <a:cubicBezTo>
                  <a:pt x="165058" y="97284"/>
                  <a:pt x="161514" y="94392"/>
                  <a:pt x="154781" y="94392"/>
                </a:cubicBezTo>
                <a:cubicBezTo>
                  <a:pt x="140253" y="94392"/>
                  <a:pt x="134937" y="84633"/>
                  <a:pt x="134937" y="75597"/>
                </a:cubicBezTo>
                <a:cubicBezTo>
                  <a:pt x="134937" y="66923"/>
                  <a:pt x="141316" y="59694"/>
                  <a:pt x="149820" y="57525"/>
                </a:cubicBezTo>
                <a:lnTo>
                  <a:pt x="149820" y="54272"/>
                </a:lnTo>
                <a:cubicBezTo>
                  <a:pt x="149820" y="51381"/>
                  <a:pt x="151946" y="49212"/>
                  <a:pt x="154781" y="49212"/>
                </a:cubicBezTo>
                <a:close/>
                <a:moveTo>
                  <a:pt x="261652" y="43586"/>
                </a:moveTo>
                <a:cubicBezTo>
                  <a:pt x="263445" y="42862"/>
                  <a:pt x="265239" y="43586"/>
                  <a:pt x="266673" y="44673"/>
                </a:cubicBezTo>
                <a:lnTo>
                  <a:pt x="308639" y="87409"/>
                </a:lnTo>
                <a:cubicBezTo>
                  <a:pt x="310791" y="89219"/>
                  <a:pt x="310791" y="92117"/>
                  <a:pt x="308639" y="93928"/>
                </a:cubicBezTo>
                <a:lnTo>
                  <a:pt x="266673" y="136301"/>
                </a:lnTo>
                <a:cubicBezTo>
                  <a:pt x="265597" y="137388"/>
                  <a:pt x="264521" y="137750"/>
                  <a:pt x="263445" y="137750"/>
                </a:cubicBezTo>
                <a:cubicBezTo>
                  <a:pt x="262728" y="137750"/>
                  <a:pt x="262011" y="137750"/>
                  <a:pt x="261652" y="137388"/>
                </a:cubicBezTo>
                <a:cubicBezTo>
                  <a:pt x="259858" y="136663"/>
                  <a:pt x="258782" y="135215"/>
                  <a:pt x="258782" y="133042"/>
                </a:cubicBezTo>
                <a:lnTo>
                  <a:pt x="258782" y="113122"/>
                </a:lnTo>
                <a:lnTo>
                  <a:pt x="230088" y="113122"/>
                </a:lnTo>
                <a:cubicBezTo>
                  <a:pt x="227577" y="113122"/>
                  <a:pt x="225425" y="110949"/>
                  <a:pt x="225425" y="108414"/>
                </a:cubicBezTo>
                <a:cubicBezTo>
                  <a:pt x="225425" y="105879"/>
                  <a:pt x="227577" y="103706"/>
                  <a:pt x="230088" y="103706"/>
                </a:cubicBezTo>
                <a:lnTo>
                  <a:pt x="263445" y="103706"/>
                </a:lnTo>
                <a:cubicBezTo>
                  <a:pt x="265956" y="103706"/>
                  <a:pt x="268108" y="105879"/>
                  <a:pt x="268108" y="108414"/>
                </a:cubicBezTo>
                <a:lnTo>
                  <a:pt x="268108" y="121814"/>
                </a:lnTo>
                <a:lnTo>
                  <a:pt x="298955" y="90668"/>
                </a:lnTo>
                <a:lnTo>
                  <a:pt x="268108" y="59522"/>
                </a:lnTo>
                <a:lnTo>
                  <a:pt x="268108" y="72197"/>
                </a:lnTo>
                <a:cubicBezTo>
                  <a:pt x="268108" y="74733"/>
                  <a:pt x="265956" y="76906"/>
                  <a:pt x="263445" y="76906"/>
                </a:cubicBezTo>
                <a:lnTo>
                  <a:pt x="230088" y="76906"/>
                </a:lnTo>
                <a:cubicBezTo>
                  <a:pt x="227577" y="76906"/>
                  <a:pt x="225425" y="74733"/>
                  <a:pt x="225425" y="72197"/>
                </a:cubicBezTo>
                <a:cubicBezTo>
                  <a:pt x="225425" y="69662"/>
                  <a:pt x="227577" y="67489"/>
                  <a:pt x="230088" y="67489"/>
                </a:cubicBezTo>
                <a:lnTo>
                  <a:pt x="258782" y="67489"/>
                </a:lnTo>
                <a:lnTo>
                  <a:pt x="258782" y="47932"/>
                </a:lnTo>
                <a:cubicBezTo>
                  <a:pt x="258782" y="46121"/>
                  <a:pt x="259858" y="44311"/>
                  <a:pt x="261652" y="43586"/>
                </a:cubicBezTo>
                <a:close/>
                <a:moveTo>
                  <a:pt x="154781" y="37922"/>
                </a:moveTo>
                <a:cubicBezTo>
                  <a:pt x="126378" y="37922"/>
                  <a:pt x="103009" y="61291"/>
                  <a:pt x="103009" y="89693"/>
                </a:cubicBezTo>
                <a:cubicBezTo>
                  <a:pt x="103009" y="118096"/>
                  <a:pt x="126378" y="141105"/>
                  <a:pt x="154781" y="141105"/>
                </a:cubicBezTo>
                <a:cubicBezTo>
                  <a:pt x="183183" y="141105"/>
                  <a:pt x="206193" y="118096"/>
                  <a:pt x="206193" y="89693"/>
                </a:cubicBezTo>
                <a:cubicBezTo>
                  <a:pt x="206193" y="61291"/>
                  <a:pt x="183183" y="37922"/>
                  <a:pt x="154781" y="37922"/>
                </a:cubicBezTo>
                <a:close/>
                <a:moveTo>
                  <a:pt x="154781" y="28575"/>
                </a:moveTo>
                <a:cubicBezTo>
                  <a:pt x="188217" y="28575"/>
                  <a:pt x="215540" y="55899"/>
                  <a:pt x="215540" y="89693"/>
                </a:cubicBezTo>
                <a:cubicBezTo>
                  <a:pt x="215540" y="123129"/>
                  <a:pt x="188217" y="150452"/>
                  <a:pt x="154781" y="150452"/>
                </a:cubicBezTo>
                <a:cubicBezTo>
                  <a:pt x="120986" y="150452"/>
                  <a:pt x="93662" y="123129"/>
                  <a:pt x="93662" y="89693"/>
                </a:cubicBezTo>
                <a:cubicBezTo>
                  <a:pt x="93662" y="55899"/>
                  <a:pt x="120986" y="28575"/>
                  <a:pt x="154781" y="28575"/>
                </a:cubicBezTo>
                <a:close/>
                <a:moveTo>
                  <a:pt x="18674" y="0"/>
                </a:moveTo>
                <a:lnTo>
                  <a:pt x="290170" y="0"/>
                </a:lnTo>
                <a:cubicBezTo>
                  <a:pt x="300584" y="0"/>
                  <a:pt x="309203" y="8260"/>
                  <a:pt x="309203" y="18674"/>
                </a:cubicBezTo>
                <a:lnTo>
                  <a:pt x="309203" y="52791"/>
                </a:lnTo>
                <a:cubicBezTo>
                  <a:pt x="309203" y="55305"/>
                  <a:pt x="306689" y="57459"/>
                  <a:pt x="304175" y="57459"/>
                </a:cubicBezTo>
                <a:cubicBezTo>
                  <a:pt x="301661" y="57459"/>
                  <a:pt x="299507" y="55305"/>
                  <a:pt x="299507" y="52791"/>
                </a:cubicBezTo>
                <a:lnTo>
                  <a:pt x="299507" y="18674"/>
                </a:lnTo>
                <a:cubicBezTo>
                  <a:pt x="299507" y="13647"/>
                  <a:pt x="295197" y="9337"/>
                  <a:pt x="290170" y="9337"/>
                </a:cubicBezTo>
                <a:lnTo>
                  <a:pt x="18674" y="9337"/>
                </a:lnTo>
                <a:cubicBezTo>
                  <a:pt x="13287" y="9337"/>
                  <a:pt x="8978" y="13647"/>
                  <a:pt x="8978" y="18674"/>
                </a:cubicBezTo>
                <a:lnTo>
                  <a:pt x="8978" y="67515"/>
                </a:lnTo>
                <a:lnTo>
                  <a:pt x="28370" y="67515"/>
                </a:lnTo>
                <a:lnTo>
                  <a:pt x="28370" y="48122"/>
                </a:lnTo>
                <a:cubicBezTo>
                  <a:pt x="28370" y="46326"/>
                  <a:pt x="29448" y="44531"/>
                  <a:pt x="31243" y="43813"/>
                </a:cubicBezTo>
                <a:cubicBezTo>
                  <a:pt x="33039" y="43094"/>
                  <a:pt x="34834" y="43813"/>
                  <a:pt x="36630" y="44890"/>
                </a:cubicBezTo>
                <a:lnTo>
                  <a:pt x="78288" y="87266"/>
                </a:lnTo>
                <a:cubicBezTo>
                  <a:pt x="80443" y="89062"/>
                  <a:pt x="80443" y="91935"/>
                  <a:pt x="78288" y="93730"/>
                </a:cubicBezTo>
                <a:lnTo>
                  <a:pt x="36630" y="135748"/>
                </a:lnTo>
                <a:cubicBezTo>
                  <a:pt x="35553" y="136825"/>
                  <a:pt x="34475" y="137184"/>
                  <a:pt x="33039" y="137184"/>
                </a:cubicBezTo>
                <a:cubicBezTo>
                  <a:pt x="32680" y="137184"/>
                  <a:pt x="31961" y="137184"/>
                  <a:pt x="31243" y="136825"/>
                </a:cubicBezTo>
                <a:cubicBezTo>
                  <a:pt x="29448" y="136107"/>
                  <a:pt x="28370" y="134670"/>
                  <a:pt x="28370" y="132515"/>
                </a:cubicBezTo>
                <a:lnTo>
                  <a:pt x="28370" y="112764"/>
                </a:lnTo>
                <a:lnTo>
                  <a:pt x="8978" y="112764"/>
                </a:lnTo>
                <a:lnTo>
                  <a:pt x="8978" y="239174"/>
                </a:lnTo>
                <a:lnTo>
                  <a:pt x="102708" y="239174"/>
                </a:lnTo>
                <a:cubicBezTo>
                  <a:pt x="105581" y="239174"/>
                  <a:pt x="107377" y="240970"/>
                  <a:pt x="107377" y="243484"/>
                </a:cubicBezTo>
                <a:cubicBezTo>
                  <a:pt x="107377" y="246357"/>
                  <a:pt x="105581" y="248512"/>
                  <a:pt x="102708" y="248512"/>
                </a:cubicBezTo>
                <a:lnTo>
                  <a:pt x="8978" y="248512"/>
                </a:lnTo>
                <a:lnTo>
                  <a:pt x="8978" y="262517"/>
                </a:lnTo>
                <a:cubicBezTo>
                  <a:pt x="8978" y="267545"/>
                  <a:pt x="13287" y="271854"/>
                  <a:pt x="18674" y="271854"/>
                </a:cubicBezTo>
                <a:lnTo>
                  <a:pt x="121383" y="271854"/>
                </a:lnTo>
                <a:lnTo>
                  <a:pt x="187102" y="271854"/>
                </a:lnTo>
                <a:lnTo>
                  <a:pt x="290170" y="271854"/>
                </a:lnTo>
                <a:cubicBezTo>
                  <a:pt x="295197" y="271854"/>
                  <a:pt x="299507" y="267545"/>
                  <a:pt x="299507" y="262517"/>
                </a:cubicBezTo>
                <a:lnTo>
                  <a:pt x="299507" y="248512"/>
                </a:lnTo>
                <a:lnTo>
                  <a:pt x="205776" y="248512"/>
                </a:lnTo>
                <a:cubicBezTo>
                  <a:pt x="203262" y="248512"/>
                  <a:pt x="201108" y="246357"/>
                  <a:pt x="201108" y="243484"/>
                </a:cubicBezTo>
                <a:cubicBezTo>
                  <a:pt x="201108" y="240970"/>
                  <a:pt x="203262" y="239174"/>
                  <a:pt x="205776" y="239174"/>
                </a:cubicBezTo>
                <a:lnTo>
                  <a:pt x="299507" y="239174"/>
                </a:lnTo>
                <a:lnTo>
                  <a:pt x="299507" y="127847"/>
                </a:lnTo>
                <a:cubicBezTo>
                  <a:pt x="299507" y="125333"/>
                  <a:pt x="301661" y="123178"/>
                  <a:pt x="304175" y="123178"/>
                </a:cubicBezTo>
                <a:cubicBezTo>
                  <a:pt x="306689" y="123178"/>
                  <a:pt x="309203" y="125333"/>
                  <a:pt x="309203" y="127847"/>
                </a:cubicBezTo>
                <a:lnTo>
                  <a:pt x="309203" y="243484"/>
                </a:lnTo>
                <a:lnTo>
                  <a:pt x="309203" y="262517"/>
                </a:lnTo>
                <a:cubicBezTo>
                  <a:pt x="309203" y="272573"/>
                  <a:pt x="300584" y="281192"/>
                  <a:pt x="290170" y="281192"/>
                </a:cubicBezTo>
                <a:lnTo>
                  <a:pt x="194643" y="281192"/>
                </a:lnTo>
                <a:lnTo>
                  <a:pt x="204340" y="299866"/>
                </a:lnTo>
                <a:lnTo>
                  <a:pt x="228401" y="299866"/>
                </a:lnTo>
                <a:cubicBezTo>
                  <a:pt x="231274" y="299866"/>
                  <a:pt x="233428" y="302021"/>
                  <a:pt x="233428" y="304534"/>
                </a:cubicBezTo>
                <a:cubicBezTo>
                  <a:pt x="233428" y="307048"/>
                  <a:pt x="231274" y="309203"/>
                  <a:pt x="228401" y="309203"/>
                </a:cubicBezTo>
                <a:lnTo>
                  <a:pt x="201108" y="309203"/>
                </a:lnTo>
                <a:lnTo>
                  <a:pt x="107377" y="309203"/>
                </a:lnTo>
                <a:lnTo>
                  <a:pt x="80084" y="309203"/>
                </a:lnTo>
                <a:cubicBezTo>
                  <a:pt x="77570" y="309203"/>
                  <a:pt x="75415" y="307048"/>
                  <a:pt x="75415" y="304534"/>
                </a:cubicBezTo>
                <a:cubicBezTo>
                  <a:pt x="75415" y="302021"/>
                  <a:pt x="77570" y="299866"/>
                  <a:pt x="80084" y="299866"/>
                </a:cubicBezTo>
                <a:lnTo>
                  <a:pt x="104504" y="299866"/>
                </a:lnTo>
                <a:lnTo>
                  <a:pt x="113841" y="281192"/>
                </a:lnTo>
                <a:lnTo>
                  <a:pt x="18674" y="281192"/>
                </a:lnTo>
                <a:cubicBezTo>
                  <a:pt x="8260" y="281192"/>
                  <a:pt x="0" y="272573"/>
                  <a:pt x="0" y="262517"/>
                </a:cubicBezTo>
                <a:lnTo>
                  <a:pt x="0" y="243484"/>
                </a:lnTo>
                <a:lnTo>
                  <a:pt x="0" y="108095"/>
                </a:lnTo>
                <a:cubicBezTo>
                  <a:pt x="0" y="105581"/>
                  <a:pt x="1795" y="103427"/>
                  <a:pt x="4309" y="103427"/>
                </a:cubicBezTo>
                <a:lnTo>
                  <a:pt x="33039" y="103427"/>
                </a:lnTo>
                <a:cubicBezTo>
                  <a:pt x="35553" y="103427"/>
                  <a:pt x="37707" y="105581"/>
                  <a:pt x="37707" y="108095"/>
                </a:cubicBezTo>
                <a:lnTo>
                  <a:pt x="37707" y="121383"/>
                </a:lnTo>
                <a:lnTo>
                  <a:pt x="68592" y="90498"/>
                </a:lnTo>
                <a:lnTo>
                  <a:pt x="37707" y="59614"/>
                </a:lnTo>
                <a:lnTo>
                  <a:pt x="37707" y="72183"/>
                </a:lnTo>
                <a:cubicBezTo>
                  <a:pt x="37707" y="74697"/>
                  <a:pt x="35553" y="76852"/>
                  <a:pt x="33039" y="76852"/>
                </a:cubicBezTo>
                <a:lnTo>
                  <a:pt x="4309" y="76852"/>
                </a:lnTo>
                <a:cubicBezTo>
                  <a:pt x="1795" y="76852"/>
                  <a:pt x="0" y="74697"/>
                  <a:pt x="0" y="72183"/>
                </a:cubicBezTo>
                <a:lnTo>
                  <a:pt x="0" y="18674"/>
                </a:lnTo>
                <a:cubicBezTo>
                  <a:pt x="0" y="8260"/>
                  <a:pt x="8260" y="0"/>
                  <a:pt x="18674" y="0"/>
                </a:cubicBezTo>
                <a:close/>
              </a:path>
            </a:pathLst>
          </a:custGeom>
          <a:solidFill>
            <a:schemeClr val="accent4"/>
          </a:solidFill>
          <a:ln>
            <a:noFill/>
          </a:ln>
          <a:effectLst/>
        </p:spPr>
        <p:txBody>
          <a:bodyPr anchor="ctr"/>
          <a:lstStyle/>
          <a:p>
            <a:endParaRPr lang="en-US" sz="900"/>
          </a:p>
        </p:txBody>
      </p:sp>
      <p:sp>
        <p:nvSpPr>
          <p:cNvPr id="19" name="Rectangle 18">
            <a:extLst>
              <a:ext uri="{FF2B5EF4-FFF2-40B4-BE49-F238E27FC236}">
                <a16:creationId xmlns:a16="http://schemas.microsoft.com/office/drawing/2014/main" id="{CFA3950B-F563-3290-C4AC-433849E90845}"/>
              </a:ext>
            </a:extLst>
          </p:cNvPr>
          <p:cNvSpPr/>
          <p:nvPr userDrawn="1"/>
        </p:nvSpPr>
        <p:spPr>
          <a:xfrm>
            <a:off x="3719246" y="5112218"/>
            <a:ext cx="48227" cy="11971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Rectangle 19">
            <a:extLst>
              <a:ext uri="{FF2B5EF4-FFF2-40B4-BE49-F238E27FC236}">
                <a16:creationId xmlns:a16="http://schemas.microsoft.com/office/drawing/2014/main" id="{EEFFC4B4-45F4-45EE-2836-D67D63A9831F}"/>
              </a:ext>
            </a:extLst>
          </p:cNvPr>
          <p:cNvSpPr/>
          <p:nvPr userDrawn="1"/>
        </p:nvSpPr>
        <p:spPr>
          <a:xfrm>
            <a:off x="7981869" y="3832585"/>
            <a:ext cx="48227" cy="119714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777F6CAE-75DB-EE27-0B1E-E8A09507B0DA}"/>
              </a:ext>
            </a:extLst>
          </p:cNvPr>
          <p:cNvSpPr/>
          <p:nvPr userDrawn="1"/>
        </p:nvSpPr>
        <p:spPr>
          <a:xfrm>
            <a:off x="1587934" y="3236771"/>
            <a:ext cx="48227" cy="11971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3" name="Rectangle 22">
            <a:extLst>
              <a:ext uri="{FF2B5EF4-FFF2-40B4-BE49-F238E27FC236}">
                <a16:creationId xmlns:a16="http://schemas.microsoft.com/office/drawing/2014/main" id="{43343793-D1D9-E3ED-C053-795C2B8B0A06}"/>
              </a:ext>
            </a:extLst>
          </p:cNvPr>
          <p:cNvSpPr/>
          <p:nvPr userDrawn="1"/>
        </p:nvSpPr>
        <p:spPr>
          <a:xfrm>
            <a:off x="5850557" y="1957138"/>
            <a:ext cx="48227" cy="11971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3" name="Text Placeholder 35">
            <a:extLst>
              <a:ext uri="{FF2B5EF4-FFF2-40B4-BE49-F238E27FC236}">
                <a16:creationId xmlns:a16="http://schemas.microsoft.com/office/drawing/2014/main" id="{FE1B11F5-E097-B588-7FE8-55938C0B4CCC}"/>
              </a:ext>
            </a:extLst>
          </p:cNvPr>
          <p:cNvSpPr>
            <a:spLocks noGrp="1"/>
          </p:cNvSpPr>
          <p:nvPr>
            <p:ph type="body" sz="quarter" idx="33" hasCustomPrompt="1"/>
          </p:nvPr>
        </p:nvSpPr>
        <p:spPr>
          <a:xfrm>
            <a:off x="1752601" y="3224329"/>
            <a:ext cx="1765410" cy="331694"/>
          </a:xfrm>
        </p:spPr>
        <p:txBody>
          <a:bodyPr anchor="b">
            <a:noAutofit/>
          </a:bodyPr>
          <a:lstStyle>
            <a:lvl1pPr marL="0" indent="0" algn="l">
              <a:buNone/>
              <a:defRPr sz="1600" b="1">
                <a:solidFill>
                  <a:srgbClr val="007DB2"/>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4" name="Text Placeholder 2">
            <a:extLst>
              <a:ext uri="{FF2B5EF4-FFF2-40B4-BE49-F238E27FC236}">
                <a16:creationId xmlns:a16="http://schemas.microsoft.com/office/drawing/2014/main" id="{05745628-8E7E-BBBD-0423-0F8E70C60A1D}"/>
              </a:ext>
            </a:extLst>
          </p:cNvPr>
          <p:cNvSpPr>
            <a:spLocks noGrp="1"/>
          </p:cNvSpPr>
          <p:nvPr>
            <p:ph type="body" idx="39" hasCustomPrompt="1"/>
          </p:nvPr>
        </p:nvSpPr>
        <p:spPr>
          <a:xfrm>
            <a:off x="1752601" y="3689698"/>
            <a:ext cx="2050893" cy="735762"/>
          </a:xfrm>
        </p:spPr>
        <p:txBody>
          <a:bodyPr>
            <a:normAutofit/>
          </a:bodyPr>
          <a:lstStyle>
            <a:lvl1pPr marL="0" indent="0" algn="l">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5" name="Text Placeholder 35">
            <a:extLst>
              <a:ext uri="{FF2B5EF4-FFF2-40B4-BE49-F238E27FC236}">
                <a16:creationId xmlns:a16="http://schemas.microsoft.com/office/drawing/2014/main" id="{3FA6185A-C45B-795F-8A03-BBACF617DBC7}"/>
              </a:ext>
            </a:extLst>
          </p:cNvPr>
          <p:cNvSpPr>
            <a:spLocks noGrp="1"/>
          </p:cNvSpPr>
          <p:nvPr>
            <p:ph type="body" sz="quarter" idx="40" hasCustomPrompt="1"/>
          </p:nvPr>
        </p:nvSpPr>
        <p:spPr>
          <a:xfrm>
            <a:off x="3899453" y="5122703"/>
            <a:ext cx="1765410" cy="331694"/>
          </a:xfrm>
        </p:spPr>
        <p:txBody>
          <a:bodyPr anchor="b">
            <a:noAutofit/>
          </a:bodyPr>
          <a:lstStyle>
            <a:lvl1pPr marL="0" indent="0" algn="l">
              <a:buNone/>
              <a:defRPr sz="1600" b="1">
                <a:solidFill>
                  <a:srgbClr val="3EB1C8"/>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6" name="Text Placeholder 2">
            <a:extLst>
              <a:ext uri="{FF2B5EF4-FFF2-40B4-BE49-F238E27FC236}">
                <a16:creationId xmlns:a16="http://schemas.microsoft.com/office/drawing/2014/main" id="{F577E9E8-3C32-E26D-6532-497CEB937E26}"/>
              </a:ext>
            </a:extLst>
          </p:cNvPr>
          <p:cNvSpPr>
            <a:spLocks noGrp="1"/>
          </p:cNvSpPr>
          <p:nvPr>
            <p:ph type="body" idx="41" hasCustomPrompt="1"/>
          </p:nvPr>
        </p:nvSpPr>
        <p:spPr>
          <a:xfrm>
            <a:off x="3899453" y="5588072"/>
            <a:ext cx="2050893" cy="735762"/>
          </a:xfrm>
        </p:spPr>
        <p:txBody>
          <a:bodyPr>
            <a:normAutofit/>
          </a:bodyPr>
          <a:lstStyle>
            <a:lvl1pPr marL="0" indent="0" algn="l">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7" name="Text Placeholder 35">
            <a:extLst>
              <a:ext uri="{FF2B5EF4-FFF2-40B4-BE49-F238E27FC236}">
                <a16:creationId xmlns:a16="http://schemas.microsoft.com/office/drawing/2014/main" id="{4513556D-7C5B-EF89-6470-57D1288A758A}"/>
              </a:ext>
            </a:extLst>
          </p:cNvPr>
          <p:cNvSpPr>
            <a:spLocks noGrp="1"/>
          </p:cNvSpPr>
          <p:nvPr>
            <p:ph type="body" sz="quarter" idx="42" hasCustomPrompt="1"/>
          </p:nvPr>
        </p:nvSpPr>
        <p:spPr>
          <a:xfrm>
            <a:off x="6026427" y="1942182"/>
            <a:ext cx="1765410" cy="331694"/>
          </a:xfrm>
        </p:spPr>
        <p:txBody>
          <a:bodyPr anchor="b">
            <a:noAutofit/>
          </a:bodyPr>
          <a:lstStyle>
            <a:lvl1pPr marL="0" indent="0" algn="l">
              <a:buNone/>
              <a:defRPr sz="1600" b="1">
                <a:solidFill>
                  <a:srgbClr val="22B990"/>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9" name="Text Placeholder 2">
            <a:extLst>
              <a:ext uri="{FF2B5EF4-FFF2-40B4-BE49-F238E27FC236}">
                <a16:creationId xmlns:a16="http://schemas.microsoft.com/office/drawing/2014/main" id="{6A1428A9-65E2-377C-D7A8-273A2892168E}"/>
              </a:ext>
            </a:extLst>
          </p:cNvPr>
          <p:cNvSpPr>
            <a:spLocks noGrp="1"/>
          </p:cNvSpPr>
          <p:nvPr>
            <p:ph type="body" idx="43" hasCustomPrompt="1"/>
          </p:nvPr>
        </p:nvSpPr>
        <p:spPr>
          <a:xfrm>
            <a:off x="6026427" y="2407551"/>
            <a:ext cx="2050893" cy="735762"/>
          </a:xfrm>
        </p:spPr>
        <p:txBody>
          <a:bodyPr>
            <a:normAutofit/>
          </a:bodyPr>
          <a:lstStyle>
            <a:lvl1pPr marL="0" indent="0" algn="l">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0" name="Text Placeholder 35">
            <a:extLst>
              <a:ext uri="{FF2B5EF4-FFF2-40B4-BE49-F238E27FC236}">
                <a16:creationId xmlns:a16="http://schemas.microsoft.com/office/drawing/2014/main" id="{FD4CA4D4-DB31-3C4F-2625-3FEEEDE9064D}"/>
              </a:ext>
            </a:extLst>
          </p:cNvPr>
          <p:cNvSpPr>
            <a:spLocks noGrp="1"/>
          </p:cNvSpPr>
          <p:nvPr>
            <p:ph type="body" sz="quarter" idx="44" hasCustomPrompt="1"/>
          </p:nvPr>
        </p:nvSpPr>
        <p:spPr>
          <a:xfrm>
            <a:off x="8143462" y="3830617"/>
            <a:ext cx="1765410" cy="331694"/>
          </a:xfrm>
        </p:spPr>
        <p:txBody>
          <a:bodyPr anchor="b">
            <a:noAutofit/>
          </a:bodyPr>
          <a:lstStyle>
            <a:lvl1pPr marL="0" indent="0" algn="l">
              <a:buNone/>
              <a:defRPr sz="1600" b="1">
                <a:solidFill>
                  <a:srgbClr val="FFC36F"/>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1" name="Text Placeholder 2">
            <a:extLst>
              <a:ext uri="{FF2B5EF4-FFF2-40B4-BE49-F238E27FC236}">
                <a16:creationId xmlns:a16="http://schemas.microsoft.com/office/drawing/2014/main" id="{F8E08A68-694C-AEAD-7A46-F0B0D56BC9B1}"/>
              </a:ext>
            </a:extLst>
          </p:cNvPr>
          <p:cNvSpPr>
            <a:spLocks noGrp="1"/>
          </p:cNvSpPr>
          <p:nvPr>
            <p:ph type="body" idx="45" hasCustomPrompt="1"/>
          </p:nvPr>
        </p:nvSpPr>
        <p:spPr>
          <a:xfrm>
            <a:off x="8143462" y="4295986"/>
            <a:ext cx="2050893" cy="735762"/>
          </a:xfrm>
        </p:spPr>
        <p:txBody>
          <a:bodyPr>
            <a:normAutofit/>
          </a:bodyPr>
          <a:lstStyle>
            <a:lvl1pPr marL="0" indent="0" algn="l">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2" name="Title 1">
            <a:extLst>
              <a:ext uri="{FF2B5EF4-FFF2-40B4-BE49-F238E27FC236}">
                <a16:creationId xmlns:a16="http://schemas.microsoft.com/office/drawing/2014/main" id="{FFDE0496-393D-0875-1B6C-374CEF602D8F}"/>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Tree>
    <p:extLst>
      <p:ext uri="{BB962C8B-B14F-4D97-AF65-F5344CB8AC3E}">
        <p14:creationId xmlns:p14="http://schemas.microsoft.com/office/powerpoint/2010/main" val="33426802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ABFBE34-2614-1561-2698-01D86871189A}"/>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reeform 1">
            <a:extLst>
              <a:ext uri="{FF2B5EF4-FFF2-40B4-BE49-F238E27FC236}">
                <a16:creationId xmlns:a16="http://schemas.microsoft.com/office/drawing/2014/main" id="{4D9D0069-EC72-9B68-658B-4B03591D7418}"/>
              </a:ext>
            </a:extLst>
          </p:cNvPr>
          <p:cNvSpPr>
            <a:spLocks noChangeArrowheads="1"/>
          </p:cNvSpPr>
          <p:nvPr userDrawn="1"/>
        </p:nvSpPr>
        <p:spPr bwMode="auto">
          <a:xfrm>
            <a:off x="4455410" y="2427394"/>
            <a:ext cx="3288101" cy="3288101"/>
          </a:xfrm>
          <a:custGeom>
            <a:avLst/>
            <a:gdLst>
              <a:gd name="T0" fmla="*/ 5571 w 11134"/>
              <a:gd name="T1" fmla="*/ 11132 h 11134"/>
              <a:gd name="T2" fmla="*/ 5571 w 11134"/>
              <a:gd name="T3" fmla="*/ 11132 h 11134"/>
              <a:gd name="T4" fmla="*/ 11131 w 11134"/>
              <a:gd name="T5" fmla="*/ 5563 h 11134"/>
              <a:gd name="T6" fmla="*/ 11131 w 11134"/>
              <a:gd name="T7" fmla="*/ 5563 h 11134"/>
              <a:gd name="T8" fmla="*/ 5563 w 11134"/>
              <a:gd name="T9" fmla="*/ 3 h 11134"/>
              <a:gd name="T10" fmla="*/ 5563 w 11134"/>
              <a:gd name="T11" fmla="*/ 3 h 11134"/>
              <a:gd name="T12" fmla="*/ 2 w 11134"/>
              <a:gd name="T13" fmla="*/ 5571 h 11134"/>
              <a:gd name="T14" fmla="*/ 2 w 11134"/>
              <a:gd name="T15" fmla="*/ 5571 h 11134"/>
              <a:gd name="T16" fmla="*/ 5571 w 11134"/>
              <a:gd name="T17" fmla="*/ 11132 h 1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34" h="11134">
                <a:moveTo>
                  <a:pt x="5571" y="11132"/>
                </a:moveTo>
                <a:lnTo>
                  <a:pt x="5571" y="11132"/>
                </a:lnTo>
                <a:cubicBezTo>
                  <a:pt x="8644" y="11128"/>
                  <a:pt x="11133" y="8636"/>
                  <a:pt x="11131" y="5563"/>
                </a:cubicBezTo>
                <a:lnTo>
                  <a:pt x="11131" y="5563"/>
                </a:lnTo>
                <a:cubicBezTo>
                  <a:pt x="11129" y="2489"/>
                  <a:pt x="8635" y="0"/>
                  <a:pt x="5563" y="3"/>
                </a:cubicBezTo>
                <a:lnTo>
                  <a:pt x="5563" y="3"/>
                </a:lnTo>
                <a:cubicBezTo>
                  <a:pt x="2491" y="5"/>
                  <a:pt x="0" y="2498"/>
                  <a:pt x="2" y="5571"/>
                </a:cubicBezTo>
                <a:lnTo>
                  <a:pt x="2" y="5571"/>
                </a:lnTo>
                <a:cubicBezTo>
                  <a:pt x="4" y="8644"/>
                  <a:pt x="2498" y="11133"/>
                  <a:pt x="5571" y="11132"/>
                </a:cubicBezTo>
              </a:path>
            </a:pathLst>
          </a:custGeom>
          <a:solidFill>
            <a:schemeClr val="bg1"/>
          </a:solidFill>
          <a:ln>
            <a:noFill/>
          </a:ln>
          <a:effectLst/>
        </p:spPr>
        <p:txBody>
          <a:bodyPr wrap="none" anchor="ctr"/>
          <a:lstStyle/>
          <a:p>
            <a:endParaRPr lang="en-US" sz="3266"/>
          </a:p>
        </p:txBody>
      </p:sp>
      <p:sp>
        <p:nvSpPr>
          <p:cNvPr id="5" name="Freeform 4">
            <a:extLst>
              <a:ext uri="{FF2B5EF4-FFF2-40B4-BE49-F238E27FC236}">
                <a16:creationId xmlns:a16="http://schemas.microsoft.com/office/drawing/2014/main" id="{2614E118-8433-8AD1-DF3F-6DA5C2CB7D8A}"/>
              </a:ext>
            </a:extLst>
          </p:cNvPr>
          <p:cNvSpPr>
            <a:spLocks noChangeArrowheads="1"/>
          </p:cNvSpPr>
          <p:nvPr userDrawn="1"/>
        </p:nvSpPr>
        <p:spPr bwMode="auto">
          <a:xfrm>
            <a:off x="6097506" y="2193881"/>
            <a:ext cx="1879223" cy="3757021"/>
          </a:xfrm>
          <a:custGeom>
            <a:avLst/>
            <a:gdLst>
              <a:gd name="connsiteX0" fmla="*/ 2882 w 4156546"/>
              <a:gd name="connsiteY0" fmla="*/ 3371527 h 8309941"/>
              <a:gd name="connsiteX1" fmla="*/ 785018 w 4156546"/>
              <a:gd name="connsiteY1" fmla="*/ 4150918 h 8309941"/>
              <a:gd name="connsiteX2" fmla="*/ 3535 w 4156546"/>
              <a:gd name="connsiteY2" fmla="*/ 4934226 h 8309941"/>
              <a:gd name="connsiteX3" fmla="*/ 2 w 4156546"/>
              <a:gd name="connsiteY3" fmla="*/ 1695844 h 8309941"/>
              <a:gd name="connsiteX4" fmla="*/ 2461354 w 4156546"/>
              <a:gd name="connsiteY4" fmla="*/ 4153009 h 8309941"/>
              <a:gd name="connsiteX5" fmla="*/ 3268 w 4156546"/>
              <a:gd name="connsiteY5" fmla="*/ 6613440 h 8309941"/>
              <a:gd name="connsiteX6" fmla="*/ 2615 w 4156546"/>
              <a:gd name="connsiteY6" fmla="*/ 5668729 h 8309941"/>
              <a:gd name="connsiteX7" fmla="*/ 1516791 w 4156546"/>
              <a:gd name="connsiteY7" fmla="*/ 4153663 h 8309941"/>
              <a:gd name="connsiteX8" fmla="*/ 655 w 4156546"/>
              <a:gd name="connsiteY8" fmla="*/ 2639249 h 8309941"/>
              <a:gd name="connsiteX9" fmla="*/ 0 w 4156546"/>
              <a:gd name="connsiteY9" fmla="*/ 1 h 8309941"/>
              <a:gd name="connsiteX10" fmla="*/ 4156545 w 4156546"/>
              <a:gd name="connsiteY10" fmla="*/ 4152031 h 8309941"/>
              <a:gd name="connsiteX11" fmla="*/ 5877 w 4156546"/>
              <a:gd name="connsiteY11" fmla="*/ 8309941 h 8309941"/>
              <a:gd name="connsiteX12" fmla="*/ 4571 w 4156546"/>
              <a:gd name="connsiteY12" fmla="*/ 7365348 h 8309941"/>
              <a:gd name="connsiteX13" fmla="*/ 3212914 w 4156546"/>
              <a:gd name="connsiteY13" fmla="*/ 4153338 h 8309941"/>
              <a:gd name="connsiteX14" fmla="*/ 0 w 4156546"/>
              <a:gd name="connsiteY14" fmla="*/ 943288 h 830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56546" h="8309941">
                <a:moveTo>
                  <a:pt x="2882" y="3371527"/>
                </a:moveTo>
                <a:cubicBezTo>
                  <a:pt x="435081" y="3370874"/>
                  <a:pt x="784365" y="3719446"/>
                  <a:pt x="785018" y="4150918"/>
                </a:cubicBezTo>
                <a:cubicBezTo>
                  <a:pt x="785671" y="4583043"/>
                  <a:pt x="436387" y="4934226"/>
                  <a:pt x="3535" y="4934226"/>
                </a:cubicBezTo>
                <a:close/>
                <a:moveTo>
                  <a:pt x="2" y="1695844"/>
                </a:moveTo>
                <a:cubicBezTo>
                  <a:pt x="1355444" y="1694538"/>
                  <a:pt x="2460701" y="2796701"/>
                  <a:pt x="2461354" y="4153009"/>
                </a:cubicBezTo>
                <a:cubicBezTo>
                  <a:pt x="2462008" y="5507357"/>
                  <a:pt x="1359364" y="6612788"/>
                  <a:pt x="3268" y="6613440"/>
                </a:cubicBezTo>
                <a:lnTo>
                  <a:pt x="2615" y="5668729"/>
                </a:lnTo>
                <a:cubicBezTo>
                  <a:pt x="839396" y="5668076"/>
                  <a:pt x="1517444" y="4989269"/>
                  <a:pt x="1516791" y="4153663"/>
                </a:cubicBezTo>
                <a:cubicBezTo>
                  <a:pt x="1515484" y="3316750"/>
                  <a:pt x="837437" y="2638596"/>
                  <a:pt x="655" y="2639249"/>
                </a:cubicBezTo>
                <a:close/>
                <a:moveTo>
                  <a:pt x="0" y="1"/>
                </a:moveTo>
                <a:cubicBezTo>
                  <a:pt x="2290834" y="-1959"/>
                  <a:pt x="4154586" y="1860445"/>
                  <a:pt x="4156545" y="4152031"/>
                </a:cubicBezTo>
                <a:cubicBezTo>
                  <a:pt x="4158504" y="6442964"/>
                  <a:pt x="2296712" y="8308634"/>
                  <a:pt x="5877" y="8309941"/>
                </a:cubicBezTo>
                <a:lnTo>
                  <a:pt x="4571" y="7365348"/>
                </a:lnTo>
                <a:cubicBezTo>
                  <a:pt x="1774939" y="7364041"/>
                  <a:pt x="3214220" y="5922980"/>
                  <a:pt x="3212914" y="4153338"/>
                </a:cubicBezTo>
                <a:cubicBezTo>
                  <a:pt x="3210956" y="2381735"/>
                  <a:pt x="1770368" y="941981"/>
                  <a:pt x="0" y="943288"/>
                </a:cubicBezTo>
                <a:close/>
              </a:path>
            </a:pathLst>
          </a:custGeom>
          <a:solidFill>
            <a:srgbClr val="3EB1C8"/>
          </a:solidFill>
          <a:ln>
            <a:noFill/>
          </a:ln>
          <a:effectLst/>
        </p:spPr>
        <p:txBody>
          <a:bodyPr wrap="square" anchor="ctr">
            <a:noAutofit/>
          </a:bodyPr>
          <a:lstStyle/>
          <a:p>
            <a:endParaRPr lang="en-US" sz="3266"/>
          </a:p>
        </p:txBody>
      </p:sp>
      <p:sp>
        <p:nvSpPr>
          <p:cNvPr id="6" name="Freeform 5">
            <a:extLst>
              <a:ext uri="{FF2B5EF4-FFF2-40B4-BE49-F238E27FC236}">
                <a16:creationId xmlns:a16="http://schemas.microsoft.com/office/drawing/2014/main" id="{995304CC-E5E6-84E8-95E6-5242A67F4B1F}"/>
              </a:ext>
            </a:extLst>
          </p:cNvPr>
          <p:cNvSpPr>
            <a:spLocks noChangeArrowheads="1"/>
          </p:cNvSpPr>
          <p:nvPr userDrawn="1"/>
        </p:nvSpPr>
        <p:spPr bwMode="auto">
          <a:xfrm>
            <a:off x="4220593" y="2192995"/>
            <a:ext cx="1880525" cy="3756726"/>
          </a:xfrm>
          <a:custGeom>
            <a:avLst/>
            <a:gdLst>
              <a:gd name="connsiteX0" fmla="*/ 4153013 w 4159426"/>
              <a:gd name="connsiteY0" fmla="*/ 3372833 h 8309289"/>
              <a:gd name="connsiteX1" fmla="*/ 4153667 w 4159426"/>
              <a:gd name="connsiteY1" fmla="*/ 4936185 h 8309289"/>
              <a:gd name="connsiteX2" fmla="*/ 3370878 w 4159426"/>
              <a:gd name="connsiteY2" fmla="*/ 4153856 h 8309289"/>
              <a:gd name="connsiteX3" fmla="*/ 4153013 w 4159426"/>
              <a:gd name="connsiteY3" fmla="*/ 3372833 h 8309289"/>
              <a:gd name="connsiteX4" fmla="*/ 4150404 w 4159426"/>
              <a:gd name="connsiteY4" fmla="*/ 1696497 h 8309289"/>
              <a:gd name="connsiteX5" fmla="*/ 4151057 w 4159426"/>
              <a:gd name="connsiteY5" fmla="*/ 2639475 h 8309289"/>
              <a:gd name="connsiteX6" fmla="*/ 2639808 w 4159426"/>
              <a:gd name="connsiteY6" fmla="*/ 4155162 h 8309289"/>
              <a:gd name="connsiteX7" fmla="*/ 4153016 w 4159426"/>
              <a:gd name="connsiteY7" fmla="*/ 5667584 h 8309289"/>
              <a:gd name="connsiteX8" fmla="*/ 4153668 w 4159426"/>
              <a:gd name="connsiteY8" fmla="*/ 6611868 h 8309289"/>
              <a:gd name="connsiteX9" fmla="*/ 1695196 w 4159426"/>
              <a:gd name="connsiteY9" fmla="*/ 4156468 h 8309289"/>
              <a:gd name="connsiteX10" fmla="*/ 4150404 w 4159426"/>
              <a:gd name="connsiteY10" fmla="*/ 1696497 h 8309289"/>
              <a:gd name="connsiteX11" fmla="*/ 4152893 w 4159426"/>
              <a:gd name="connsiteY11" fmla="*/ 0 h 8309289"/>
              <a:gd name="connsiteX12" fmla="*/ 4153546 w 4159426"/>
              <a:gd name="connsiteY12" fmla="*/ 943213 h 8309289"/>
              <a:gd name="connsiteX13" fmla="*/ 944791 w 4159426"/>
              <a:gd name="connsiteY13" fmla="*/ 4157583 h 8309289"/>
              <a:gd name="connsiteX14" fmla="*/ 4158120 w 4159426"/>
              <a:gd name="connsiteY14" fmla="*/ 7364768 h 8309289"/>
              <a:gd name="connsiteX15" fmla="*/ 4159426 w 4159426"/>
              <a:gd name="connsiteY15" fmla="*/ 8309287 h 8309289"/>
              <a:gd name="connsiteX16" fmla="*/ 2 w 4159426"/>
              <a:gd name="connsiteY16" fmla="*/ 4157583 h 8309289"/>
              <a:gd name="connsiteX17" fmla="*/ 4152893 w 4159426"/>
              <a:gd name="connsiteY17" fmla="*/ 0 h 830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59426" h="8309289">
                <a:moveTo>
                  <a:pt x="4153013" y="3372833"/>
                </a:moveTo>
                <a:lnTo>
                  <a:pt x="4153667" y="4936185"/>
                </a:lnTo>
                <a:cubicBezTo>
                  <a:pt x="3722414" y="4936185"/>
                  <a:pt x="3370878" y="4586161"/>
                  <a:pt x="3370878" y="4153856"/>
                </a:cubicBezTo>
                <a:cubicBezTo>
                  <a:pt x="3370878" y="3722857"/>
                  <a:pt x="3721761" y="3372833"/>
                  <a:pt x="4153013" y="3372833"/>
                </a:cubicBezTo>
                <a:close/>
                <a:moveTo>
                  <a:pt x="4150404" y="1696497"/>
                </a:moveTo>
                <a:lnTo>
                  <a:pt x="4151057" y="2639475"/>
                </a:lnTo>
                <a:cubicBezTo>
                  <a:pt x="3316116" y="2641434"/>
                  <a:pt x="2639155" y="3319281"/>
                  <a:pt x="2639808" y="4155162"/>
                </a:cubicBezTo>
                <a:cubicBezTo>
                  <a:pt x="2639808" y="4990390"/>
                  <a:pt x="3318075" y="5668237"/>
                  <a:pt x="4153016" y="5667584"/>
                </a:cubicBezTo>
                <a:lnTo>
                  <a:pt x="4153668" y="6611868"/>
                </a:lnTo>
                <a:cubicBezTo>
                  <a:pt x="2799746" y="6612521"/>
                  <a:pt x="1695849" y="5510856"/>
                  <a:pt x="1695196" y="4156468"/>
                </a:cubicBezTo>
                <a:cubicBezTo>
                  <a:pt x="1694543" y="2800774"/>
                  <a:pt x="2796482" y="1697803"/>
                  <a:pt x="4150404" y="1696497"/>
                </a:cubicBezTo>
                <a:close/>
                <a:moveTo>
                  <a:pt x="4152893" y="0"/>
                </a:moveTo>
                <a:lnTo>
                  <a:pt x="4153546" y="943213"/>
                </a:lnTo>
                <a:cubicBezTo>
                  <a:pt x="2383536" y="945173"/>
                  <a:pt x="943485" y="2386120"/>
                  <a:pt x="944791" y="4157583"/>
                </a:cubicBezTo>
                <a:cubicBezTo>
                  <a:pt x="946098" y="5926433"/>
                  <a:pt x="2387457" y="7366074"/>
                  <a:pt x="4158120" y="7364768"/>
                </a:cubicBezTo>
                <a:lnTo>
                  <a:pt x="4159426" y="8309287"/>
                </a:lnTo>
                <a:cubicBezTo>
                  <a:pt x="1868019" y="8311900"/>
                  <a:pt x="1962" y="6448336"/>
                  <a:pt x="2" y="4157583"/>
                </a:cubicBezTo>
                <a:cubicBezTo>
                  <a:pt x="-1958" y="1865524"/>
                  <a:pt x="1861485" y="1960"/>
                  <a:pt x="4152893" y="0"/>
                </a:cubicBezTo>
                <a:close/>
              </a:path>
            </a:pathLst>
          </a:custGeom>
          <a:solidFill>
            <a:srgbClr val="23B890"/>
          </a:solidFill>
          <a:ln>
            <a:noFill/>
          </a:ln>
          <a:effectLst/>
        </p:spPr>
        <p:txBody>
          <a:bodyPr wrap="square" anchor="ctr">
            <a:noAutofit/>
          </a:bodyPr>
          <a:lstStyle/>
          <a:p>
            <a:endParaRPr lang="en-US" sz="3266"/>
          </a:p>
        </p:txBody>
      </p:sp>
      <p:sp>
        <p:nvSpPr>
          <p:cNvPr id="7" name="Freeform 8">
            <a:extLst>
              <a:ext uri="{FF2B5EF4-FFF2-40B4-BE49-F238E27FC236}">
                <a16:creationId xmlns:a16="http://schemas.microsoft.com/office/drawing/2014/main" id="{E645B3FA-672A-A36B-D46C-87BEBAAE2742}"/>
              </a:ext>
            </a:extLst>
          </p:cNvPr>
          <p:cNvSpPr>
            <a:spLocks noChangeArrowheads="1"/>
          </p:cNvSpPr>
          <p:nvPr userDrawn="1"/>
        </p:nvSpPr>
        <p:spPr bwMode="auto">
          <a:xfrm>
            <a:off x="5771952" y="1415570"/>
            <a:ext cx="652412" cy="700594"/>
          </a:xfrm>
          <a:custGeom>
            <a:avLst/>
            <a:gdLst>
              <a:gd name="T0" fmla="*/ 1145 w 2211"/>
              <a:gd name="T1" fmla="*/ 2371 h 2372"/>
              <a:gd name="T2" fmla="*/ 1145 w 2211"/>
              <a:gd name="T3" fmla="*/ 2371 h 2372"/>
              <a:gd name="T4" fmla="*/ 870 w 2211"/>
              <a:gd name="T5" fmla="*/ 2197 h 2372"/>
              <a:gd name="T6" fmla="*/ 190 w 2211"/>
              <a:gd name="T7" fmla="*/ 1461 h 2372"/>
              <a:gd name="T8" fmla="*/ 190 w 2211"/>
              <a:gd name="T9" fmla="*/ 1461 h 2372"/>
              <a:gd name="T10" fmla="*/ 23 w 2211"/>
              <a:gd name="T11" fmla="*/ 1081 h 2372"/>
              <a:gd name="T12" fmla="*/ 2 w 2211"/>
              <a:gd name="T13" fmla="*/ 161 h 2372"/>
              <a:gd name="T14" fmla="*/ 2 w 2211"/>
              <a:gd name="T15" fmla="*/ 161 h 2372"/>
              <a:gd name="T16" fmla="*/ 218 w 2211"/>
              <a:gd name="T17" fmla="*/ 99 h 2372"/>
              <a:gd name="T18" fmla="*/ 887 w 2211"/>
              <a:gd name="T19" fmla="*/ 536 h 2372"/>
              <a:gd name="T20" fmla="*/ 887 w 2211"/>
              <a:gd name="T21" fmla="*/ 536 h 2372"/>
              <a:gd name="T22" fmla="*/ 1319 w 2211"/>
              <a:gd name="T23" fmla="*/ 532 h 2372"/>
              <a:gd name="T24" fmla="*/ 1969 w 2211"/>
              <a:gd name="T25" fmla="*/ 80 h 2372"/>
              <a:gd name="T26" fmla="*/ 1969 w 2211"/>
              <a:gd name="T27" fmla="*/ 80 h 2372"/>
              <a:gd name="T28" fmla="*/ 2186 w 2211"/>
              <a:gd name="T29" fmla="*/ 138 h 2372"/>
              <a:gd name="T30" fmla="*/ 2208 w 2211"/>
              <a:gd name="T31" fmla="*/ 1058 h 2372"/>
              <a:gd name="T32" fmla="*/ 2208 w 2211"/>
              <a:gd name="T33" fmla="*/ 1058 h 2372"/>
              <a:gd name="T34" fmla="*/ 2058 w 2211"/>
              <a:gd name="T35" fmla="*/ 1443 h 2372"/>
              <a:gd name="T36" fmla="*/ 1411 w 2211"/>
              <a:gd name="T37" fmla="*/ 2191 h 2372"/>
              <a:gd name="T38" fmla="*/ 1411 w 2211"/>
              <a:gd name="T39" fmla="*/ 2191 h 2372"/>
              <a:gd name="T40" fmla="*/ 1145 w 2211"/>
              <a:gd name="T41" fmla="*/ 2371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11" h="2372">
                <a:moveTo>
                  <a:pt x="1145" y="2371"/>
                </a:moveTo>
                <a:lnTo>
                  <a:pt x="1145" y="2371"/>
                </a:lnTo>
                <a:cubicBezTo>
                  <a:pt x="1083" y="2371"/>
                  <a:pt x="959" y="2293"/>
                  <a:pt x="870" y="2197"/>
                </a:cubicBezTo>
                <a:lnTo>
                  <a:pt x="190" y="1461"/>
                </a:lnTo>
                <a:lnTo>
                  <a:pt x="190" y="1461"/>
                </a:lnTo>
                <a:cubicBezTo>
                  <a:pt x="101" y="1366"/>
                  <a:pt x="27" y="1194"/>
                  <a:pt x="23" y="1081"/>
                </a:cubicBezTo>
                <a:lnTo>
                  <a:pt x="2" y="161"/>
                </a:lnTo>
                <a:lnTo>
                  <a:pt x="2" y="161"/>
                </a:lnTo>
                <a:cubicBezTo>
                  <a:pt x="0" y="47"/>
                  <a:pt x="97" y="20"/>
                  <a:pt x="218" y="99"/>
                </a:cubicBezTo>
                <a:lnTo>
                  <a:pt x="887" y="536"/>
                </a:lnTo>
                <a:lnTo>
                  <a:pt x="887" y="536"/>
                </a:lnTo>
                <a:cubicBezTo>
                  <a:pt x="1009" y="615"/>
                  <a:pt x="1202" y="614"/>
                  <a:pt x="1319" y="532"/>
                </a:cubicBezTo>
                <a:lnTo>
                  <a:pt x="1969" y="80"/>
                </a:lnTo>
                <a:lnTo>
                  <a:pt x="1969" y="80"/>
                </a:lnTo>
                <a:cubicBezTo>
                  <a:pt x="2086" y="0"/>
                  <a:pt x="2184" y="25"/>
                  <a:pt x="2186" y="138"/>
                </a:cubicBezTo>
                <a:lnTo>
                  <a:pt x="2208" y="1058"/>
                </a:lnTo>
                <a:lnTo>
                  <a:pt x="2208" y="1058"/>
                </a:lnTo>
                <a:cubicBezTo>
                  <a:pt x="2210" y="1172"/>
                  <a:pt x="2142" y="1344"/>
                  <a:pt x="2058" y="1443"/>
                </a:cubicBezTo>
                <a:lnTo>
                  <a:pt x="1411" y="2191"/>
                </a:lnTo>
                <a:lnTo>
                  <a:pt x="1411" y="2191"/>
                </a:lnTo>
                <a:cubicBezTo>
                  <a:pt x="1327" y="2289"/>
                  <a:pt x="1207" y="2370"/>
                  <a:pt x="1145" y="2371"/>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0" name="Freeform 9">
            <a:extLst>
              <a:ext uri="{FF2B5EF4-FFF2-40B4-BE49-F238E27FC236}">
                <a16:creationId xmlns:a16="http://schemas.microsoft.com/office/drawing/2014/main" id="{E7D1912A-17F4-3AC1-6F85-9D624AB92FCC}"/>
              </a:ext>
            </a:extLst>
          </p:cNvPr>
          <p:cNvSpPr>
            <a:spLocks noChangeArrowheads="1"/>
          </p:cNvSpPr>
          <p:nvPr userDrawn="1"/>
        </p:nvSpPr>
        <p:spPr bwMode="auto">
          <a:xfrm>
            <a:off x="6044116" y="1551001"/>
            <a:ext cx="108084" cy="2345296"/>
          </a:xfrm>
          <a:custGeom>
            <a:avLst/>
            <a:gdLst>
              <a:gd name="T0" fmla="*/ 0 w 367"/>
              <a:gd name="T1" fmla="*/ 250 h 7944"/>
              <a:gd name="T2" fmla="*/ 0 w 367"/>
              <a:gd name="T3" fmla="*/ 250 h 7944"/>
              <a:gd name="T4" fmla="*/ 183 w 367"/>
              <a:gd name="T5" fmla="*/ 0 h 7944"/>
              <a:gd name="T6" fmla="*/ 183 w 367"/>
              <a:gd name="T7" fmla="*/ 0 h 7944"/>
              <a:gd name="T8" fmla="*/ 366 w 367"/>
              <a:gd name="T9" fmla="*/ 250 h 7944"/>
              <a:gd name="T10" fmla="*/ 366 w 367"/>
              <a:gd name="T11" fmla="*/ 7693 h 7944"/>
              <a:gd name="T12" fmla="*/ 366 w 367"/>
              <a:gd name="T13" fmla="*/ 7693 h 7944"/>
              <a:gd name="T14" fmla="*/ 183 w 367"/>
              <a:gd name="T15" fmla="*/ 7943 h 7944"/>
              <a:gd name="T16" fmla="*/ 183 w 367"/>
              <a:gd name="T17" fmla="*/ 7943 h 7944"/>
              <a:gd name="T18" fmla="*/ 0 w 367"/>
              <a:gd name="T19" fmla="*/ 7693 h 7944"/>
              <a:gd name="T20" fmla="*/ 0 w 367"/>
              <a:gd name="T21" fmla="*/ 250 h 7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7944">
                <a:moveTo>
                  <a:pt x="0" y="250"/>
                </a:moveTo>
                <a:lnTo>
                  <a:pt x="0" y="250"/>
                </a:lnTo>
                <a:cubicBezTo>
                  <a:pt x="0" y="111"/>
                  <a:pt x="82" y="0"/>
                  <a:pt x="183" y="0"/>
                </a:cubicBezTo>
                <a:lnTo>
                  <a:pt x="183" y="0"/>
                </a:lnTo>
                <a:cubicBezTo>
                  <a:pt x="284" y="0"/>
                  <a:pt x="366" y="111"/>
                  <a:pt x="366" y="250"/>
                </a:cubicBezTo>
                <a:lnTo>
                  <a:pt x="366" y="7693"/>
                </a:lnTo>
                <a:lnTo>
                  <a:pt x="366" y="7693"/>
                </a:lnTo>
                <a:cubicBezTo>
                  <a:pt x="366" y="7831"/>
                  <a:pt x="284" y="7943"/>
                  <a:pt x="183" y="7943"/>
                </a:cubicBezTo>
                <a:lnTo>
                  <a:pt x="183" y="7943"/>
                </a:lnTo>
                <a:cubicBezTo>
                  <a:pt x="82" y="7943"/>
                  <a:pt x="0" y="7831"/>
                  <a:pt x="0" y="7693"/>
                </a:cubicBezTo>
                <a:lnTo>
                  <a:pt x="0" y="250"/>
                </a:lnTo>
              </a:path>
            </a:pathLst>
          </a:custGeom>
          <a:solidFill>
            <a:schemeClr val="bg1">
              <a:lumMod val="8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1" name="Freeform 10">
            <a:extLst>
              <a:ext uri="{FF2B5EF4-FFF2-40B4-BE49-F238E27FC236}">
                <a16:creationId xmlns:a16="http://schemas.microsoft.com/office/drawing/2014/main" id="{C75CCB9C-25D8-0CBE-EDA9-94D692C3A009}"/>
              </a:ext>
            </a:extLst>
          </p:cNvPr>
          <p:cNvSpPr>
            <a:spLocks noChangeArrowheads="1"/>
          </p:cNvSpPr>
          <p:nvPr userDrawn="1"/>
        </p:nvSpPr>
        <p:spPr bwMode="auto">
          <a:xfrm>
            <a:off x="3495675" y="2943072"/>
            <a:ext cx="763100" cy="713616"/>
          </a:xfrm>
          <a:custGeom>
            <a:avLst/>
            <a:gdLst>
              <a:gd name="T0" fmla="*/ 2563 w 2583"/>
              <a:gd name="T1" fmla="*/ 1714 h 2415"/>
              <a:gd name="T2" fmla="*/ 2563 w 2583"/>
              <a:gd name="T3" fmla="*/ 1714 h 2415"/>
              <a:gd name="T4" fmla="*/ 2313 w 2583"/>
              <a:gd name="T5" fmla="*/ 1921 h 2415"/>
              <a:gd name="T6" fmla="*/ 1404 w 2583"/>
              <a:gd name="T7" fmla="*/ 2340 h 2415"/>
              <a:gd name="T8" fmla="*/ 1404 w 2583"/>
              <a:gd name="T9" fmla="*/ 2340 h 2415"/>
              <a:gd name="T10" fmla="*/ 990 w 2583"/>
              <a:gd name="T11" fmla="*/ 2381 h 2415"/>
              <a:gd name="T12" fmla="*/ 109 w 2583"/>
              <a:gd name="T13" fmla="*/ 2117 h 2415"/>
              <a:gd name="T14" fmla="*/ 109 w 2583"/>
              <a:gd name="T15" fmla="*/ 2117 h 2415"/>
              <a:gd name="T16" fmla="*/ 116 w 2583"/>
              <a:gd name="T17" fmla="*/ 1894 h 2415"/>
              <a:gd name="T18" fmla="*/ 740 w 2583"/>
              <a:gd name="T19" fmla="*/ 1392 h 2415"/>
              <a:gd name="T20" fmla="*/ 740 w 2583"/>
              <a:gd name="T21" fmla="*/ 1392 h 2415"/>
              <a:gd name="T22" fmla="*/ 869 w 2583"/>
              <a:gd name="T23" fmla="*/ 980 h 2415"/>
              <a:gd name="T24" fmla="*/ 640 w 2583"/>
              <a:gd name="T25" fmla="*/ 222 h 2415"/>
              <a:gd name="T26" fmla="*/ 640 w 2583"/>
              <a:gd name="T27" fmla="*/ 222 h 2415"/>
              <a:gd name="T28" fmla="*/ 763 w 2583"/>
              <a:gd name="T29" fmla="*/ 33 h 2415"/>
              <a:gd name="T30" fmla="*/ 1644 w 2583"/>
              <a:gd name="T31" fmla="*/ 297 h 2415"/>
              <a:gd name="T32" fmla="*/ 1644 w 2583"/>
              <a:gd name="T33" fmla="*/ 297 h 2415"/>
              <a:gd name="T34" fmla="*/ 1962 w 2583"/>
              <a:gd name="T35" fmla="*/ 559 h 2415"/>
              <a:gd name="T36" fmla="*/ 2475 w 2583"/>
              <a:gd name="T37" fmla="*/ 1405 h 2415"/>
              <a:gd name="T38" fmla="*/ 2475 w 2583"/>
              <a:gd name="T39" fmla="*/ 1405 h 2415"/>
              <a:gd name="T40" fmla="*/ 2563 w 2583"/>
              <a:gd name="T41" fmla="*/ 1714 h 2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83" h="2415">
                <a:moveTo>
                  <a:pt x="2563" y="1714"/>
                </a:moveTo>
                <a:lnTo>
                  <a:pt x="2563" y="1714"/>
                </a:lnTo>
                <a:cubicBezTo>
                  <a:pt x="2545" y="1772"/>
                  <a:pt x="2432" y="1865"/>
                  <a:pt x="2313" y="1921"/>
                </a:cubicBezTo>
                <a:lnTo>
                  <a:pt x="1404" y="2340"/>
                </a:lnTo>
                <a:lnTo>
                  <a:pt x="1404" y="2340"/>
                </a:lnTo>
                <a:cubicBezTo>
                  <a:pt x="1285" y="2395"/>
                  <a:pt x="1099" y="2414"/>
                  <a:pt x="990" y="2381"/>
                </a:cubicBezTo>
                <a:lnTo>
                  <a:pt x="109" y="2117"/>
                </a:lnTo>
                <a:lnTo>
                  <a:pt x="109" y="2117"/>
                </a:lnTo>
                <a:cubicBezTo>
                  <a:pt x="0" y="2085"/>
                  <a:pt x="4" y="1984"/>
                  <a:pt x="116" y="1894"/>
                </a:cubicBezTo>
                <a:lnTo>
                  <a:pt x="740" y="1392"/>
                </a:lnTo>
                <a:lnTo>
                  <a:pt x="740" y="1392"/>
                </a:lnTo>
                <a:cubicBezTo>
                  <a:pt x="852" y="1301"/>
                  <a:pt x="910" y="1116"/>
                  <a:pt x="869" y="980"/>
                </a:cubicBezTo>
                <a:lnTo>
                  <a:pt x="640" y="222"/>
                </a:lnTo>
                <a:lnTo>
                  <a:pt x="640" y="222"/>
                </a:lnTo>
                <a:cubicBezTo>
                  <a:pt x="599" y="86"/>
                  <a:pt x="654" y="0"/>
                  <a:pt x="763" y="33"/>
                </a:cubicBezTo>
                <a:lnTo>
                  <a:pt x="1644" y="297"/>
                </a:lnTo>
                <a:lnTo>
                  <a:pt x="1644" y="297"/>
                </a:lnTo>
                <a:cubicBezTo>
                  <a:pt x="1752" y="330"/>
                  <a:pt x="1895" y="448"/>
                  <a:pt x="1962" y="559"/>
                </a:cubicBezTo>
                <a:lnTo>
                  <a:pt x="2475" y="1405"/>
                </a:lnTo>
                <a:lnTo>
                  <a:pt x="2475" y="1405"/>
                </a:lnTo>
                <a:cubicBezTo>
                  <a:pt x="2543" y="1515"/>
                  <a:pt x="2582" y="1655"/>
                  <a:pt x="2563" y="1714"/>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2" name="Freeform 11">
            <a:extLst>
              <a:ext uri="{FF2B5EF4-FFF2-40B4-BE49-F238E27FC236}">
                <a16:creationId xmlns:a16="http://schemas.microsoft.com/office/drawing/2014/main" id="{9FB5BE50-5FAA-FACB-5B0D-C10BFD4488D1}"/>
              </a:ext>
            </a:extLst>
          </p:cNvPr>
          <p:cNvSpPr>
            <a:spLocks noChangeArrowheads="1"/>
          </p:cNvSpPr>
          <p:nvPr userDrawn="1"/>
        </p:nvSpPr>
        <p:spPr bwMode="auto">
          <a:xfrm>
            <a:off x="3702728" y="3243884"/>
            <a:ext cx="2250233" cy="807375"/>
          </a:xfrm>
          <a:custGeom>
            <a:avLst/>
            <a:gdLst>
              <a:gd name="T0" fmla="*/ 213 w 7619"/>
              <a:gd name="T1" fmla="*/ 391 h 2735"/>
              <a:gd name="T2" fmla="*/ 213 w 7619"/>
              <a:gd name="T3" fmla="*/ 391 h 2735"/>
              <a:gd name="T4" fmla="*/ 32 w 7619"/>
              <a:gd name="T5" fmla="*/ 140 h 2735"/>
              <a:gd name="T6" fmla="*/ 32 w 7619"/>
              <a:gd name="T7" fmla="*/ 140 h 2735"/>
              <a:gd name="T8" fmla="*/ 326 w 7619"/>
              <a:gd name="T9" fmla="*/ 42 h 2735"/>
              <a:gd name="T10" fmla="*/ 7406 w 7619"/>
              <a:gd name="T11" fmla="*/ 2343 h 2735"/>
              <a:gd name="T12" fmla="*/ 7406 w 7619"/>
              <a:gd name="T13" fmla="*/ 2343 h 2735"/>
              <a:gd name="T14" fmla="*/ 7586 w 7619"/>
              <a:gd name="T15" fmla="*/ 2594 h 2735"/>
              <a:gd name="T16" fmla="*/ 7586 w 7619"/>
              <a:gd name="T17" fmla="*/ 2594 h 2735"/>
              <a:gd name="T18" fmla="*/ 7293 w 7619"/>
              <a:gd name="T19" fmla="*/ 2691 h 2735"/>
              <a:gd name="T20" fmla="*/ 213 w 7619"/>
              <a:gd name="T21" fmla="*/ 391 h 2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9" h="2735">
                <a:moveTo>
                  <a:pt x="213" y="391"/>
                </a:moveTo>
                <a:lnTo>
                  <a:pt x="213" y="391"/>
                </a:lnTo>
                <a:cubicBezTo>
                  <a:pt x="83" y="348"/>
                  <a:pt x="0" y="235"/>
                  <a:pt x="32" y="140"/>
                </a:cubicBezTo>
                <a:lnTo>
                  <a:pt x="32" y="140"/>
                </a:lnTo>
                <a:cubicBezTo>
                  <a:pt x="63" y="43"/>
                  <a:pt x="196" y="0"/>
                  <a:pt x="326" y="42"/>
                </a:cubicBezTo>
                <a:lnTo>
                  <a:pt x="7406" y="2343"/>
                </a:lnTo>
                <a:lnTo>
                  <a:pt x="7406" y="2343"/>
                </a:lnTo>
                <a:cubicBezTo>
                  <a:pt x="7537" y="2386"/>
                  <a:pt x="7618" y="2498"/>
                  <a:pt x="7586" y="2594"/>
                </a:cubicBezTo>
                <a:lnTo>
                  <a:pt x="7586" y="2594"/>
                </a:lnTo>
                <a:cubicBezTo>
                  <a:pt x="7556" y="2690"/>
                  <a:pt x="7424" y="2734"/>
                  <a:pt x="7293" y="2691"/>
                </a:cubicBezTo>
                <a:lnTo>
                  <a:pt x="213" y="391"/>
                </a:lnTo>
              </a:path>
            </a:pathLst>
          </a:custGeom>
          <a:solidFill>
            <a:schemeClr val="bg1">
              <a:lumMod val="8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5" name="Freeform 12">
            <a:extLst>
              <a:ext uri="{FF2B5EF4-FFF2-40B4-BE49-F238E27FC236}">
                <a16:creationId xmlns:a16="http://schemas.microsoft.com/office/drawing/2014/main" id="{E3FF58A1-E4D1-6C28-FCC4-B5D56B18B258}"/>
              </a:ext>
            </a:extLst>
          </p:cNvPr>
          <p:cNvSpPr>
            <a:spLocks noChangeArrowheads="1"/>
          </p:cNvSpPr>
          <p:nvPr userDrawn="1"/>
        </p:nvSpPr>
        <p:spPr bwMode="auto">
          <a:xfrm>
            <a:off x="4291331" y="5615224"/>
            <a:ext cx="730544" cy="765705"/>
          </a:xfrm>
          <a:custGeom>
            <a:avLst/>
            <a:gdLst>
              <a:gd name="T0" fmla="*/ 2219 w 2473"/>
              <a:gd name="T1" fmla="*/ 41 h 2594"/>
              <a:gd name="T2" fmla="*/ 2219 w 2473"/>
              <a:gd name="T3" fmla="*/ 41 h 2594"/>
              <a:gd name="T4" fmla="*/ 2338 w 2473"/>
              <a:gd name="T5" fmla="*/ 342 h 2594"/>
              <a:gd name="T6" fmla="*/ 2457 w 2473"/>
              <a:gd name="T7" fmla="*/ 1337 h 2594"/>
              <a:gd name="T8" fmla="*/ 2457 w 2473"/>
              <a:gd name="T9" fmla="*/ 1337 h 2594"/>
              <a:gd name="T10" fmla="*/ 2367 w 2473"/>
              <a:gd name="T11" fmla="*/ 1743 h 2594"/>
              <a:gd name="T12" fmla="*/ 1844 w 2473"/>
              <a:gd name="T13" fmla="*/ 2499 h 2594"/>
              <a:gd name="T14" fmla="*/ 1844 w 2473"/>
              <a:gd name="T15" fmla="*/ 2499 h 2594"/>
              <a:gd name="T16" fmla="*/ 1633 w 2473"/>
              <a:gd name="T17" fmla="*/ 2424 h 2594"/>
              <a:gd name="T18" fmla="*/ 1349 w 2473"/>
              <a:gd name="T19" fmla="*/ 1675 h 2594"/>
              <a:gd name="T20" fmla="*/ 1349 w 2473"/>
              <a:gd name="T21" fmla="*/ 1675 h 2594"/>
              <a:gd name="T22" fmla="*/ 997 w 2473"/>
              <a:gd name="T23" fmla="*/ 1425 h 2594"/>
              <a:gd name="T24" fmla="*/ 205 w 2473"/>
              <a:gd name="T25" fmla="*/ 1410 h 2594"/>
              <a:gd name="T26" fmla="*/ 205 w 2473"/>
              <a:gd name="T27" fmla="*/ 1410 h 2594"/>
              <a:gd name="T28" fmla="*/ 64 w 2473"/>
              <a:gd name="T29" fmla="*/ 1234 h 2594"/>
              <a:gd name="T30" fmla="*/ 587 w 2473"/>
              <a:gd name="T31" fmla="*/ 478 h 2594"/>
              <a:gd name="T32" fmla="*/ 587 w 2473"/>
              <a:gd name="T33" fmla="*/ 478 h 2594"/>
              <a:gd name="T34" fmla="*/ 934 w 2473"/>
              <a:gd name="T35" fmla="*/ 254 h 2594"/>
              <a:gd name="T36" fmla="*/ 1897 w 2473"/>
              <a:gd name="T37" fmla="*/ 28 h 2594"/>
              <a:gd name="T38" fmla="*/ 1897 w 2473"/>
              <a:gd name="T39" fmla="*/ 28 h 2594"/>
              <a:gd name="T40" fmla="*/ 2219 w 2473"/>
              <a:gd name="T41" fmla="*/ 41 h 2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73" h="2594">
                <a:moveTo>
                  <a:pt x="2219" y="41"/>
                </a:moveTo>
                <a:lnTo>
                  <a:pt x="2219" y="41"/>
                </a:lnTo>
                <a:cubicBezTo>
                  <a:pt x="2268" y="77"/>
                  <a:pt x="2323" y="213"/>
                  <a:pt x="2338" y="342"/>
                </a:cubicBezTo>
                <a:lnTo>
                  <a:pt x="2457" y="1337"/>
                </a:lnTo>
                <a:lnTo>
                  <a:pt x="2457" y="1337"/>
                </a:lnTo>
                <a:cubicBezTo>
                  <a:pt x="2472" y="1468"/>
                  <a:pt x="2431" y="1650"/>
                  <a:pt x="2367" y="1743"/>
                </a:cubicBezTo>
                <a:lnTo>
                  <a:pt x="1844" y="2499"/>
                </a:lnTo>
                <a:lnTo>
                  <a:pt x="1844" y="2499"/>
                </a:lnTo>
                <a:cubicBezTo>
                  <a:pt x="1780" y="2593"/>
                  <a:pt x="1684" y="2559"/>
                  <a:pt x="1633" y="2424"/>
                </a:cubicBezTo>
                <a:lnTo>
                  <a:pt x="1349" y="1675"/>
                </a:lnTo>
                <a:lnTo>
                  <a:pt x="1349" y="1675"/>
                </a:lnTo>
                <a:cubicBezTo>
                  <a:pt x="1298" y="1540"/>
                  <a:pt x="1140" y="1428"/>
                  <a:pt x="997" y="1425"/>
                </a:cubicBezTo>
                <a:lnTo>
                  <a:pt x="205" y="1410"/>
                </a:lnTo>
                <a:lnTo>
                  <a:pt x="205" y="1410"/>
                </a:lnTo>
                <a:cubicBezTo>
                  <a:pt x="64" y="1407"/>
                  <a:pt x="0" y="1328"/>
                  <a:pt x="64" y="1234"/>
                </a:cubicBezTo>
                <a:lnTo>
                  <a:pt x="587" y="478"/>
                </a:lnTo>
                <a:lnTo>
                  <a:pt x="587" y="478"/>
                </a:lnTo>
                <a:cubicBezTo>
                  <a:pt x="653" y="385"/>
                  <a:pt x="809" y="284"/>
                  <a:pt x="934" y="254"/>
                </a:cubicBezTo>
                <a:lnTo>
                  <a:pt x="1897" y="28"/>
                </a:lnTo>
                <a:lnTo>
                  <a:pt x="1897" y="28"/>
                </a:lnTo>
                <a:cubicBezTo>
                  <a:pt x="2023" y="0"/>
                  <a:pt x="2167" y="4"/>
                  <a:pt x="2219" y="41"/>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6" name="Freeform 13">
            <a:extLst>
              <a:ext uri="{FF2B5EF4-FFF2-40B4-BE49-F238E27FC236}">
                <a16:creationId xmlns:a16="http://schemas.microsoft.com/office/drawing/2014/main" id="{99E92676-81E5-5F2D-9C85-864F5CAD3EDB}"/>
              </a:ext>
            </a:extLst>
          </p:cNvPr>
          <p:cNvSpPr>
            <a:spLocks noChangeArrowheads="1"/>
          </p:cNvSpPr>
          <p:nvPr userDrawn="1"/>
        </p:nvSpPr>
        <p:spPr bwMode="auto">
          <a:xfrm>
            <a:off x="4599956" y="4176273"/>
            <a:ext cx="1427231" cy="1932492"/>
          </a:xfrm>
          <a:custGeom>
            <a:avLst/>
            <a:gdLst>
              <a:gd name="T0" fmla="*/ 377 w 4834"/>
              <a:gd name="T1" fmla="*/ 6392 h 6546"/>
              <a:gd name="T2" fmla="*/ 377 w 4834"/>
              <a:gd name="T3" fmla="*/ 6392 h 6546"/>
              <a:gd name="T4" fmla="*/ 82 w 4834"/>
              <a:gd name="T5" fmla="*/ 6486 h 6546"/>
              <a:gd name="T6" fmla="*/ 82 w 4834"/>
              <a:gd name="T7" fmla="*/ 6486 h 6546"/>
              <a:gd name="T8" fmla="*/ 81 w 4834"/>
              <a:gd name="T9" fmla="*/ 6177 h 6546"/>
              <a:gd name="T10" fmla="*/ 4455 w 4834"/>
              <a:gd name="T11" fmla="*/ 154 h 6546"/>
              <a:gd name="T12" fmla="*/ 4455 w 4834"/>
              <a:gd name="T13" fmla="*/ 154 h 6546"/>
              <a:gd name="T14" fmla="*/ 4750 w 4834"/>
              <a:gd name="T15" fmla="*/ 59 h 6546"/>
              <a:gd name="T16" fmla="*/ 4750 w 4834"/>
              <a:gd name="T17" fmla="*/ 59 h 6546"/>
              <a:gd name="T18" fmla="*/ 4753 w 4834"/>
              <a:gd name="T19" fmla="*/ 369 h 6546"/>
              <a:gd name="T20" fmla="*/ 377 w 4834"/>
              <a:gd name="T21" fmla="*/ 6392 h 6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34" h="6546">
                <a:moveTo>
                  <a:pt x="377" y="6392"/>
                </a:moveTo>
                <a:lnTo>
                  <a:pt x="377" y="6392"/>
                </a:lnTo>
                <a:cubicBezTo>
                  <a:pt x="296" y="6503"/>
                  <a:pt x="163" y="6545"/>
                  <a:pt x="82" y="6486"/>
                </a:cubicBezTo>
                <a:lnTo>
                  <a:pt x="82" y="6486"/>
                </a:lnTo>
                <a:cubicBezTo>
                  <a:pt x="0" y="6426"/>
                  <a:pt x="0" y="6288"/>
                  <a:pt x="81" y="6177"/>
                </a:cubicBezTo>
                <a:lnTo>
                  <a:pt x="4455" y="154"/>
                </a:lnTo>
                <a:lnTo>
                  <a:pt x="4455" y="154"/>
                </a:lnTo>
                <a:cubicBezTo>
                  <a:pt x="4537" y="43"/>
                  <a:pt x="4669" y="0"/>
                  <a:pt x="4750" y="59"/>
                </a:cubicBezTo>
                <a:lnTo>
                  <a:pt x="4750" y="59"/>
                </a:lnTo>
                <a:cubicBezTo>
                  <a:pt x="4832" y="120"/>
                  <a:pt x="4833" y="258"/>
                  <a:pt x="4753" y="369"/>
                </a:cubicBezTo>
                <a:lnTo>
                  <a:pt x="377" y="6392"/>
                </a:lnTo>
              </a:path>
            </a:pathLst>
          </a:custGeom>
          <a:solidFill>
            <a:schemeClr val="bg1">
              <a:lumMod val="8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7" name="Freeform 14">
            <a:extLst>
              <a:ext uri="{FF2B5EF4-FFF2-40B4-BE49-F238E27FC236}">
                <a16:creationId xmlns:a16="http://schemas.microsoft.com/office/drawing/2014/main" id="{EA3C49AA-4C70-E85B-5398-FFD7B245CFA3}"/>
              </a:ext>
            </a:extLst>
          </p:cNvPr>
          <p:cNvSpPr>
            <a:spLocks noChangeArrowheads="1"/>
          </p:cNvSpPr>
          <p:nvPr userDrawn="1"/>
        </p:nvSpPr>
        <p:spPr bwMode="auto">
          <a:xfrm>
            <a:off x="7173139" y="5626944"/>
            <a:ext cx="737056" cy="755287"/>
          </a:xfrm>
          <a:custGeom>
            <a:avLst/>
            <a:gdLst>
              <a:gd name="T0" fmla="*/ 205 w 2497"/>
              <a:gd name="T1" fmla="*/ 47 h 2556"/>
              <a:gd name="T2" fmla="*/ 205 w 2497"/>
              <a:gd name="T3" fmla="*/ 47 h 2556"/>
              <a:gd name="T4" fmla="*/ 528 w 2497"/>
              <a:gd name="T5" fmla="*/ 26 h 2556"/>
              <a:gd name="T6" fmla="*/ 1510 w 2497"/>
              <a:gd name="T7" fmla="*/ 221 h 2556"/>
              <a:gd name="T8" fmla="*/ 1510 w 2497"/>
              <a:gd name="T9" fmla="*/ 221 h 2556"/>
              <a:gd name="T10" fmla="*/ 1870 w 2497"/>
              <a:gd name="T11" fmla="*/ 431 h 2556"/>
              <a:gd name="T12" fmla="*/ 2427 w 2497"/>
              <a:gd name="T13" fmla="*/ 1163 h 2556"/>
              <a:gd name="T14" fmla="*/ 2427 w 2497"/>
              <a:gd name="T15" fmla="*/ 1163 h 2556"/>
              <a:gd name="T16" fmla="*/ 2289 w 2497"/>
              <a:gd name="T17" fmla="*/ 1339 h 2556"/>
              <a:gd name="T18" fmla="*/ 1490 w 2497"/>
              <a:gd name="T19" fmla="*/ 1379 h 2556"/>
              <a:gd name="T20" fmla="*/ 1490 w 2497"/>
              <a:gd name="T21" fmla="*/ 1379 h 2556"/>
              <a:gd name="T22" fmla="*/ 1143 w 2497"/>
              <a:gd name="T23" fmla="*/ 1635 h 2556"/>
              <a:gd name="T24" fmla="*/ 884 w 2497"/>
              <a:gd name="T25" fmla="*/ 2384 h 2556"/>
              <a:gd name="T26" fmla="*/ 884 w 2497"/>
              <a:gd name="T27" fmla="*/ 2384 h 2556"/>
              <a:gd name="T28" fmla="*/ 673 w 2497"/>
              <a:gd name="T29" fmla="*/ 2465 h 2556"/>
              <a:gd name="T30" fmla="*/ 116 w 2497"/>
              <a:gd name="T31" fmla="*/ 1733 h 2556"/>
              <a:gd name="T32" fmla="*/ 116 w 2497"/>
              <a:gd name="T33" fmla="*/ 1733 h 2556"/>
              <a:gd name="T34" fmla="*/ 11 w 2497"/>
              <a:gd name="T35" fmla="*/ 1335 h 2556"/>
              <a:gd name="T36" fmla="*/ 95 w 2497"/>
              <a:gd name="T37" fmla="*/ 348 h 2556"/>
              <a:gd name="T38" fmla="*/ 95 w 2497"/>
              <a:gd name="T39" fmla="*/ 348 h 2556"/>
              <a:gd name="T40" fmla="*/ 205 w 2497"/>
              <a:gd name="T41" fmla="*/ 47 h 2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97" h="2556">
                <a:moveTo>
                  <a:pt x="205" y="47"/>
                </a:moveTo>
                <a:lnTo>
                  <a:pt x="205" y="47"/>
                </a:lnTo>
                <a:cubicBezTo>
                  <a:pt x="254" y="10"/>
                  <a:pt x="400" y="0"/>
                  <a:pt x="528" y="26"/>
                </a:cubicBezTo>
                <a:lnTo>
                  <a:pt x="1510" y="221"/>
                </a:lnTo>
                <a:lnTo>
                  <a:pt x="1510" y="221"/>
                </a:lnTo>
                <a:cubicBezTo>
                  <a:pt x="1640" y="246"/>
                  <a:pt x="1801" y="341"/>
                  <a:pt x="1870" y="431"/>
                </a:cubicBezTo>
                <a:lnTo>
                  <a:pt x="2427" y="1163"/>
                </a:lnTo>
                <a:lnTo>
                  <a:pt x="2427" y="1163"/>
                </a:lnTo>
                <a:cubicBezTo>
                  <a:pt x="2496" y="1253"/>
                  <a:pt x="2434" y="1332"/>
                  <a:pt x="2289" y="1339"/>
                </a:cubicBezTo>
                <a:lnTo>
                  <a:pt x="1490" y="1379"/>
                </a:lnTo>
                <a:lnTo>
                  <a:pt x="1490" y="1379"/>
                </a:lnTo>
                <a:cubicBezTo>
                  <a:pt x="1347" y="1386"/>
                  <a:pt x="1190" y="1501"/>
                  <a:pt x="1143" y="1635"/>
                </a:cubicBezTo>
                <a:lnTo>
                  <a:pt x="884" y="2384"/>
                </a:lnTo>
                <a:lnTo>
                  <a:pt x="884" y="2384"/>
                </a:lnTo>
                <a:cubicBezTo>
                  <a:pt x="837" y="2518"/>
                  <a:pt x="742" y="2555"/>
                  <a:pt x="673" y="2465"/>
                </a:cubicBezTo>
                <a:lnTo>
                  <a:pt x="116" y="1733"/>
                </a:lnTo>
                <a:lnTo>
                  <a:pt x="116" y="1733"/>
                </a:lnTo>
                <a:cubicBezTo>
                  <a:pt x="48" y="1642"/>
                  <a:pt x="0" y="1463"/>
                  <a:pt x="11" y="1335"/>
                </a:cubicBezTo>
                <a:lnTo>
                  <a:pt x="95" y="348"/>
                </a:lnTo>
                <a:lnTo>
                  <a:pt x="95" y="348"/>
                </a:lnTo>
                <a:cubicBezTo>
                  <a:pt x="105" y="220"/>
                  <a:pt x="154" y="84"/>
                  <a:pt x="205" y="47"/>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20" name="Freeform 15">
            <a:extLst>
              <a:ext uri="{FF2B5EF4-FFF2-40B4-BE49-F238E27FC236}">
                <a16:creationId xmlns:a16="http://schemas.microsoft.com/office/drawing/2014/main" id="{E672AF22-602D-67C8-59AC-4D411BB3E478}"/>
              </a:ext>
            </a:extLst>
          </p:cNvPr>
          <p:cNvSpPr>
            <a:spLocks noChangeArrowheads="1"/>
          </p:cNvSpPr>
          <p:nvPr userDrawn="1"/>
        </p:nvSpPr>
        <p:spPr bwMode="auto">
          <a:xfrm>
            <a:off x="6171734" y="4174971"/>
            <a:ext cx="1427231" cy="1932492"/>
          </a:xfrm>
          <a:custGeom>
            <a:avLst/>
            <a:gdLst>
              <a:gd name="T0" fmla="*/ 4753 w 4835"/>
              <a:gd name="T1" fmla="*/ 6175 h 6546"/>
              <a:gd name="T2" fmla="*/ 4753 w 4835"/>
              <a:gd name="T3" fmla="*/ 6175 h 6546"/>
              <a:gd name="T4" fmla="*/ 4752 w 4835"/>
              <a:gd name="T5" fmla="*/ 6486 h 6546"/>
              <a:gd name="T6" fmla="*/ 4752 w 4835"/>
              <a:gd name="T7" fmla="*/ 6486 h 6546"/>
              <a:gd name="T8" fmla="*/ 4456 w 4835"/>
              <a:gd name="T9" fmla="*/ 6391 h 6546"/>
              <a:gd name="T10" fmla="*/ 81 w 4835"/>
              <a:gd name="T11" fmla="*/ 369 h 6546"/>
              <a:gd name="T12" fmla="*/ 81 w 4835"/>
              <a:gd name="T13" fmla="*/ 369 h 6546"/>
              <a:gd name="T14" fmla="*/ 82 w 4835"/>
              <a:gd name="T15" fmla="*/ 59 h 6546"/>
              <a:gd name="T16" fmla="*/ 82 w 4835"/>
              <a:gd name="T17" fmla="*/ 59 h 6546"/>
              <a:gd name="T18" fmla="*/ 377 w 4835"/>
              <a:gd name="T19" fmla="*/ 154 h 6546"/>
              <a:gd name="T20" fmla="*/ 4753 w 4835"/>
              <a:gd name="T21" fmla="*/ 6175 h 6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35" h="6546">
                <a:moveTo>
                  <a:pt x="4753" y="6175"/>
                </a:moveTo>
                <a:lnTo>
                  <a:pt x="4753" y="6175"/>
                </a:lnTo>
                <a:cubicBezTo>
                  <a:pt x="4834" y="6287"/>
                  <a:pt x="4833" y="6426"/>
                  <a:pt x="4752" y="6486"/>
                </a:cubicBezTo>
                <a:lnTo>
                  <a:pt x="4752" y="6486"/>
                </a:lnTo>
                <a:cubicBezTo>
                  <a:pt x="4671" y="6545"/>
                  <a:pt x="4538" y="6502"/>
                  <a:pt x="4456" y="6391"/>
                </a:cubicBezTo>
                <a:lnTo>
                  <a:pt x="81" y="369"/>
                </a:lnTo>
                <a:lnTo>
                  <a:pt x="81" y="369"/>
                </a:lnTo>
                <a:cubicBezTo>
                  <a:pt x="0" y="258"/>
                  <a:pt x="1" y="118"/>
                  <a:pt x="82" y="59"/>
                </a:cubicBezTo>
                <a:lnTo>
                  <a:pt x="82" y="59"/>
                </a:lnTo>
                <a:cubicBezTo>
                  <a:pt x="165" y="0"/>
                  <a:pt x="297" y="42"/>
                  <a:pt x="377" y="154"/>
                </a:cubicBezTo>
                <a:lnTo>
                  <a:pt x="4753" y="6175"/>
                </a:lnTo>
              </a:path>
            </a:pathLst>
          </a:custGeom>
          <a:solidFill>
            <a:schemeClr val="bg1">
              <a:lumMod val="8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21" name="Freeform 16">
            <a:extLst>
              <a:ext uri="{FF2B5EF4-FFF2-40B4-BE49-F238E27FC236}">
                <a16:creationId xmlns:a16="http://schemas.microsoft.com/office/drawing/2014/main" id="{4FFF9B48-120D-A3A1-8BC7-50B83CD353F9}"/>
              </a:ext>
            </a:extLst>
          </p:cNvPr>
          <p:cNvSpPr>
            <a:spLocks noChangeArrowheads="1"/>
          </p:cNvSpPr>
          <p:nvPr userDrawn="1"/>
        </p:nvSpPr>
        <p:spPr bwMode="auto">
          <a:xfrm>
            <a:off x="7946657" y="2936561"/>
            <a:ext cx="759194" cy="722732"/>
          </a:xfrm>
          <a:custGeom>
            <a:avLst/>
            <a:gdLst>
              <a:gd name="T0" fmla="*/ 18 w 2571"/>
              <a:gd name="T1" fmla="*/ 1806 h 2449"/>
              <a:gd name="T2" fmla="*/ 18 w 2571"/>
              <a:gd name="T3" fmla="*/ 1806 h 2449"/>
              <a:gd name="T4" fmla="*/ 99 w 2571"/>
              <a:gd name="T5" fmla="*/ 1491 h 2449"/>
              <a:gd name="T6" fmla="*/ 588 w 2571"/>
              <a:gd name="T7" fmla="*/ 617 h 2449"/>
              <a:gd name="T8" fmla="*/ 588 w 2571"/>
              <a:gd name="T9" fmla="*/ 617 h 2449"/>
              <a:gd name="T10" fmla="*/ 898 w 2571"/>
              <a:gd name="T11" fmla="*/ 341 h 2449"/>
              <a:gd name="T12" fmla="*/ 1767 w 2571"/>
              <a:gd name="T13" fmla="*/ 38 h 2449"/>
              <a:gd name="T14" fmla="*/ 1767 w 2571"/>
              <a:gd name="T15" fmla="*/ 38 h 2449"/>
              <a:gd name="T16" fmla="*/ 1892 w 2571"/>
              <a:gd name="T17" fmla="*/ 222 h 2449"/>
              <a:gd name="T18" fmla="*/ 1683 w 2571"/>
              <a:gd name="T19" fmla="*/ 994 h 2449"/>
              <a:gd name="T20" fmla="*/ 1683 w 2571"/>
              <a:gd name="T21" fmla="*/ 994 h 2449"/>
              <a:gd name="T22" fmla="*/ 1820 w 2571"/>
              <a:gd name="T23" fmla="*/ 1405 h 2449"/>
              <a:gd name="T24" fmla="*/ 2451 w 2571"/>
              <a:gd name="T25" fmla="*/ 1882 h 2449"/>
              <a:gd name="T26" fmla="*/ 2451 w 2571"/>
              <a:gd name="T27" fmla="*/ 1882 h 2449"/>
              <a:gd name="T28" fmla="*/ 2463 w 2571"/>
              <a:gd name="T29" fmla="*/ 2107 h 2449"/>
              <a:gd name="T30" fmla="*/ 1595 w 2571"/>
              <a:gd name="T31" fmla="*/ 2411 h 2449"/>
              <a:gd name="T32" fmla="*/ 1595 w 2571"/>
              <a:gd name="T33" fmla="*/ 2411 h 2449"/>
              <a:gd name="T34" fmla="*/ 1183 w 2571"/>
              <a:gd name="T35" fmla="*/ 2388 h 2449"/>
              <a:gd name="T36" fmla="*/ 272 w 2571"/>
              <a:gd name="T37" fmla="*/ 2004 h 2449"/>
              <a:gd name="T38" fmla="*/ 272 w 2571"/>
              <a:gd name="T39" fmla="*/ 2004 h 2449"/>
              <a:gd name="T40" fmla="*/ 18 w 2571"/>
              <a:gd name="T41" fmla="*/ 1806 h 2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71" h="2449">
                <a:moveTo>
                  <a:pt x="18" y="1806"/>
                </a:moveTo>
                <a:lnTo>
                  <a:pt x="18" y="1806"/>
                </a:lnTo>
                <a:cubicBezTo>
                  <a:pt x="0" y="1748"/>
                  <a:pt x="36" y="1606"/>
                  <a:pt x="99" y="1491"/>
                </a:cubicBezTo>
                <a:lnTo>
                  <a:pt x="588" y="617"/>
                </a:lnTo>
                <a:lnTo>
                  <a:pt x="588" y="617"/>
                </a:lnTo>
                <a:cubicBezTo>
                  <a:pt x="652" y="503"/>
                  <a:pt x="792" y="379"/>
                  <a:pt x="898" y="341"/>
                </a:cubicBezTo>
                <a:lnTo>
                  <a:pt x="1767" y="38"/>
                </a:lnTo>
                <a:lnTo>
                  <a:pt x="1767" y="38"/>
                </a:lnTo>
                <a:cubicBezTo>
                  <a:pt x="1874" y="0"/>
                  <a:pt x="1931" y="84"/>
                  <a:pt x="1892" y="222"/>
                </a:cubicBezTo>
                <a:lnTo>
                  <a:pt x="1683" y="994"/>
                </a:lnTo>
                <a:lnTo>
                  <a:pt x="1683" y="994"/>
                </a:lnTo>
                <a:cubicBezTo>
                  <a:pt x="1645" y="1134"/>
                  <a:pt x="1707" y="1318"/>
                  <a:pt x="1820" y="1405"/>
                </a:cubicBezTo>
                <a:lnTo>
                  <a:pt x="2451" y="1882"/>
                </a:lnTo>
                <a:lnTo>
                  <a:pt x="2451" y="1882"/>
                </a:lnTo>
                <a:cubicBezTo>
                  <a:pt x="2565" y="1968"/>
                  <a:pt x="2570" y="2070"/>
                  <a:pt x="2463" y="2107"/>
                </a:cubicBezTo>
                <a:lnTo>
                  <a:pt x="1595" y="2411"/>
                </a:lnTo>
                <a:lnTo>
                  <a:pt x="1595" y="2411"/>
                </a:lnTo>
                <a:cubicBezTo>
                  <a:pt x="1487" y="2448"/>
                  <a:pt x="1303" y="2438"/>
                  <a:pt x="1183" y="2388"/>
                </a:cubicBezTo>
                <a:lnTo>
                  <a:pt x="272" y="2004"/>
                </a:lnTo>
                <a:lnTo>
                  <a:pt x="272" y="2004"/>
                </a:lnTo>
                <a:cubicBezTo>
                  <a:pt x="152" y="1953"/>
                  <a:pt x="39" y="1865"/>
                  <a:pt x="18" y="1806"/>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22" name="Freeform 17">
            <a:extLst>
              <a:ext uri="{FF2B5EF4-FFF2-40B4-BE49-F238E27FC236}">
                <a16:creationId xmlns:a16="http://schemas.microsoft.com/office/drawing/2014/main" id="{BDA5990E-8014-8079-2564-23AE9F1C12A8}"/>
              </a:ext>
            </a:extLst>
          </p:cNvPr>
          <p:cNvSpPr>
            <a:spLocks noChangeArrowheads="1"/>
          </p:cNvSpPr>
          <p:nvPr userDrawn="1"/>
        </p:nvSpPr>
        <p:spPr bwMode="auto">
          <a:xfrm>
            <a:off x="6245960" y="3242583"/>
            <a:ext cx="2250233" cy="807375"/>
          </a:xfrm>
          <a:custGeom>
            <a:avLst/>
            <a:gdLst>
              <a:gd name="T0" fmla="*/ 7292 w 7618"/>
              <a:gd name="T1" fmla="*/ 43 h 2735"/>
              <a:gd name="T2" fmla="*/ 7292 w 7618"/>
              <a:gd name="T3" fmla="*/ 43 h 2735"/>
              <a:gd name="T4" fmla="*/ 7586 w 7618"/>
              <a:gd name="T5" fmla="*/ 141 h 2735"/>
              <a:gd name="T6" fmla="*/ 7586 w 7618"/>
              <a:gd name="T7" fmla="*/ 141 h 2735"/>
              <a:gd name="T8" fmla="*/ 7404 w 7618"/>
              <a:gd name="T9" fmla="*/ 392 h 2735"/>
              <a:gd name="T10" fmla="*/ 325 w 7618"/>
              <a:gd name="T11" fmla="*/ 2693 h 2735"/>
              <a:gd name="T12" fmla="*/ 325 w 7618"/>
              <a:gd name="T13" fmla="*/ 2693 h 2735"/>
              <a:gd name="T14" fmla="*/ 31 w 7618"/>
              <a:gd name="T15" fmla="*/ 2595 h 2735"/>
              <a:gd name="T16" fmla="*/ 31 w 7618"/>
              <a:gd name="T17" fmla="*/ 2595 h 2735"/>
              <a:gd name="T18" fmla="*/ 212 w 7618"/>
              <a:gd name="T19" fmla="*/ 2344 h 2735"/>
              <a:gd name="T20" fmla="*/ 7292 w 7618"/>
              <a:gd name="T21" fmla="*/ 43 h 2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8" h="2735">
                <a:moveTo>
                  <a:pt x="7292" y="43"/>
                </a:moveTo>
                <a:lnTo>
                  <a:pt x="7292" y="43"/>
                </a:lnTo>
                <a:cubicBezTo>
                  <a:pt x="7422" y="0"/>
                  <a:pt x="7555" y="44"/>
                  <a:pt x="7586" y="141"/>
                </a:cubicBezTo>
                <a:lnTo>
                  <a:pt x="7586" y="141"/>
                </a:lnTo>
                <a:cubicBezTo>
                  <a:pt x="7617" y="236"/>
                  <a:pt x="7536" y="349"/>
                  <a:pt x="7404" y="392"/>
                </a:cubicBezTo>
                <a:lnTo>
                  <a:pt x="325" y="2693"/>
                </a:lnTo>
                <a:lnTo>
                  <a:pt x="325" y="2693"/>
                </a:lnTo>
                <a:cubicBezTo>
                  <a:pt x="194" y="2734"/>
                  <a:pt x="63" y="2692"/>
                  <a:pt x="31" y="2595"/>
                </a:cubicBezTo>
                <a:lnTo>
                  <a:pt x="31" y="2595"/>
                </a:lnTo>
                <a:cubicBezTo>
                  <a:pt x="0" y="2500"/>
                  <a:pt x="81" y="2387"/>
                  <a:pt x="212" y="2344"/>
                </a:cubicBezTo>
                <a:lnTo>
                  <a:pt x="7292" y="43"/>
                </a:lnTo>
              </a:path>
            </a:pathLst>
          </a:custGeom>
          <a:solidFill>
            <a:schemeClr val="bg1">
              <a:lumMod val="8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35" name="Title 1">
            <a:extLst>
              <a:ext uri="{FF2B5EF4-FFF2-40B4-BE49-F238E27FC236}">
                <a16:creationId xmlns:a16="http://schemas.microsoft.com/office/drawing/2014/main" id="{D8CF82C8-4EE6-68D2-9F6B-C08635551E38}"/>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
        <p:nvSpPr>
          <p:cNvPr id="36" name="Text Placeholder 35">
            <a:extLst>
              <a:ext uri="{FF2B5EF4-FFF2-40B4-BE49-F238E27FC236}">
                <a16:creationId xmlns:a16="http://schemas.microsoft.com/office/drawing/2014/main" id="{81D5A3E2-0436-0093-EE80-5B06DCC2471E}"/>
              </a:ext>
            </a:extLst>
          </p:cNvPr>
          <p:cNvSpPr>
            <a:spLocks noGrp="1"/>
          </p:cNvSpPr>
          <p:nvPr>
            <p:ph type="body" sz="quarter" idx="48" hasCustomPrompt="1"/>
          </p:nvPr>
        </p:nvSpPr>
        <p:spPr>
          <a:xfrm>
            <a:off x="947239" y="2272620"/>
            <a:ext cx="2050892" cy="331694"/>
          </a:xfrm>
        </p:spPr>
        <p:txBody>
          <a:bodyPr anchor="b">
            <a:noAutofit/>
          </a:bodyPr>
          <a:lstStyle>
            <a:lvl1pPr marL="0" indent="0" algn="r">
              <a:buNone/>
              <a:defRPr sz="1600" b="1">
                <a:solidFill>
                  <a:srgbClr val="F2D92A"/>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7" name="Text Placeholder 2">
            <a:extLst>
              <a:ext uri="{FF2B5EF4-FFF2-40B4-BE49-F238E27FC236}">
                <a16:creationId xmlns:a16="http://schemas.microsoft.com/office/drawing/2014/main" id="{113CCCAE-DF51-A6F9-0362-43F84C1D5066}"/>
              </a:ext>
            </a:extLst>
          </p:cNvPr>
          <p:cNvSpPr>
            <a:spLocks noGrp="1"/>
          </p:cNvSpPr>
          <p:nvPr>
            <p:ph type="body" idx="49" hasCustomPrompt="1"/>
          </p:nvPr>
        </p:nvSpPr>
        <p:spPr>
          <a:xfrm>
            <a:off x="947239" y="2737989"/>
            <a:ext cx="2050893" cy="735762"/>
          </a:xfrm>
        </p:spPr>
        <p:txBody>
          <a:bodyPr>
            <a:normAutofit/>
          </a:bodyPr>
          <a:lstStyle>
            <a:lvl1pPr marL="0" indent="0" algn="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8" name="Text Placeholder 35">
            <a:extLst>
              <a:ext uri="{FF2B5EF4-FFF2-40B4-BE49-F238E27FC236}">
                <a16:creationId xmlns:a16="http://schemas.microsoft.com/office/drawing/2014/main" id="{6C11C164-8050-9038-364F-97EE549E1298}"/>
              </a:ext>
            </a:extLst>
          </p:cNvPr>
          <p:cNvSpPr>
            <a:spLocks noGrp="1"/>
          </p:cNvSpPr>
          <p:nvPr>
            <p:ph type="body" sz="quarter" idx="50" hasCustomPrompt="1"/>
          </p:nvPr>
        </p:nvSpPr>
        <p:spPr>
          <a:xfrm>
            <a:off x="947239" y="3997223"/>
            <a:ext cx="2050892" cy="331694"/>
          </a:xfrm>
        </p:spPr>
        <p:txBody>
          <a:bodyPr anchor="b">
            <a:noAutofit/>
          </a:bodyPr>
          <a:lstStyle>
            <a:lvl1pPr marL="0" indent="0" algn="r">
              <a:buNone/>
              <a:defRPr sz="1600" b="1">
                <a:solidFill>
                  <a:srgbClr val="FFC36F"/>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9" name="Text Placeholder 2">
            <a:extLst>
              <a:ext uri="{FF2B5EF4-FFF2-40B4-BE49-F238E27FC236}">
                <a16:creationId xmlns:a16="http://schemas.microsoft.com/office/drawing/2014/main" id="{31A53F99-265B-A20A-B771-3E9AE83FBF65}"/>
              </a:ext>
            </a:extLst>
          </p:cNvPr>
          <p:cNvSpPr>
            <a:spLocks noGrp="1"/>
          </p:cNvSpPr>
          <p:nvPr>
            <p:ph type="body" idx="51" hasCustomPrompt="1"/>
          </p:nvPr>
        </p:nvSpPr>
        <p:spPr>
          <a:xfrm>
            <a:off x="947239" y="4462592"/>
            <a:ext cx="2050893" cy="735762"/>
          </a:xfrm>
        </p:spPr>
        <p:txBody>
          <a:bodyPr>
            <a:normAutofit/>
          </a:bodyPr>
          <a:lstStyle>
            <a:lvl1pPr marL="0" indent="0" algn="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0" name="Text Placeholder 35">
            <a:extLst>
              <a:ext uri="{FF2B5EF4-FFF2-40B4-BE49-F238E27FC236}">
                <a16:creationId xmlns:a16="http://schemas.microsoft.com/office/drawing/2014/main" id="{05F27556-41F2-5469-575D-5355DCF1E61F}"/>
              </a:ext>
            </a:extLst>
          </p:cNvPr>
          <p:cNvSpPr>
            <a:spLocks noGrp="1"/>
          </p:cNvSpPr>
          <p:nvPr>
            <p:ph type="body" sz="quarter" idx="52" hasCustomPrompt="1"/>
          </p:nvPr>
        </p:nvSpPr>
        <p:spPr>
          <a:xfrm>
            <a:off x="9137082" y="1705614"/>
            <a:ext cx="2050892" cy="331694"/>
          </a:xfrm>
        </p:spPr>
        <p:txBody>
          <a:bodyPr anchor="b">
            <a:noAutofit/>
          </a:bodyPr>
          <a:lstStyle>
            <a:lvl1pPr marL="0" indent="0" algn="l">
              <a:buNone/>
              <a:defRPr sz="1600" b="1">
                <a:solidFill>
                  <a:srgbClr val="007DB2"/>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1" name="Text Placeholder 2">
            <a:extLst>
              <a:ext uri="{FF2B5EF4-FFF2-40B4-BE49-F238E27FC236}">
                <a16:creationId xmlns:a16="http://schemas.microsoft.com/office/drawing/2014/main" id="{7438DC5A-510E-3585-C4F8-B87DC3CDACCF}"/>
              </a:ext>
            </a:extLst>
          </p:cNvPr>
          <p:cNvSpPr>
            <a:spLocks noGrp="1"/>
          </p:cNvSpPr>
          <p:nvPr>
            <p:ph type="body" idx="53" hasCustomPrompt="1"/>
          </p:nvPr>
        </p:nvSpPr>
        <p:spPr>
          <a:xfrm>
            <a:off x="9137082" y="2170983"/>
            <a:ext cx="2050893" cy="735762"/>
          </a:xfrm>
        </p:spPr>
        <p:txBody>
          <a:bodyPr>
            <a:normAutofit/>
          </a:bodyPr>
          <a:lstStyle>
            <a:lvl1pPr marL="0" indent="0" algn="l">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2" name="Text Placeholder 35">
            <a:extLst>
              <a:ext uri="{FF2B5EF4-FFF2-40B4-BE49-F238E27FC236}">
                <a16:creationId xmlns:a16="http://schemas.microsoft.com/office/drawing/2014/main" id="{AD78D88D-C404-0317-664B-6D4287AC126F}"/>
              </a:ext>
            </a:extLst>
          </p:cNvPr>
          <p:cNvSpPr>
            <a:spLocks noGrp="1"/>
          </p:cNvSpPr>
          <p:nvPr>
            <p:ph type="body" sz="quarter" idx="54" hasCustomPrompt="1"/>
          </p:nvPr>
        </p:nvSpPr>
        <p:spPr>
          <a:xfrm>
            <a:off x="9137082" y="3387385"/>
            <a:ext cx="2050892" cy="331694"/>
          </a:xfrm>
        </p:spPr>
        <p:txBody>
          <a:bodyPr anchor="b">
            <a:noAutofit/>
          </a:bodyPr>
          <a:lstStyle>
            <a:lvl1pPr marL="0" indent="0" algn="l">
              <a:buNone/>
              <a:defRPr sz="1600" b="1">
                <a:solidFill>
                  <a:srgbClr val="3EB1C8"/>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3" name="Text Placeholder 2">
            <a:extLst>
              <a:ext uri="{FF2B5EF4-FFF2-40B4-BE49-F238E27FC236}">
                <a16:creationId xmlns:a16="http://schemas.microsoft.com/office/drawing/2014/main" id="{F12B4BD1-2ACB-4DF7-B9B9-9C3C6CAABF75}"/>
              </a:ext>
            </a:extLst>
          </p:cNvPr>
          <p:cNvSpPr>
            <a:spLocks noGrp="1"/>
          </p:cNvSpPr>
          <p:nvPr>
            <p:ph type="body" idx="55" hasCustomPrompt="1"/>
          </p:nvPr>
        </p:nvSpPr>
        <p:spPr>
          <a:xfrm>
            <a:off x="9137082" y="3852754"/>
            <a:ext cx="2050893" cy="735762"/>
          </a:xfrm>
        </p:spPr>
        <p:txBody>
          <a:bodyPr>
            <a:normAutofit/>
          </a:bodyPr>
          <a:lstStyle>
            <a:lvl1pPr marL="0" indent="0" algn="l">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4" name="Text Placeholder 35">
            <a:extLst>
              <a:ext uri="{FF2B5EF4-FFF2-40B4-BE49-F238E27FC236}">
                <a16:creationId xmlns:a16="http://schemas.microsoft.com/office/drawing/2014/main" id="{C649B012-4928-DDBD-6E78-7F779035CBAE}"/>
              </a:ext>
            </a:extLst>
          </p:cNvPr>
          <p:cNvSpPr>
            <a:spLocks noGrp="1"/>
          </p:cNvSpPr>
          <p:nvPr>
            <p:ph type="body" sz="quarter" idx="56" hasCustomPrompt="1"/>
          </p:nvPr>
        </p:nvSpPr>
        <p:spPr>
          <a:xfrm>
            <a:off x="9137082" y="5086977"/>
            <a:ext cx="2050892" cy="331694"/>
          </a:xfrm>
        </p:spPr>
        <p:txBody>
          <a:bodyPr anchor="b">
            <a:noAutofit/>
          </a:bodyPr>
          <a:lstStyle>
            <a:lvl1pPr marL="0" indent="0" algn="l">
              <a:buNone/>
              <a:defRPr sz="1600" b="1">
                <a:solidFill>
                  <a:srgbClr val="22B990"/>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6" name="Text Placeholder 2">
            <a:extLst>
              <a:ext uri="{FF2B5EF4-FFF2-40B4-BE49-F238E27FC236}">
                <a16:creationId xmlns:a16="http://schemas.microsoft.com/office/drawing/2014/main" id="{55FACFB2-9513-EA93-1658-08B01A5A0C46}"/>
              </a:ext>
            </a:extLst>
          </p:cNvPr>
          <p:cNvSpPr>
            <a:spLocks noGrp="1"/>
          </p:cNvSpPr>
          <p:nvPr>
            <p:ph type="body" idx="57" hasCustomPrompt="1"/>
          </p:nvPr>
        </p:nvSpPr>
        <p:spPr>
          <a:xfrm>
            <a:off x="9137082" y="5552346"/>
            <a:ext cx="2050893" cy="735762"/>
          </a:xfrm>
        </p:spPr>
        <p:txBody>
          <a:bodyPr>
            <a:normAutofit/>
          </a:bodyPr>
          <a:lstStyle>
            <a:lvl1pPr marL="0" indent="0" algn="l">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Tree>
    <p:extLst>
      <p:ext uri="{BB962C8B-B14F-4D97-AF65-F5344CB8AC3E}">
        <p14:creationId xmlns:p14="http://schemas.microsoft.com/office/powerpoint/2010/main" val="253839100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BDFE19E6-72B4-E0AF-DF0A-D031F3C1F219}"/>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a:extLst>
              <a:ext uri="{FF2B5EF4-FFF2-40B4-BE49-F238E27FC236}">
                <a16:creationId xmlns:a16="http://schemas.microsoft.com/office/drawing/2014/main" id="{22832659-B2EF-0589-64D0-7A14E4B06CF2}"/>
              </a:ext>
            </a:extLst>
          </p:cNvPr>
          <p:cNvSpPr>
            <a:spLocks noChangeArrowheads="1"/>
          </p:cNvSpPr>
          <p:nvPr userDrawn="1"/>
        </p:nvSpPr>
        <p:spPr bwMode="auto">
          <a:xfrm>
            <a:off x="1667823" y="2025842"/>
            <a:ext cx="3585118" cy="3585117"/>
          </a:xfrm>
          <a:custGeom>
            <a:avLst/>
            <a:gdLst>
              <a:gd name="T0" fmla="*/ 5571 w 11134"/>
              <a:gd name="T1" fmla="*/ 11132 h 11134"/>
              <a:gd name="T2" fmla="*/ 5571 w 11134"/>
              <a:gd name="T3" fmla="*/ 11132 h 11134"/>
              <a:gd name="T4" fmla="*/ 11131 w 11134"/>
              <a:gd name="T5" fmla="*/ 5563 h 11134"/>
              <a:gd name="T6" fmla="*/ 11131 w 11134"/>
              <a:gd name="T7" fmla="*/ 5563 h 11134"/>
              <a:gd name="T8" fmla="*/ 5563 w 11134"/>
              <a:gd name="T9" fmla="*/ 3 h 11134"/>
              <a:gd name="T10" fmla="*/ 5563 w 11134"/>
              <a:gd name="T11" fmla="*/ 3 h 11134"/>
              <a:gd name="T12" fmla="*/ 2 w 11134"/>
              <a:gd name="T13" fmla="*/ 5571 h 11134"/>
              <a:gd name="T14" fmla="*/ 2 w 11134"/>
              <a:gd name="T15" fmla="*/ 5571 h 11134"/>
              <a:gd name="T16" fmla="*/ 5571 w 11134"/>
              <a:gd name="T17" fmla="*/ 11132 h 1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34" h="11134">
                <a:moveTo>
                  <a:pt x="5571" y="11132"/>
                </a:moveTo>
                <a:lnTo>
                  <a:pt x="5571" y="11132"/>
                </a:lnTo>
                <a:cubicBezTo>
                  <a:pt x="8644" y="11128"/>
                  <a:pt x="11133" y="8636"/>
                  <a:pt x="11131" y="5563"/>
                </a:cubicBezTo>
                <a:lnTo>
                  <a:pt x="11131" y="5563"/>
                </a:lnTo>
                <a:cubicBezTo>
                  <a:pt x="11129" y="2489"/>
                  <a:pt x="8635" y="0"/>
                  <a:pt x="5563" y="3"/>
                </a:cubicBezTo>
                <a:lnTo>
                  <a:pt x="5563" y="3"/>
                </a:lnTo>
                <a:cubicBezTo>
                  <a:pt x="2491" y="5"/>
                  <a:pt x="0" y="2498"/>
                  <a:pt x="2" y="5571"/>
                </a:cubicBezTo>
                <a:lnTo>
                  <a:pt x="2" y="5571"/>
                </a:lnTo>
                <a:cubicBezTo>
                  <a:pt x="4" y="8644"/>
                  <a:pt x="2498" y="11133"/>
                  <a:pt x="5571" y="11132"/>
                </a:cubicBezTo>
              </a:path>
            </a:pathLst>
          </a:custGeom>
          <a:solidFill>
            <a:schemeClr val="bg1"/>
          </a:solidFill>
          <a:ln>
            <a:noFill/>
          </a:ln>
          <a:effectLst/>
        </p:spPr>
        <p:txBody>
          <a:bodyPr wrap="none" anchor="ctr"/>
          <a:lstStyle/>
          <a:p>
            <a:endParaRPr lang="en-US" sz="3266"/>
          </a:p>
        </p:txBody>
      </p:sp>
      <p:sp>
        <p:nvSpPr>
          <p:cNvPr id="9" name="Freeform 8">
            <a:extLst>
              <a:ext uri="{FF2B5EF4-FFF2-40B4-BE49-F238E27FC236}">
                <a16:creationId xmlns:a16="http://schemas.microsoft.com/office/drawing/2014/main" id="{8A5BD205-34B4-EF56-952B-54A7D3275869}"/>
              </a:ext>
            </a:extLst>
          </p:cNvPr>
          <p:cNvSpPr>
            <a:spLocks noChangeArrowheads="1"/>
          </p:cNvSpPr>
          <p:nvPr userDrawn="1"/>
        </p:nvSpPr>
        <p:spPr bwMode="auto">
          <a:xfrm>
            <a:off x="3458251" y="1769948"/>
            <a:ext cx="2048975" cy="4096396"/>
          </a:xfrm>
          <a:custGeom>
            <a:avLst/>
            <a:gdLst>
              <a:gd name="connsiteX0" fmla="*/ 2882 w 4156546"/>
              <a:gd name="connsiteY0" fmla="*/ 3371527 h 8309941"/>
              <a:gd name="connsiteX1" fmla="*/ 785018 w 4156546"/>
              <a:gd name="connsiteY1" fmla="*/ 4150918 h 8309941"/>
              <a:gd name="connsiteX2" fmla="*/ 3535 w 4156546"/>
              <a:gd name="connsiteY2" fmla="*/ 4934226 h 8309941"/>
              <a:gd name="connsiteX3" fmla="*/ 2 w 4156546"/>
              <a:gd name="connsiteY3" fmla="*/ 1695844 h 8309941"/>
              <a:gd name="connsiteX4" fmla="*/ 2461354 w 4156546"/>
              <a:gd name="connsiteY4" fmla="*/ 4153009 h 8309941"/>
              <a:gd name="connsiteX5" fmla="*/ 3268 w 4156546"/>
              <a:gd name="connsiteY5" fmla="*/ 6613440 h 8309941"/>
              <a:gd name="connsiteX6" fmla="*/ 2615 w 4156546"/>
              <a:gd name="connsiteY6" fmla="*/ 5668729 h 8309941"/>
              <a:gd name="connsiteX7" fmla="*/ 1516791 w 4156546"/>
              <a:gd name="connsiteY7" fmla="*/ 4153663 h 8309941"/>
              <a:gd name="connsiteX8" fmla="*/ 655 w 4156546"/>
              <a:gd name="connsiteY8" fmla="*/ 2639249 h 8309941"/>
              <a:gd name="connsiteX9" fmla="*/ 0 w 4156546"/>
              <a:gd name="connsiteY9" fmla="*/ 1 h 8309941"/>
              <a:gd name="connsiteX10" fmla="*/ 4156545 w 4156546"/>
              <a:gd name="connsiteY10" fmla="*/ 4152031 h 8309941"/>
              <a:gd name="connsiteX11" fmla="*/ 5877 w 4156546"/>
              <a:gd name="connsiteY11" fmla="*/ 8309941 h 8309941"/>
              <a:gd name="connsiteX12" fmla="*/ 4571 w 4156546"/>
              <a:gd name="connsiteY12" fmla="*/ 7365348 h 8309941"/>
              <a:gd name="connsiteX13" fmla="*/ 3212914 w 4156546"/>
              <a:gd name="connsiteY13" fmla="*/ 4153338 h 8309941"/>
              <a:gd name="connsiteX14" fmla="*/ 0 w 4156546"/>
              <a:gd name="connsiteY14" fmla="*/ 943288 h 830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56546" h="8309941">
                <a:moveTo>
                  <a:pt x="2882" y="3371527"/>
                </a:moveTo>
                <a:cubicBezTo>
                  <a:pt x="435081" y="3370874"/>
                  <a:pt x="784365" y="3719446"/>
                  <a:pt x="785018" y="4150918"/>
                </a:cubicBezTo>
                <a:cubicBezTo>
                  <a:pt x="785671" y="4583043"/>
                  <a:pt x="436387" y="4934226"/>
                  <a:pt x="3535" y="4934226"/>
                </a:cubicBezTo>
                <a:close/>
                <a:moveTo>
                  <a:pt x="2" y="1695844"/>
                </a:moveTo>
                <a:cubicBezTo>
                  <a:pt x="1355444" y="1694538"/>
                  <a:pt x="2460701" y="2796701"/>
                  <a:pt x="2461354" y="4153009"/>
                </a:cubicBezTo>
                <a:cubicBezTo>
                  <a:pt x="2462008" y="5507357"/>
                  <a:pt x="1359364" y="6612788"/>
                  <a:pt x="3268" y="6613440"/>
                </a:cubicBezTo>
                <a:lnTo>
                  <a:pt x="2615" y="5668729"/>
                </a:lnTo>
                <a:cubicBezTo>
                  <a:pt x="839396" y="5668076"/>
                  <a:pt x="1517444" y="4989269"/>
                  <a:pt x="1516791" y="4153663"/>
                </a:cubicBezTo>
                <a:cubicBezTo>
                  <a:pt x="1515484" y="3316750"/>
                  <a:pt x="837437" y="2638596"/>
                  <a:pt x="655" y="2639249"/>
                </a:cubicBezTo>
                <a:close/>
                <a:moveTo>
                  <a:pt x="0" y="1"/>
                </a:moveTo>
                <a:cubicBezTo>
                  <a:pt x="2290834" y="-1959"/>
                  <a:pt x="4154586" y="1860445"/>
                  <a:pt x="4156545" y="4152031"/>
                </a:cubicBezTo>
                <a:cubicBezTo>
                  <a:pt x="4158504" y="6442964"/>
                  <a:pt x="2296712" y="8308634"/>
                  <a:pt x="5877" y="8309941"/>
                </a:cubicBezTo>
                <a:lnTo>
                  <a:pt x="4571" y="7365348"/>
                </a:lnTo>
                <a:cubicBezTo>
                  <a:pt x="1774939" y="7364041"/>
                  <a:pt x="3214220" y="5922980"/>
                  <a:pt x="3212914" y="4153338"/>
                </a:cubicBezTo>
                <a:cubicBezTo>
                  <a:pt x="3210956" y="2381735"/>
                  <a:pt x="1770368" y="941981"/>
                  <a:pt x="0" y="943288"/>
                </a:cubicBezTo>
                <a:close/>
              </a:path>
            </a:pathLst>
          </a:custGeom>
          <a:solidFill>
            <a:srgbClr val="23B890"/>
          </a:solidFill>
          <a:ln>
            <a:noFill/>
          </a:ln>
          <a:effectLst/>
        </p:spPr>
        <p:txBody>
          <a:bodyPr wrap="square" anchor="ctr">
            <a:noAutofit/>
          </a:bodyPr>
          <a:lstStyle/>
          <a:p>
            <a:endParaRPr lang="en-US" sz="3266"/>
          </a:p>
        </p:txBody>
      </p:sp>
      <p:sp>
        <p:nvSpPr>
          <p:cNvPr id="10" name="Freeform 9">
            <a:extLst>
              <a:ext uri="{FF2B5EF4-FFF2-40B4-BE49-F238E27FC236}">
                <a16:creationId xmlns:a16="http://schemas.microsoft.com/office/drawing/2014/main" id="{197706DB-B68A-C779-632A-792349F8B45B}"/>
              </a:ext>
            </a:extLst>
          </p:cNvPr>
          <p:cNvSpPr>
            <a:spLocks noChangeArrowheads="1"/>
          </p:cNvSpPr>
          <p:nvPr userDrawn="1"/>
        </p:nvSpPr>
        <p:spPr bwMode="auto">
          <a:xfrm>
            <a:off x="1411794" y="1770270"/>
            <a:ext cx="2050394" cy="4096074"/>
          </a:xfrm>
          <a:custGeom>
            <a:avLst/>
            <a:gdLst>
              <a:gd name="connsiteX0" fmla="*/ 4153013 w 4159426"/>
              <a:gd name="connsiteY0" fmla="*/ 3372833 h 8309289"/>
              <a:gd name="connsiteX1" fmla="*/ 4153667 w 4159426"/>
              <a:gd name="connsiteY1" fmla="*/ 4936185 h 8309289"/>
              <a:gd name="connsiteX2" fmla="*/ 3370878 w 4159426"/>
              <a:gd name="connsiteY2" fmla="*/ 4153856 h 8309289"/>
              <a:gd name="connsiteX3" fmla="*/ 4153013 w 4159426"/>
              <a:gd name="connsiteY3" fmla="*/ 3372833 h 8309289"/>
              <a:gd name="connsiteX4" fmla="*/ 4150404 w 4159426"/>
              <a:gd name="connsiteY4" fmla="*/ 1696497 h 8309289"/>
              <a:gd name="connsiteX5" fmla="*/ 4151057 w 4159426"/>
              <a:gd name="connsiteY5" fmla="*/ 2639475 h 8309289"/>
              <a:gd name="connsiteX6" fmla="*/ 2639808 w 4159426"/>
              <a:gd name="connsiteY6" fmla="*/ 4155162 h 8309289"/>
              <a:gd name="connsiteX7" fmla="*/ 4153016 w 4159426"/>
              <a:gd name="connsiteY7" fmla="*/ 5667584 h 8309289"/>
              <a:gd name="connsiteX8" fmla="*/ 4153668 w 4159426"/>
              <a:gd name="connsiteY8" fmla="*/ 6611868 h 8309289"/>
              <a:gd name="connsiteX9" fmla="*/ 1695196 w 4159426"/>
              <a:gd name="connsiteY9" fmla="*/ 4156468 h 8309289"/>
              <a:gd name="connsiteX10" fmla="*/ 4150404 w 4159426"/>
              <a:gd name="connsiteY10" fmla="*/ 1696497 h 8309289"/>
              <a:gd name="connsiteX11" fmla="*/ 4152893 w 4159426"/>
              <a:gd name="connsiteY11" fmla="*/ 0 h 8309289"/>
              <a:gd name="connsiteX12" fmla="*/ 4153546 w 4159426"/>
              <a:gd name="connsiteY12" fmla="*/ 943213 h 8309289"/>
              <a:gd name="connsiteX13" fmla="*/ 944791 w 4159426"/>
              <a:gd name="connsiteY13" fmla="*/ 4157583 h 8309289"/>
              <a:gd name="connsiteX14" fmla="*/ 4158120 w 4159426"/>
              <a:gd name="connsiteY14" fmla="*/ 7364768 h 8309289"/>
              <a:gd name="connsiteX15" fmla="*/ 4159426 w 4159426"/>
              <a:gd name="connsiteY15" fmla="*/ 8309287 h 8309289"/>
              <a:gd name="connsiteX16" fmla="*/ 2 w 4159426"/>
              <a:gd name="connsiteY16" fmla="*/ 4157583 h 8309289"/>
              <a:gd name="connsiteX17" fmla="*/ 4152893 w 4159426"/>
              <a:gd name="connsiteY17" fmla="*/ 0 h 830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59426" h="8309289">
                <a:moveTo>
                  <a:pt x="4153013" y="3372833"/>
                </a:moveTo>
                <a:lnTo>
                  <a:pt x="4153667" y="4936185"/>
                </a:lnTo>
                <a:cubicBezTo>
                  <a:pt x="3722414" y="4936185"/>
                  <a:pt x="3370878" y="4586161"/>
                  <a:pt x="3370878" y="4153856"/>
                </a:cubicBezTo>
                <a:cubicBezTo>
                  <a:pt x="3370878" y="3722857"/>
                  <a:pt x="3721761" y="3372833"/>
                  <a:pt x="4153013" y="3372833"/>
                </a:cubicBezTo>
                <a:close/>
                <a:moveTo>
                  <a:pt x="4150404" y="1696497"/>
                </a:moveTo>
                <a:lnTo>
                  <a:pt x="4151057" y="2639475"/>
                </a:lnTo>
                <a:cubicBezTo>
                  <a:pt x="3316116" y="2641434"/>
                  <a:pt x="2639155" y="3319281"/>
                  <a:pt x="2639808" y="4155162"/>
                </a:cubicBezTo>
                <a:cubicBezTo>
                  <a:pt x="2639808" y="4990390"/>
                  <a:pt x="3318075" y="5668237"/>
                  <a:pt x="4153016" y="5667584"/>
                </a:cubicBezTo>
                <a:lnTo>
                  <a:pt x="4153668" y="6611868"/>
                </a:lnTo>
                <a:cubicBezTo>
                  <a:pt x="2799746" y="6612521"/>
                  <a:pt x="1695849" y="5510856"/>
                  <a:pt x="1695196" y="4156468"/>
                </a:cubicBezTo>
                <a:cubicBezTo>
                  <a:pt x="1694543" y="2800774"/>
                  <a:pt x="2796482" y="1697803"/>
                  <a:pt x="4150404" y="1696497"/>
                </a:cubicBezTo>
                <a:close/>
                <a:moveTo>
                  <a:pt x="4152893" y="0"/>
                </a:moveTo>
                <a:lnTo>
                  <a:pt x="4153546" y="943213"/>
                </a:lnTo>
                <a:cubicBezTo>
                  <a:pt x="2383536" y="945173"/>
                  <a:pt x="943485" y="2386120"/>
                  <a:pt x="944791" y="4157583"/>
                </a:cubicBezTo>
                <a:cubicBezTo>
                  <a:pt x="946098" y="5926433"/>
                  <a:pt x="2387457" y="7366074"/>
                  <a:pt x="4158120" y="7364768"/>
                </a:cubicBezTo>
                <a:lnTo>
                  <a:pt x="4159426" y="8309287"/>
                </a:lnTo>
                <a:cubicBezTo>
                  <a:pt x="1868019" y="8311900"/>
                  <a:pt x="1962" y="6448336"/>
                  <a:pt x="2" y="4157583"/>
                </a:cubicBezTo>
                <a:cubicBezTo>
                  <a:pt x="-1958" y="1865524"/>
                  <a:pt x="1861485" y="1960"/>
                  <a:pt x="4152893" y="0"/>
                </a:cubicBezTo>
                <a:close/>
              </a:path>
            </a:pathLst>
          </a:custGeom>
          <a:solidFill>
            <a:srgbClr val="23B890"/>
          </a:solidFill>
          <a:ln>
            <a:noFill/>
          </a:ln>
          <a:effectLst/>
        </p:spPr>
        <p:txBody>
          <a:bodyPr wrap="square" anchor="ctr">
            <a:noAutofit/>
          </a:bodyPr>
          <a:lstStyle/>
          <a:p>
            <a:endParaRPr lang="en-US" sz="3266"/>
          </a:p>
        </p:txBody>
      </p:sp>
      <p:grpSp>
        <p:nvGrpSpPr>
          <p:cNvPr id="11" name="Group 10">
            <a:extLst>
              <a:ext uri="{FF2B5EF4-FFF2-40B4-BE49-F238E27FC236}">
                <a16:creationId xmlns:a16="http://schemas.microsoft.com/office/drawing/2014/main" id="{48DFEFD2-5651-DACB-16E2-B5F5D9EA2911}"/>
              </a:ext>
            </a:extLst>
          </p:cNvPr>
          <p:cNvGrpSpPr/>
          <p:nvPr userDrawn="1"/>
        </p:nvGrpSpPr>
        <p:grpSpPr>
          <a:xfrm rot="20700000">
            <a:off x="3659582" y="2860335"/>
            <a:ext cx="3164818" cy="956201"/>
            <a:chOff x="7433258" y="6710320"/>
            <a:chExt cx="6329635" cy="1912402"/>
          </a:xfrm>
        </p:grpSpPr>
        <p:sp>
          <p:nvSpPr>
            <p:cNvPr id="12" name="Freeform 9">
              <a:extLst>
                <a:ext uri="{FF2B5EF4-FFF2-40B4-BE49-F238E27FC236}">
                  <a16:creationId xmlns:a16="http://schemas.microsoft.com/office/drawing/2014/main" id="{3249C4BD-2354-D5F6-95CA-332948BF563B}"/>
                </a:ext>
              </a:extLst>
            </p:cNvPr>
            <p:cNvSpPr>
              <a:spLocks noChangeArrowheads="1"/>
            </p:cNvSpPr>
            <p:nvPr/>
          </p:nvSpPr>
          <p:spPr bwMode="auto">
            <a:xfrm rot="5400000">
              <a:off x="10067456" y="4886222"/>
              <a:ext cx="254525" cy="5522922"/>
            </a:xfrm>
            <a:custGeom>
              <a:avLst/>
              <a:gdLst>
                <a:gd name="T0" fmla="*/ 0 w 367"/>
                <a:gd name="T1" fmla="*/ 250 h 7944"/>
                <a:gd name="T2" fmla="*/ 0 w 367"/>
                <a:gd name="T3" fmla="*/ 250 h 7944"/>
                <a:gd name="T4" fmla="*/ 183 w 367"/>
                <a:gd name="T5" fmla="*/ 0 h 7944"/>
                <a:gd name="T6" fmla="*/ 183 w 367"/>
                <a:gd name="T7" fmla="*/ 0 h 7944"/>
                <a:gd name="T8" fmla="*/ 366 w 367"/>
                <a:gd name="T9" fmla="*/ 250 h 7944"/>
                <a:gd name="T10" fmla="*/ 366 w 367"/>
                <a:gd name="T11" fmla="*/ 7693 h 7944"/>
                <a:gd name="T12" fmla="*/ 366 w 367"/>
                <a:gd name="T13" fmla="*/ 7693 h 7944"/>
                <a:gd name="T14" fmla="*/ 183 w 367"/>
                <a:gd name="T15" fmla="*/ 7943 h 7944"/>
                <a:gd name="T16" fmla="*/ 183 w 367"/>
                <a:gd name="T17" fmla="*/ 7943 h 7944"/>
                <a:gd name="T18" fmla="*/ 0 w 367"/>
                <a:gd name="T19" fmla="*/ 7693 h 7944"/>
                <a:gd name="T20" fmla="*/ 0 w 367"/>
                <a:gd name="T21" fmla="*/ 250 h 7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7944">
                  <a:moveTo>
                    <a:pt x="0" y="250"/>
                  </a:moveTo>
                  <a:lnTo>
                    <a:pt x="0" y="250"/>
                  </a:lnTo>
                  <a:cubicBezTo>
                    <a:pt x="0" y="111"/>
                    <a:pt x="82" y="0"/>
                    <a:pt x="183" y="0"/>
                  </a:cubicBezTo>
                  <a:lnTo>
                    <a:pt x="183" y="0"/>
                  </a:lnTo>
                  <a:cubicBezTo>
                    <a:pt x="284" y="0"/>
                    <a:pt x="366" y="111"/>
                    <a:pt x="366" y="250"/>
                  </a:cubicBezTo>
                  <a:lnTo>
                    <a:pt x="366" y="7693"/>
                  </a:lnTo>
                  <a:lnTo>
                    <a:pt x="366" y="7693"/>
                  </a:lnTo>
                  <a:cubicBezTo>
                    <a:pt x="366" y="7831"/>
                    <a:pt x="284" y="7943"/>
                    <a:pt x="183" y="7943"/>
                  </a:cubicBezTo>
                  <a:lnTo>
                    <a:pt x="183" y="7943"/>
                  </a:lnTo>
                  <a:cubicBezTo>
                    <a:pt x="82" y="7943"/>
                    <a:pt x="0" y="7831"/>
                    <a:pt x="0" y="7693"/>
                  </a:cubicBezTo>
                  <a:lnTo>
                    <a:pt x="0" y="250"/>
                  </a:lnTo>
                </a:path>
              </a:pathLst>
            </a:custGeom>
            <a:solidFill>
              <a:schemeClr val="bg1">
                <a:lumMod val="8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3" name="Teardrop 12">
              <a:extLst>
                <a:ext uri="{FF2B5EF4-FFF2-40B4-BE49-F238E27FC236}">
                  <a16:creationId xmlns:a16="http://schemas.microsoft.com/office/drawing/2014/main" id="{84C4AFDA-9F66-AA4D-0F50-45C85BBA4FDA}"/>
                </a:ext>
              </a:extLst>
            </p:cNvPr>
            <p:cNvSpPr/>
            <p:nvPr/>
          </p:nvSpPr>
          <p:spPr>
            <a:xfrm rot="2684498">
              <a:off x="11953308" y="6710320"/>
              <a:ext cx="1809585" cy="1912402"/>
            </a:xfrm>
            <a:prstGeom prst="teardrop">
              <a:avLst>
                <a:gd name="adj" fmla="val 29107"/>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grpSp>
        <p:nvGrpSpPr>
          <p:cNvPr id="14" name="Group 13">
            <a:extLst>
              <a:ext uri="{FF2B5EF4-FFF2-40B4-BE49-F238E27FC236}">
                <a16:creationId xmlns:a16="http://schemas.microsoft.com/office/drawing/2014/main" id="{B63F0956-DEDD-F140-295D-52F5A77F91BA}"/>
              </a:ext>
            </a:extLst>
          </p:cNvPr>
          <p:cNvGrpSpPr/>
          <p:nvPr userDrawn="1"/>
        </p:nvGrpSpPr>
        <p:grpSpPr>
          <a:xfrm rot="20700000">
            <a:off x="3032750" y="1477822"/>
            <a:ext cx="2991115" cy="1199421"/>
            <a:chOff x="6937912" y="3546672"/>
            <a:chExt cx="5982229" cy="2398841"/>
          </a:xfrm>
        </p:grpSpPr>
        <p:sp>
          <p:nvSpPr>
            <p:cNvPr id="15" name="Freeform 9">
              <a:extLst>
                <a:ext uri="{FF2B5EF4-FFF2-40B4-BE49-F238E27FC236}">
                  <a16:creationId xmlns:a16="http://schemas.microsoft.com/office/drawing/2014/main" id="{6696008C-C4D0-B183-3B15-9E207EE7279B}"/>
                </a:ext>
              </a:extLst>
            </p:cNvPr>
            <p:cNvSpPr>
              <a:spLocks noChangeArrowheads="1"/>
            </p:cNvSpPr>
            <p:nvPr/>
          </p:nvSpPr>
          <p:spPr bwMode="auto">
            <a:xfrm rot="3600000">
              <a:off x="9572110" y="3056790"/>
              <a:ext cx="254525" cy="5522922"/>
            </a:xfrm>
            <a:custGeom>
              <a:avLst/>
              <a:gdLst>
                <a:gd name="T0" fmla="*/ 0 w 367"/>
                <a:gd name="T1" fmla="*/ 250 h 7944"/>
                <a:gd name="T2" fmla="*/ 0 w 367"/>
                <a:gd name="T3" fmla="*/ 250 h 7944"/>
                <a:gd name="T4" fmla="*/ 183 w 367"/>
                <a:gd name="T5" fmla="*/ 0 h 7944"/>
                <a:gd name="T6" fmla="*/ 183 w 367"/>
                <a:gd name="T7" fmla="*/ 0 h 7944"/>
                <a:gd name="T8" fmla="*/ 366 w 367"/>
                <a:gd name="T9" fmla="*/ 250 h 7944"/>
                <a:gd name="T10" fmla="*/ 366 w 367"/>
                <a:gd name="T11" fmla="*/ 7693 h 7944"/>
                <a:gd name="T12" fmla="*/ 366 w 367"/>
                <a:gd name="T13" fmla="*/ 7693 h 7944"/>
                <a:gd name="T14" fmla="*/ 183 w 367"/>
                <a:gd name="T15" fmla="*/ 7943 h 7944"/>
                <a:gd name="T16" fmla="*/ 183 w 367"/>
                <a:gd name="T17" fmla="*/ 7943 h 7944"/>
                <a:gd name="T18" fmla="*/ 0 w 367"/>
                <a:gd name="T19" fmla="*/ 7693 h 7944"/>
                <a:gd name="T20" fmla="*/ 0 w 367"/>
                <a:gd name="T21" fmla="*/ 250 h 7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7944">
                  <a:moveTo>
                    <a:pt x="0" y="250"/>
                  </a:moveTo>
                  <a:lnTo>
                    <a:pt x="0" y="250"/>
                  </a:lnTo>
                  <a:cubicBezTo>
                    <a:pt x="0" y="111"/>
                    <a:pt x="82" y="0"/>
                    <a:pt x="183" y="0"/>
                  </a:cubicBezTo>
                  <a:lnTo>
                    <a:pt x="183" y="0"/>
                  </a:lnTo>
                  <a:cubicBezTo>
                    <a:pt x="284" y="0"/>
                    <a:pt x="366" y="111"/>
                    <a:pt x="366" y="250"/>
                  </a:cubicBezTo>
                  <a:lnTo>
                    <a:pt x="366" y="7693"/>
                  </a:lnTo>
                  <a:lnTo>
                    <a:pt x="366" y="7693"/>
                  </a:lnTo>
                  <a:cubicBezTo>
                    <a:pt x="366" y="7831"/>
                    <a:pt x="284" y="7943"/>
                    <a:pt x="183" y="7943"/>
                  </a:cubicBezTo>
                  <a:lnTo>
                    <a:pt x="183" y="7943"/>
                  </a:lnTo>
                  <a:cubicBezTo>
                    <a:pt x="82" y="7943"/>
                    <a:pt x="0" y="7831"/>
                    <a:pt x="0" y="7693"/>
                  </a:cubicBezTo>
                  <a:lnTo>
                    <a:pt x="0" y="250"/>
                  </a:lnTo>
                </a:path>
              </a:pathLst>
            </a:custGeom>
            <a:solidFill>
              <a:schemeClr val="bg1">
                <a:lumMod val="8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6" name="Teardrop 15">
              <a:extLst>
                <a:ext uri="{FF2B5EF4-FFF2-40B4-BE49-F238E27FC236}">
                  <a16:creationId xmlns:a16="http://schemas.microsoft.com/office/drawing/2014/main" id="{E74523BE-C74B-12B8-8761-A9DE14186E09}"/>
                </a:ext>
              </a:extLst>
            </p:cNvPr>
            <p:cNvSpPr/>
            <p:nvPr/>
          </p:nvSpPr>
          <p:spPr>
            <a:xfrm rot="884498">
              <a:off x="11110556" y="3546672"/>
              <a:ext cx="1809585" cy="1912402"/>
            </a:xfrm>
            <a:prstGeom prst="teardrop">
              <a:avLst>
                <a:gd name="adj" fmla="val 29107"/>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grpSp>
        <p:nvGrpSpPr>
          <p:cNvPr id="17" name="Group 16">
            <a:extLst>
              <a:ext uri="{FF2B5EF4-FFF2-40B4-BE49-F238E27FC236}">
                <a16:creationId xmlns:a16="http://schemas.microsoft.com/office/drawing/2014/main" id="{5AA5BCBC-08ED-A5A3-8F5D-2E518197DE1B}"/>
              </a:ext>
            </a:extLst>
          </p:cNvPr>
          <p:cNvGrpSpPr/>
          <p:nvPr userDrawn="1"/>
        </p:nvGrpSpPr>
        <p:grpSpPr>
          <a:xfrm rot="900000">
            <a:off x="3052441" y="4986325"/>
            <a:ext cx="3007400" cy="1190030"/>
            <a:chOff x="6941222" y="9270139"/>
            <a:chExt cx="6014799" cy="2380060"/>
          </a:xfrm>
        </p:grpSpPr>
        <p:sp>
          <p:nvSpPr>
            <p:cNvPr id="18" name="Freeform 9">
              <a:extLst>
                <a:ext uri="{FF2B5EF4-FFF2-40B4-BE49-F238E27FC236}">
                  <a16:creationId xmlns:a16="http://schemas.microsoft.com/office/drawing/2014/main" id="{78CD1F64-78B4-CDC5-C9E8-13D442915403}"/>
                </a:ext>
              </a:extLst>
            </p:cNvPr>
            <p:cNvSpPr>
              <a:spLocks noChangeArrowheads="1"/>
            </p:cNvSpPr>
            <p:nvPr/>
          </p:nvSpPr>
          <p:spPr bwMode="auto">
            <a:xfrm rot="7200000">
              <a:off x="9575420" y="6635941"/>
              <a:ext cx="254525" cy="5522922"/>
            </a:xfrm>
            <a:custGeom>
              <a:avLst/>
              <a:gdLst>
                <a:gd name="T0" fmla="*/ 0 w 367"/>
                <a:gd name="T1" fmla="*/ 250 h 7944"/>
                <a:gd name="T2" fmla="*/ 0 w 367"/>
                <a:gd name="T3" fmla="*/ 250 h 7944"/>
                <a:gd name="T4" fmla="*/ 183 w 367"/>
                <a:gd name="T5" fmla="*/ 0 h 7944"/>
                <a:gd name="T6" fmla="*/ 183 w 367"/>
                <a:gd name="T7" fmla="*/ 0 h 7944"/>
                <a:gd name="T8" fmla="*/ 366 w 367"/>
                <a:gd name="T9" fmla="*/ 250 h 7944"/>
                <a:gd name="T10" fmla="*/ 366 w 367"/>
                <a:gd name="T11" fmla="*/ 7693 h 7944"/>
                <a:gd name="T12" fmla="*/ 366 w 367"/>
                <a:gd name="T13" fmla="*/ 7693 h 7944"/>
                <a:gd name="T14" fmla="*/ 183 w 367"/>
                <a:gd name="T15" fmla="*/ 7943 h 7944"/>
                <a:gd name="T16" fmla="*/ 183 w 367"/>
                <a:gd name="T17" fmla="*/ 7943 h 7944"/>
                <a:gd name="T18" fmla="*/ 0 w 367"/>
                <a:gd name="T19" fmla="*/ 7693 h 7944"/>
                <a:gd name="T20" fmla="*/ 0 w 367"/>
                <a:gd name="T21" fmla="*/ 250 h 7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7944">
                  <a:moveTo>
                    <a:pt x="0" y="250"/>
                  </a:moveTo>
                  <a:lnTo>
                    <a:pt x="0" y="250"/>
                  </a:lnTo>
                  <a:cubicBezTo>
                    <a:pt x="0" y="111"/>
                    <a:pt x="82" y="0"/>
                    <a:pt x="183" y="0"/>
                  </a:cubicBezTo>
                  <a:lnTo>
                    <a:pt x="183" y="0"/>
                  </a:lnTo>
                  <a:cubicBezTo>
                    <a:pt x="284" y="0"/>
                    <a:pt x="366" y="111"/>
                    <a:pt x="366" y="250"/>
                  </a:cubicBezTo>
                  <a:lnTo>
                    <a:pt x="366" y="7693"/>
                  </a:lnTo>
                  <a:lnTo>
                    <a:pt x="366" y="7693"/>
                  </a:lnTo>
                  <a:cubicBezTo>
                    <a:pt x="366" y="7831"/>
                    <a:pt x="284" y="7943"/>
                    <a:pt x="183" y="7943"/>
                  </a:cubicBezTo>
                  <a:lnTo>
                    <a:pt x="183" y="7943"/>
                  </a:lnTo>
                  <a:cubicBezTo>
                    <a:pt x="82" y="7943"/>
                    <a:pt x="0" y="7831"/>
                    <a:pt x="0" y="7693"/>
                  </a:cubicBezTo>
                  <a:lnTo>
                    <a:pt x="0" y="250"/>
                  </a:lnTo>
                </a:path>
              </a:pathLst>
            </a:custGeom>
            <a:solidFill>
              <a:schemeClr val="bg1">
                <a:lumMod val="8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9" name="Teardrop 18">
              <a:extLst>
                <a:ext uri="{FF2B5EF4-FFF2-40B4-BE49-F238E27FC236}">
                  <a16:creationId xmlns:a16="http://schemas.microsoft.com/office/drawing/2014/main" id="{AB958E10-3A70-9412-9832-8425EA33AE35}"/>
                </a:ext>
              </a:extLst>
            </p:cNvPr>
            <p:cNvSpPr/>
            <p:nvPr/>
          </p:nvSpPr>
          <p:spPr>
            <a:xfrm rot="4484498">
              <a:off x="11095027" y="9789206"/>
              <a:ext cx="1809585" cy="1912402"/>
            </a:xfrm>
            <a:prstGeom prst="teardrop">
              <a:avLst>
                <a:gd name="adj" fmla="val 29107"/>
              </a:avLst>
            </a:prstGeom>
            <a:solidFill>
              <a:srgbClr val="04617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grpSp>
        <p:nvGrpSpPr>
          <p:cNvPr id="28" name="Group 27">
            <a:extLst>
              <a:ext uri="{FF2B5EF4-FFF2-40B4-BE49-F238E27FC236}">
                <a16:creationId xmlns:a16="http://schemas.microsoft.com/office/drawing/2014/main" id="{65497784-1584-7EF1-AB6E-909D8AE75182}"/>
              </a:ext>
            </a:extLst>
          </p:cNvPr>
          <p:cNvGrpSpPr/>
          <p:nvPr userDrawn="1"/>
        </p:nvGrpSpPr>
        <p:grpSpPr>
          <a:xfrm rot="900000">
            <a:off x="3670207" y="3877402"/>
            <a:ext cx="3164818" cy="956201"/>
            <a:chOff x="7433258" y="6710320"/>
            <a:chExt cx="6329635" cy="1912402"/>
          </a:xfrm>
        </p:grpSpPr>
        <p:sp>
          <p:nvSpPr>
            <p:cNvPr id="29" name="Freeform 9">
              <a:extLst>
                <a:ext uri="{FF2B5EF4-FFF2-40B4-BE49-F238E27FC236}">
                  <a16:creationId xmlns:a16="http://schemas.microsoft.com/office/drawing/2014/main" id="{D4791DC6-6A49-2377-E34C-B27E165E6B09}"/>
                </a:ext>
              </a:extLst>
            </p:cNvPr>
            <p:cNvSpPr>
              <a:spLocks noChangeArrowheads="1"/>
            </p:cNvSpPr>
            <p:nvPr/>
          </p:nvSpPr>
          <p:spPr bwMode="auto">
            <a:xfrm rot="5400000">
              <a:off x="10067456" y="4886222"/>
              <a:ext cx="254525" cy="5522922"/>
            </a:xfrm>
            <a:custGeom>
              <a:avLst/>
              <a:gdLst>
                <a:gd name="T0" fmla="*/ 0 w 367"/>
                <a:gd name="T1" fmla="*/ 250 h 7944"/>
                <a:gd name="T2" fmla="*/ 0 w 367"/>
                <a:gd name="T3" fmla="*/ 250 h 7944"/>
                <a:gd name="T4" fmla="*/ 183 w 367"/>
                <a:gd name="T5" fmla="*/ 0 h 7944"/>
                <a:gd name="T6" fmla="*/ 183 w 367"/>
                <a:gd name="T7" fmla="*/ 0 h 7944"/>
                <a:gd name="T8" fmla="*/ 366 w 367"/>
                <a:gd name="T9" fmla="*/ 250 h 7944"/>
                <a:gd name="T10" fmla="*/ 366 w 367"/>
                <a:gd name="T11" fmla="*/ 7693 h 7944"/>
                <a:gd name="T12" fmla="*/ 366 w 367"/>
                <a:gd name="T13" fmla="*/ 7693 h 7944"/>
                <a:gd name="T14" fmla="*/ 183 w 367"/>
                <a:gd name="T15" fmla="*/ 7943 h 7944"/>
                <a:gd name="T16" fmla="*/ 183 w 367"/>
                <a:gd name="T17" fmla="*/ 7943 h 7944"/>
                <a:gd name="T18" fmla="*/ 0 w 367"/>
                <a:gd name="T19" fmla="*/ 7693 h 7944"/>
                <a:gd name="T20" fmla="*/ 0 w 367"/>
                <a:gd name="T21" fmla="*/ 250 h 7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7944">
                  <a:moveTo>
                    <a:pt x="0" y="250"/>
                  </a:moveTo>
                  <a:lnTo>
                    <a:pt x="0" y="250"/>
                  </a:lnTo>
                  <a:cubicBezTo>
                    <a:pt x="0" y="111"/>
                    <a:pt x="82" y="0"/>
                    <a:pt x="183" y="0"/>
                  </a:cubicBezTo>
                  <a:lnTo>
                    <a:pt x="183" y="0"/>
                  </a:lnTo>
                  <a:cubicBezTo>
                    <a:pt x="284" y="0"/>
                    <a:pt x="366" y="111"/>
                    <a:pt x="366" y="250"/>
                  </a:cubicBezTo>
                  <a:lnTo>
                    <a:pt x="366" y="7693"/>
                  </a:lnTo>
                  <a:lnTo>
                    <a:pt x="366" y="7693"/>
                  </a:lnTo>
                  <a:cubicBezTo>
                    <a:pt x="366" y="7831"/>
                    <a:pt x="284" y="7943"/>
                    <a:pt x="183" y="7943"/>
                  </a:cubicBezTo>
                  <a:lnTo>
                    <a:pt x="183" y="7943"/>
                  </a:lnTo>
                  <a:cubicBezTo>
                    <a:pt x="82" y="7943"/>
                    <a:pt x="0" y="7831"/>
                    <a:pt x="0" y="7693"/>
                  </a:cubicBezTo>
                  <a:lnTo>
                    <a:pt x="0" y="250"/>
                  </a:lnTo>
                </a:path>
              </a:pathLst>
            </a:custGeom>
            <a:solidFill>
              <a:schemeClr val="bg1">
                <a:lumMod val="8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30" name="Teardrop 29">
              <a:extLst>
                <a:ext uri="{FF2B5EF4-FFF2-40B4-BE49-F238E27FC236}">
                  <a16:creationId xmlns:a16="http://schemas.microsoft.com/office/drawing/2014/main" id="{1E9FE4C4-A9CC-634F-AB0E-D608FBF2D432}"/>
                </a:ext>
              </a:extLst>
            </p:cNvPr>
            <p:cNvSpPr/>
            <p:nvPr/>
          </p:nvSpPr>
          <p:spPr>
            <a:xfrm rot="2684498">
              <a:off x="11953308" y="6710320"/>
              <a:ext cx="1809585" cy="1912402"/>
            </a:xfrm>
            <a:prstGeom prst="teardrop">
              <a:avLst>
                <a:gd name="adj" fmla="val 29107"/>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35" name="Title 1">
            <a:extLst>
              <a:ext uri="{FF2B5EF4-FFF2-40B4-BE49-F238E27FC236}">
                <a16:creationId xmlns:a16="http://schemas.microsoft.com/office/drawing/2014/main" id="{91CF4DA8-CAFD-E013-5801-2A096D49FC69}"/>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
        <p:nvSpPr>
          <p:cNvPr id="36" name="Text Placeholder 35">
            <a:extLst>
              <a:ext uri="{FF2B5EF4-FFF2-40B4-BE49-F238E27FC236}">
                <a16:creationId xmlns:a16="http://schemas.microsoft.com/office/drawing/2014/main" id="{0D2EC77A-C731-916D-4184-9E504A2F52FB}"/>
              </a:ext>
            </a:extLst>
          </p:cNvPr>
          <p:cNvSpPr>
            <a:spLocks noGrp="1"/>
          </p:cNvSpPr>
          <p:nvPr>
            <p:ph type="body" sz="quarter" idx="52" hasCustomPrompt="1"/>
          </p:nvPr>
        </p:nvSpPr>
        <p:spPr>
          <a:xfrm>
            <a:off x="7089540" y="1493046"/>
            <a:ext cx="3185180" cy="331694"/>
          </a:xfrm>
        </p:spPr>
        <p:txBody>
          <a:bodyPr anchor="b">
            <a:noAutofit/>
          </a:bodyPr>
          <a:lstStyle>
            <a:lvl1pPr marL="0" indent="0" algn="l">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7" name="Text Placeholder 2">
            <a:extLst>
              <a:ext uri="{FF2B5EF4-FFF2-40B4-BE49-F238E27FC236}">
                <a16:creationId xmlns:a16="http://schemas.microsoft.com/office/drawing/2014/main" id="{23F874F0-B5AC-D6EA-36FB-95C8396B7223}"/>
              </a:ext>
            </a:extLst>
          </p:cNvPr>
          <p:cNvSpPr>
            <a:spLocks noGrp="1"/>
          </p:cNvSpPr>
          <p:nvPr>
            <p:ph type="body" idx="53" hasCustomPrompt="1"/>
          </p:nvPr>
        </p:nvSpPr>
        <p:spPr>
          <a:xfrm>
            <a:off x="7089540" y="1958415"/>
            <a:ext cx="3185182" cy="530246"/>
          </a:xfrm>
        </p:spPr>
        <p:txBody>
          <a:bodyPr>
            <a:normAutofit/>
          </a:bodyPr>
          <a:lstStyle>
            <a:lvl1pPr marL="0" indent="0" algn="l">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7" name="Text Placeholder 35">
            <a:extLst>
              <a:ext uri="{FF2B5EF4-FFF2-40B4-BE49-F238E27FC236}">
                <a16:creationId xmlns:a16="http://schemas.microsoft.com/office/drawing/2014/main" id="{FAD587A7-6B35-1DA5-63A8-B9CC3856D690}"/>
              </a:ext>
            </a:extLst>
          </p:cNvPr>
          <p:cNvSpPr>
            <a:spLocks noGrp="1"/>
          </p:cNvSpPr>
          <p:nvPr>
            <p:ph type="body" sz="quarter" idx="54" hasCustomPrompt="1"/>
          </p:nvPr>
        </p:nvSpPr>
        <p:spPr>
          <a:xfrm>
            <a:off x="7417531" y="2685742"/>
            <a:ext cx="3185180" cy="331694"/>
          </a:xfrm>
        </p:spPr>
        <p:txBody>
          <a:bodyPr anchor="b">
            <a:noAutofit/>
          </a:bodyPr>
          <a:lstStyle>
            <a:lvl1pPr marL="0" indent="0" algn="l">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8" name="Text Placeholder 2">
            <a:extLst>
              <a:ext uri="{FF2B5EF4-FFF2-40B4-BE49-F238E27FC236}">
                <a16:creationId xmlns:a16="http://schemas.microsoft.com/office/drawing/2014/main" id="{21F1B8DB-D854-D169-12B8-7012FA6E368D}"/>
              </a:ext>
            </a:extLst>
          </p:cNvPr>
          <p:cNvSpPr>
            <a:spLocks noGrp="1"/>
          </p:cNvSpPr>
          <p:nvPr>
            <p:ph type="body" idx="55" hasCustomPrompt="1"/>
          </p:nvPr>
        </p:nvSpPr>
        <p:spPr>
          <a:xfrm>
            <a:off x="7417531" y="3151111"/>
            <a:ext cx="3185182" cy="530246"/>
          </a:xfrm>
        </p:spPr>
        <p:txBody>
          <a:bodyPr>
            <a:normAutofit/>
          </a:bodyPr>
          <a:lstStyle>
            <a:lvl1pPr marL="0" indent="0" algn="l">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53" name="Text Placeholder 35">
            <a:extLst>
              <a:ext uri="{FF2B5EF4-FFF2-40B4-BE49-F238E27FC236}">
                <a16:creationId xmlns:a16="http://schemas.microsoft.com/office/drawing/2014/main" id="{1ACB1BE6-BCCE-66EE-6618-CC45A3D4F483}"/>
              </a:ext>
            </a:extLst>
          </p:cNvPr>
          <p:cNvSpPr>
            <a:spLocks noGrp="1"/>
          </p:cNvSpPr>
          <p:nvPr>
            <p:ph type="body" sz="quarter" idx="56" hasCustomPrompt="1"/>
          </p:nvPr>
        </p:nvSpPr>
        <p:spPr>
          <a:xfrm>
            <a:off x="7417531" y="3898316"/>
            <a:ext cx="3185180" cy="331694"/>
          </a:xfrm>
        </p:spPr>
        <p:txBody>
          <a:bodyPr anchor="b">
            <a:noAutofit/>
          </a:bodyPr>
          <a:lstStyle>
            <a:lvl1pPr marL="0" indent="0" algn="l">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54" name="Text Placeholder 2">
            <a:extLst>
              <a:ext uri="{FF2B5EF4-FFF2-40B4-BE49-F238E27FC236}">
                <a16:creationId xmlns:a16="http://schemas.microsoft.com/office/drawing/2014/main" id="{9BEBC1A7-1A1D-780B-E859-672121392A8D}"/>
              </a:ext>
            </a:extLst>
          </p:cNvPr>
          <p:cNvSpPr>
            <a:spLocks noGrp="1"/>
          </p:cNvSpPr>
          <p:nvPr>
            <p:ph type="body" idx="57" hasCustomPrompt="1"/>
          </p:nvPr>
        </p:nvSpPr>
        <p:spPr>
          <a:xfrm>
            <a:off x="7417531" y="4363685"/>
            <a:ext cx="3185182" cy="530246"/>
          </a:xfrm>
        </p:spPr>
        <p:txBody>
          <a:bodyPr>
            <a:normAutofit/>
          </a:bodyPr>
          <a:lstStyle>
            <a:lvl1pPr marL="0" indent="0" algn="l">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55" name="Text Placeholder 35">
            <a:extLst>
              <a:ext uri="{FF2B5EF4-FFF2-40B4-BE49-F238E27FC236}">
                <a16:creationId xmlns:a16="http://schemas.microsoft.com/office/drawing/2014/main" id="{52DC5797-0224-6883-6EF3-02829E2690CD}"/>
              </a:ext>
            </a:extLst>
          </p:cNvPr>
          <p:cNvSpPr>
            <a:spLocks noGrp="1"/>
          </p:cNvSpPr>
          <p:nvPr>
            <p:ph type="body" sz="quarter" idx="58" hasCustomPrompt="1"/>
          </p:nvPr>
        </p:nvSpPr>
        <p:spPr>
          <a:xfrm>
            <a:off x="7089540" y="5100951"/>
            <a:ext cx="3185180" cy="331694"/>
          </a:xfrm>
        </p:spPr>
        <p:txBody>
          <a:bodyPr anchor="b">
            <a:noAutofit/>
          </a:bodyPr>
          <a:lstStyle>
            <a:lvl1pPr marL="0" indent="0" algn="l">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56" name="Text Placeholder 2">
            <a:extLst>
              <a:ext uri="{FF2B5EF4-FFF2-40B4-BE49-F238E27FC236}">
                <a16:creationId xmlns:a16="http://schemas.microsoft.com/office/drawing/2014/main" id="{CD882A5C-BBC8-A813-63B3-AE6F178E41C3}"/>
              </a:ext>
            </a:extLst>
          </p:cNvPr>
          <p:cNvSpPr>
            <a:spLocks noGrp="1"/>
          </p:cNvSpPr>
          <p:nvPr>
            <p:ph type="body" idx="59" hasCustomPrompt="1"/>
          </p:nvPr>
        </p:nvSpPr>
        <p:spPr>
          <a:xfrm>
            <a:off x="7089540" y="5566320"/>
            <a:ext cx="3185182" cy="530246"/>
          </a:xfrm>
        </p:spPr>
        <p:txBody>
          <a:bodyPr>
            <a:normAutofit/>
          </a:bodyPr>
          <a:lstStyle>
            <a:lvl1pPr marL="0" indent="0" algn="l">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Tree>
    <p:extLst>
      <p:ext uri="{BB962C8B-B14F-4D97-AF65-F5344CB8AC3E}">
        <p14:creationId xmlns:p14="http://schemas.microsoft.com/office/powerpoint/2010/main" val="11196473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4" name="Freeform 22">
            <a:extLst>
              <a:ext uri="{FF2B5EF4-FFF2-40B4-BE49-F238E27FC236}">
                <a16:creationId xmlns:a16="http://schemas.microsoft.com/office/drawing/2014/main" id="{372D7C20-01E9-B2B6-543D-D7655F2170DB}"/>
              </a:ext>
            </a:extLst>
          </p:cNvPr>
          <p:cNvSpPr>
            <a:spLocks noChangeArrowheads="1"/>
          </p:cNvSpPr>
          <p:nvPr userDrawn="1"/>
        </p:nvSpPr>
        <p:spPr bwMode="auto">
          <a:xfrm>
            <a:off x="1125286" y="1446384"/>
            <a:ext cx="3008538" cy="4831271"/>
          </a:xfrm>
          <a:custGeom>
            <a:avLst/>
            <a:gdLst>
              <a:gd name="T0" fmla="*/ 5362 w 5363"/>
              <a:gd name="T1" fmla="*/ 7784 h 7785"/>
              <a:gd name="T2" fmla="*/ 0 w 5363"/>
              <a:gd name="T3" fmla="*/ 7784 h 7785"/>
              <a:gd name="T4" fmla="*/ 0 w 5363"/>
              <a:gd name="T5" fmla="*/ 0 h 7785"/>
              <a:gd name="T6" fmla="*/ 5362 w 5363"/>
              <a:gd name="T7" fmla="*/ 0 h 7785"/>
              <a:gd name="T8" fmla="*/ 5362 w 5363"/>
              <a:gd name="T9" fmla="*/ 7784 h 7785"/>
            </a:gdLst>
            <a:ahLst/>
            <a:cxnLst>
              <a:cxn ang="0">
                <a:pos x="T0" y="T1"/>
              </a:cxn>
              <a:cxn ang="0">
                <a:pos x="T2" y="T3"/>
              </a:cxn>
              <a:cxn ang="0">
                <a:pos x="T4" y="T5"/>
              </a:cxn>
              <a:cxn ang="0">
                <a:pos x="T6" y="T7"/>
              </a:cxn>
              <a:cxn ang="0">
                <a:pos x="T8" y="T9"/>
              </a:cxn>
            </a:cxnLst>
            <a:rect l="0" t="0" r="r" b="b"/>
            <a:pathLst>
              <a:path w="5363" h="7785">
                <a:moveTo>
                  <a:pt x="5362" y="7784"/>
                </a:moveTo>
                <a:lnTo>
                  <a:pt x="0" y="7784"/>
                </a:lnTo>
                <a:lnTo>
                  <a:pt x="0" y="0"/>
                </a:lnTo>
                <a:lnTo>
                  <a:pt x="5362" y="0"/>
                </a:lnTo>
                <a:lnTo>
                  <a:pt x="5362" y="7784"/>
                </a:ln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5" name="Freeform 23">
            <a:extLst>
              <a:ext uri="{FF2B5EF4-FFF2-40B4-BE49-F238E27FC236}">
                <a16:creationId xmlns:a16="http://schemas.microsoft.com/office/drawing/2014/main" id="{0D03CE26-7170-F992-B616-578F1EBED36D}"/>
              </a:ext>
            </a:extLst>
          </p:cNvPr>
          <p:cNvSpPr>
            <a:spLocks noChangeArrowheads="1"/>
          </p:cNvSpPr>
          <p:nvPr userDrawn="1"/>
        </p:nvSpPr>
        <p:spPr bwMode="auto">
          <a:xfrm>
            <a:off x="1125286" y="4813549"/>
            <a:ext cx="3008538" cy="1464106"/>
          </a:xfrm>
          <a:custGeom>
            <a:avLst/>
            <a:gdLst>
              <a:gd name="T0" fmla="*/ 5363 w 5364"/>
              <a:gd name="T1" fmla="*/ 1085 h 2405"/>
              <a:gd name="T2" fmla="*/ 5363 w 5364"/>
              <a:gd name="T3" fmla="*/ 2404 h 2405"/>
              <a:gd name="T4" fmla="*/ 0 w 5364"/>
              <a:gd name="T5" fmla="*/ 2404 h 2405"/>
              <a:gd name="T6" fmla="*/ 0 w 5364"/>
              <a:gd name="T7" fmla="*/ 730 h 2405"/>
              <a:gd name="T8" fmla="*/ 0 w 5364"/>
              <a:gd name="T9" fmla="*/ 730 h 2405"/>
              <a:gd name="T10" fmla="*/ 2514 w 5364"/>
              <a:gd name="T11" fmla="*/ 535 h 2405"/>
              <a:gd name="T12" fmla="*/ 2514 w 5364"/>
              <a:gd name="T13" fmla="*/ 535 h 2405"/>
              <a:gd name="T14" fmla="*/ 5363 w 5364"/>
              <a:gd name="T15" fmla="*/ 1085 h 24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64" h="2405">
                <a:moveTo>
                  <a:pt x="5363" y="1085"/>
                </a:moveTo>
                <a:lnTo>
                  <a:pt x="5363" y="2404"/>
                </a:lnTo>
                <a:lnTo>
                  <a:pt x="0" y="2404"/>
                </a:lnTo>
                <a:lnTo>
                  <a:pt x="0" y="730"/>
                </a:lnTo>
                <a:lnTo>
                  <a:pt x="0" y="730"/>
                </a:lnTo>
                <a:cubicBezTo>
                  <a:pt x="711" y="902"/>
                  <a:pt x="1651" y="972"/>
                  <a:pt x="2514" y="535"/>
                </a:cubicBezTo>
                <a:lnTo>
                  <a:pt x="2514" y="535"/>
                </a:lnTo>
                <a:cubicBezTo>
                  <a:pt x="3567" y="0"/>
                  <a:pt x="4678" y="577"/>
                  <a:pt x="5363" y="1085"/>
                </a:cubicBezTo>
              </a:path>
            </a:pathLst>
          </a:custGeom>
          <a:solidFill>
            <a:schemeClr val="accent1">
              <a:alpha val="20000"/>
            </a:schemeClr>
          </a:solidFill>
          <a:ln>
            <a:noFill/>
          </a:ln>
          <a:effectLst/>
        </p:spPr>
        <p:txBody>
          <a:bodyPr wrap="none" anchor="ctr"/>
          <a:lstStyle/>
          <a:p>
            <a:endParaRPr lang="en-US" sz="3266"/>
          </a:p>
        </p:txBody>
      </p:sp>
      <p:sp>
        <p:nvSpPr>
          <p:cNvPr id="6" name="Freeform 24">
            <a:extLst>
              <a:ext uri="{FF2B5EF4-FFF2-40B4-BE49-F238E27FC236}">
                <a16:creationId xmlns:a16="http://schemas.microsoft.com/office/drawing/2014/main" id="{69603F6D-04ED-0974-DDB8-7AA39C890C67}"/>
              </a:ext>
            </a:extLst>
          </p:cNvPr>
          <p:cNvSpPr>
            <a:spLocks noChangeArrowheads="1"/>
          </p:cNvSpPr>
          <p:nvPr userDrawn="1"/>
        </p:nvSpPr>
        <p:spPr bwMode="auto">
          <a:xfrm>
            <a:off x="1125286" y="5114429"/>
            <a:ext cx="3008538" cy="1163225"/>
          </a:xfrm>
          <a:custGeom>
            <a:avLst/>
            <a:gdLst>
              <a:gd name="T0" fmla="*/ 5363 w 5364"/>
              <a:gd name="T1" fmla="*/ 415 h 1909"/>
              <a:gd name="T2" fmla="*/ 5363 w 5364"/>
              <a:gd name="T3" fmla="*/ 1908 h 1909"/>
              <a:gd name="T4" fmla="*/ 0 w 5364"/>
              <a:gd name="T5" fmla="*/ 1908 h 1909"/>
              <a:gd name="T6" fmla="*/ 0 w 5364"/>
              <a:gd name="T7" fmla="*/ 867 h 1909"/>
              <a:gd name="T8" fmla="*/ 0 w 5364"/>
              <a:gd name="T9" fmla="*/ 867 h 1909"/>
              <a:gd name="T10" fmla="*/ 2575 w 5364"/>
              <a:gd name="T11" fmla="*/ 439 h 1909"/>
              <a:gd name="T12" fmla="*/ 2575 w 5364"/>
              <a:gd name="T13" fmla="*/ 439 h 1909"/>
              <a:gd name="T14" fmla="*/ 5363 w 5364"/>
              <a:gd name="T15" fmla="*/ 415 h 19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64" h="1909">
                <a:moveTo>
                  <a:pt x="5363" y="415"/>
                </a:moveTo>
                <a:lnTo>
                  <a:pt x="5363" y="1908"/>
                </a:lnTo>
                <a:lnTo>
                  <a:pt x="0" y="1908"/>
                </a:lnTo>
                <a:lnTo>
                  <a:pt x="0" y="867"/>
                </a:lnTo>
                <a:lnTo>
                  <a:pt x="0" y="867"/>
                </a:lnTo>
                <a:cubicBezTo>
                  <a:pt x="759" y="636"/>
                  <a:pt x="1864" y="0"/>
                  <a:pt x="2575" y="439"/>
                </a:cubicBezTo>
                <a:lnTo>
                  <a:pt x="2575" y="439"/>
                </a:lnTo>
                <a:cubicBezTo>
                  <a:pt x="3474" y="994"/>
                  <a:pt x="4533" y="477"/>
                  <a:pt x="5363" y="415"/>
                </a:cubicBezTo>
              </a:path>
            </a:pathLst>
          </a:custGeom>
          <a:solidFill>
            <a:schemeClr val="accent1">
              <a:alpha val="40000"/>
            </a:schemeClr>
          </a:solidFill>
          <a:ln>
            <a:noFill/>
          </a:ln>
          <a:effectLst/>
        </p:spPr>
        <p:txBody>
          <a:bodyPr wrap="none" anchor="ctr"/>
          <a:lstStyle/>
          <a:p>
            <a:endParaRPr lang="en-US" sz="3266"/>
          </a:p>
        </p:txBody>
      </p:sp>
      <p:sp>
        <p:nvSpPr>
          <p:cNvPr id="8" name="Freeform 25">
            <a:extLst>
              <a:ext uri="{FF2B5EF4-FFF2-40B4-BE49-F238E27FC236}">
                <a16:creationId xmlns:a16="http://schemas.microsoft.com/office/drawing/2014/main" id="{FB2B909E-6156-F16F-FF37-7F2DCF6B86B1}"/>
              </a:ext>
            </a:extLst>
          </p:cNvPr>
          <p:cNvSpPr>
            <a:spLocks noChangeArrowheads="1"/>
          </p:cNvSpPr>
          <p:nvPr userDrawn="1"/>
        </p:nvSpPr>
        <p:spPr bwMode="auto">
          <a:xfrm>
            <a:off x="1125286" y="5587242"/>
            <a:ext cx="3008538" cy="693099"/>
          </a:xfrm>
          <a:custGeom>
            <a:avLst/>
            <a:gdLst>
              <a:gd name="T0" fmla="*/ 5363 w 5364"/>
              <a:gd name="T1" fmla="*/ 130 h 1136"/>
              <a:gd name="T2" fmla="*/ 5363 w 5364"/>
              <a:gd name="T3" fmla="*/ 1135 h 1136"/>
              <a:gd name="T4" fmla="*/ 0 w 5364"/>
              <a:gd name="T5" fmla="*/ 1135 h 1136"/>
              <a:gd name="T6" fmla="*/ 0 w 5364"/>
              <a:gd name="T7" fmla="*/ 380 h 1136"/>
              <a:gd name="T8" fmla="*/ 0 w 5364"/>
              <a:gd name="T9" fmla="*/ 380 h 1136"/>
              <a:gd name="T10" fmla="*/ 1745 w 5364"/>
              <a:gd name="T11" fmla="*/ 692 h 1136"/>
              <a:gd name="T12" fmla="*/ 1745 w 5364"/>
              <a:gd name="T13" fmla="*/ 692 h 1136"/>
              <a:gd name="T14" fmla="*/ 2005 w 5364"/>
              <a:gd name="T15" fmla="*/ 660 h 1136"/>
              <a:gd name="T16" fmla="*/ 2005 w 5364"/>
              <a:gd name="T17" fmla="*/ 660 h 1136"/>
              <a:gd name="T18" fmla="*/ 2558 w 5364"/>
              <a:gd name="T19" fmla="*/ 527 h 1136"/>
              <a:gd name="T20" fmla="*/ 2558 w 5364"/>
              <a:gd name="T21" fmla="*/ 527 h 1136"/>
              <a:gd name="T22" fmla="*/ 2764 w 5364"/>
              <a:gd name="T23" fmla="*/ 462 h 1136"/>
              <a:gd name="T24" fmla="*/ 2764 w 5364"/>
              <a:gd name="T25" fmla="*/ 462 h 1136"/>
              <a:gd name="T26" fmla="*/ 4215 w 5364"/>
              <a:gd name="T27" fmla="*/ 32 h 1136"/>
              <a:gd name="T28" fmla="*/ 4215 w 5364"/>
              <a:gd name="T29" fmla="*/ 32 h 1136"/>
              <a:gd name="T30" fmla="*/ 4611 w 5364"/>
              <a:gd name="T31" fmla="*/ 1 h 1136"/>
              <a:gd name="T32" fmla="*/ 4611 w 5364"/>
              <a:gd name="T33" fmla="*/ 1 h 1136"/>
              <a:gd name="T34" fmla="*/ 5363 w 5364"/>
              <a:gd name="T35" fmla="*/ 13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64" h="1136">
                <a:moveTo>
                  <a:pt x="5363" y="130"/>
                </a:moveTo>
                <a:lnTo>
                  <a:pt x="5363" y="1135"/>
                </a:lnTo>
                <a:lnTo>
                  <a:pt x="0" y="1135"/>
                </a:lnTo>
                <a:lnTo>
                  <a:pt x="0" y="380"/>
                </a:lnTo>
                <a:lnTo>
                  <a:pt x="0" y="380"/>
                </a:lnTo>
                <a:cubicBezTo>
                  <a:pt x="542" y="632"/>
                  <a:pt x="1149" y="742"/>
                  <a:pt x="1745" y="692"/>
                </a:cubicBezTo>
                <a:lnTo>
                  <a:pt x="1745" y="692"/>
                </a:lnTo>
                <a:cubicBezTo>
                  <a:pt x="1832" y="685"/>
                  <a:pt x="1919" y="674"/>
                  <a:pt x="2005" y="660"/>
                </a:cubicBezTo>
                <a:lnTo>
                  <a:pt x="2005" y="660"/>
                </a:lnTo>
                <a:cubicBezTo>
                  <a:pt x="2193" y="628"/>
                  <a:pt x="2376" y="581"/>
                  <a:pt x="2558" y="527"/>
                </a:cubicBezTo>
                <a:lnTo>
                  <a:pt x="2558" y="527"/>
                </a:lnTo>
                <a:cubicBezTo>
                  <a:pt x="2627" y="506"/>
                  <a:pt x="2695" y="485"/>
                  <a:pt x="2764" y="462"/>
                </a:cubicBezTo>
                <a:lnTo>
                  <a:pt x="2764" y="462"/>
                </a:lnTo>
                <a:cubicBezTo>
                  <a:pt x="3244" y="305"/>
                  <a:pt x="3717" y="113"/>
                  <a:pt x="4215" y="32"/>
                </a:cubicBezTo>
                <a:lnTo>
                  <a:pt x="4215" y="32"/>
                </a:lnTo>
                <a:cubicBezTo>
                  <a:pt x="4344" y="10"/>
                  <a:pt x="4477" y="0"/>
                  <a:pt x="4611" y="1"/>
                </a:cubicBezTo>
                <a:lnTo>
                  <a:pt x="4611" y="1"/>
                </a:lnTo>
                <a:cubicBezTo>
                  <a:pt x="4869" y="1"/>
                  <a:pt x="5128" y="43"/>
                  <a:pt x="5363" y="13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9" name="Freeform 26">
            <a:extLst>
              <a:ext uri="{FF2B5EF4-FFF2-40B4-BE49-F238E27FC236}">
                <a16:creationId xmlns:a16="http://schemas.microsoft.com/office/drawing/2014/main" id="{B2DE9F1F-A206-341B-953F-88A5608510A2}"/>
              </a:ext>
            </a:extLst>
          </p:cNvPr>
          <p:cNvSpPr>
            <a:spLocks noChangeArrowheads="1"/>
          </p:cNvSpPr>
          <p:nvPr userDrawn="1"/>
        </p:nvSpPr>
        <p:spPr bwMode="auto">
          <a:xfrm>
            <a:off x="1998243" y="2127363"/>
            <a:ext cx="1259937" cy="48356"/>
          </a:xfrm>
          <a:custGeom>
            <a:avLst/>
            <a:gdLst>
              <a:gd name="T0" fmla="*/ 2069 w 2070"/>
              <a:gd name="T1" fmla="*/ 79 h 80"/>
              <a:gd name="T2" fmla="*/ 0 w 2070"/>
              <a:gd name="T3" fmla="*/ 79 h 80"/>
              <a:gd name="T4" fmla="*/ 0 w 2070"/>
              <a:gd name="T5" fmla="*/ 0 h 80"/>
              <a:gd name="T6" fmla="*/ 2069 w 2070"/>
              <a:gd name="T7" fmla="*/ 0 h 80"/>
              <a:gd name="T8" fmla="*/ 2069 w 2070"/>
              <a:gd name="T9" fmla="*/ 79 h 80"/>
            </a:gdLst>
            <a:ahLst/>
            <a:cxnLst>
              <a:cxn ang="0">
                <a:pos x="T0" y="T1"/>
              </a:cxn>
              <a:cxn ang="0">
                <a:pos x="T2" y="T3"/>
              </a:cxn>
              <a:cxn ang="0">
                <a:pos x="T4" y="T5"/>
              </a:cxn>
              <a:cxn ang="0">
                <a:pos x="T6" y="T7"/>
              </a:cxn>
              <a:cxn ang="0">
                <a:pos x="T8" y="T9"/>
              </a:cxn>
            </a:cxnLst>
            <a:rect l="0" t="0" r="r" b="b"/>
            <a:pathLst>
              <a:path w="2070" h="80">
                <a:moveTo>
                  <a:pt x="2069" y="79"/>
                </a:moveTo>
                <a:lnTo>
                  <a:pt x="0" y="79"/>
                </a:lnTo>
                <a:lnTo>
                  <a:pt x="0" y="0"/>
                </a:lnTo>
                <a:lnTo>
                  <a:pt x="2069" y="0"/>
                </a:lnTo>
                <a:lnTo>
                  <a:pt x="2069" y="79"/>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0" name="Freeform 30">
            <a:extLst>
              <a:ext uri="{FF2B5EF4-FFF2-40B4-BE49-F238E27FC236}">
                <a16:creationId xmlns:a16="http://schemas.microsoft.com/office/drawing/2014/main" id="{29656DBC-361F-52C0-F364-CA8541157FA0}"/>
              </a:ext>
            </a:extLst>
          </p:cNvPr>
          <p:cNvSpPr>
            <a:spLocks noChangeArrowheads="1"/>
          </p:cNvSpPr>
          <p:nvPr userDrawn="1"/>
        </p:nvSpPr>
        <p:spPr bwMode="auto">
          <a:xfrm>
            <a:off x="1592593" y="4836026"/>
            <a:ext cx="2071237" cy="448634"/>
          </a:xfrm>
          <a:prstGeom prst="roundRect">
            <a:avLst>
              <a:gd name="adj" fmla="val 50000"/>
            </a:avLst>
          </a:pr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1" name="Freeform 31">
            <a:extLst>
              <a:ext uri="{FF2B5EF4-FFF2-40B4-BE49-F238E27FC236}">
                <a16:creationId xmlns:a16="http://schemas.microsoft.com/office/drawing/2014/main" id="{EC02CAD3-DB34-14EE-0A0C-D59826A1A33E}"/>
              </a:ext>
            </a:extLst>
          </p:cNvPr>
          <p:cNvSpPr>
            <a:spLocks noChangeArrowheads="1"/>
          </p:cNvSpPr>
          <p:nvPr userDrawn="1"/>
        </p:nvSpPr>
        <p:spPr bwMode="auto">
          <a:xfrm>
            <a:off x="1125286" y="1301317"/>
            <a:ext cx="3008538" cy="145067"/>
          </a:xfrm>
          <a:custGeom>
            <a:avLst/>
            <a:gdLst>
              <a:gd name="T0" fmla="*/ 5362 w 5363"/>
              <a:gd name="T1" fmla="*/ 235 h 236"/>
              <a:gd name="T2" fmla="*/ 0 w 5363"/>
              <a:gd name="T3" fmla="*/ 235 h 236"/>
              <a:gd name="T4" fmla="*/ 0 w 5363"/>
              <a:gd name="T5" fmla="*/ 0 h 236"/>
              <a:gd name="T6" fmla="*/ 5362 w 5363"/>
              <a:gd name="T7" fmla="*/ 0 h 236"/>
              <a:gd name="T8" fmla="*/ 5362 w 5363"/>
              <a:gd name="T9" fmla="*/ 235 h 236"/>
            </a:gdLst>
            <a:ahLst/>
            <a:cxnLst>
              <a:cxn ang="0">
                <a:pos x="T0" y="T1"/>
              </a:cxn>
              <a:cxn ang="0">
                <a:pos x="T2" y="T3"/>
              </a:cxn>
              <a:cxn ang="0">
                <a:pos x="T4" y="T5"/>
              </a:cxn>
              <a:cxn ang="0">
                <a:pos x="T6" y="T7"/>
              </a:cxn>
              <a:cxn ang="0">
                <a:pos x="T8" y="T9"/>
              </a:cxn>
            </a:cxnLst>
            <a:rect l="0" t="0" r="r" b="b"/>
            <a:pathLst>
              <a:path w="5363" h="236">
                <a:moveTo>
                  <a:pt x="5362" y="235"/>
                </a:moveTo>
                <a:lnTo>
                  <a:pt x="0" y="235"/>
                </a:lnTo>
                <a:lnTo>
                  <a:pt x="0" y="0"/>
                </a:lnTo>
                <a:lnTo>
                  <a:pt x="5362" y="0"/>
                </a:lnTo>
                <a:lnTo>
                  <a:pt x="5362" y="235"/>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5" name="TextBox 14">
            <a:extLst>
              <a:ext uri="{FF2B5EF4-FFF2-40B4-BE49-F238E27FC236}">
                <a16:creationId xmlns:a16="http://schemas.microsoft.com/office/drawing/2014/main" id="{49095AA9-D1C5-0D49-F49A-ED95E27240F9}"/>
              </a:ext>
            </a:extLst>
          </p:cNvPr>
          <p:cNvSpPr txBox="1"/>
          <p:nvPr userDrawn="1"/>
        </p:nvSpPr>
        <p:spPr>
          <a:xfrm>
            <a:off x="2295353" y="2834797"/>
            <a:ext cx="668773" cy="246221"/>
          </a:xfrm>
          <a:prstGeom prst="rect">
            <a:avLst/>
          </a:prstGeom>
          <a:noFill/>
          <a:ln>
            <a:noFill/>
          </a:ln>
        </p:spPr>
        <p:txBody>
          <a:bodyPr wrap="none" rtlCol="0" anchor="ctr" anchorCtr="0">
            <a:spAutoFit/>
          </a:bodyPr>
          <a:lstStyle/>
          <a:p>
            <a:pPr algn="ctr"/>
            <a:r>
              <a:rPr lang="en-US" sz="1000">
                <a:solidFill>
                  <a:schemeClr val="tx2"/>
                </a:solidFill>
                <a:latin typeface="Montserrat" pitchFamily="2" charset="77"/>
                <a:ea typeface="Lato Light" panose="020F0502020204030203" pitchFamily="34" charset="0"/>
                <a:cs typeface="Lato Light" panose="020F0502020204030203" pitchFamily="34" charset="0"/>
              </a:rPr>
              <a:t>/month</a:t>
            </a:r>
          </a:p>
        </p:txBody>
      </p:sp>
      <p:sp>
        <p:nvSpPr>
          <p:cNvPr id="23" name="Freeform 22">
            <a:extLst>
              <a:ext uri="{FF2B5EF4-FFF2-40B4-BE49-F238E27FC236}">
                <a16:creationId xmlns:a16="http://schemas.microsoft.com/office/drawing/2014/main" id="{EEE0BF74-4F03-426F-9B7C-1D52B3D7D902}"/>
              </a:ext>
            </a:extLst>
          </p:cNvPr>
          <p:cNvSpPr>
            <a:spLocks noChangeArrowheads="1"/>
          </p:cNvSpPr>
          <p:nvPr userDrawn="1"/>
        </p:nvSpPr>
        <p:spPr bwMode="auto">
          <a:xfrm>
            <a:off x="4591731" y="1446384"/>
            <a:ext cx="3008538" cy="4831271"/>
          </a:xfrm>
          <a:custGeom>
            <a:avLst/>
            <a:gdLst>
              <a:gd name="T0" fmla="*/ 5362 w 5363"/>
              <a:gd name="T1" fmla="*/ 7784 h 7785"/>
              <a:gd name="T2" fmla="*/ 0 w 5363"/>
              <a:gd name="T3" fmla="*/ 7784 h 7785"/>
              <a:gd name="T4" fmla="*/ 0 w 5363"/>
              <a:gd name="T5" fmla="*/ 0 h 7785"/>
              <a:gd name="T6" fmla="*/ 5362 w 5363"/>
              <a:gd name="T7" fmla="*/ 0 h 7785"/>
              <a:gd name="T8" fmla="*/ 5362 w 5363"/>
              <a:gd name="T9" fmla="*/ 7784 h 7785"/>
            </a:gdLst>
            <a:ahLst/>
            <a:cxnLst>
              <a:cxn ang="0">
                <a:pos x="T0" y="T1"/>
              </a:cxn>
              <a:cxn ang="0">
                <a:pos x="T2" y="T3"/>
              </a:cxn>
              <a:cxn ang="0">
                <a:pos x="T4" y="T5"/>
              </a:cxn>
              <a:cxn ang="0">
                <a:pos x="T6" y="T7"/>
              </a:cxn>
              <a:cxn ang="0">
                <a:pos x="T8" y="T9"/>
              </a:cxn>
            </a:cxnLst>
            <a:rect l="0" t="0" r="r" b="b"/>
            <a:pathLst>
              <a:path w="5363" h="7785">
                <a:moveTo>
                  <a:pt x="5362" y="7784"/>
                </a:moveTo>
                <a:lnTo>
                  <a:pt x="0" y="7784"/>
                </a:lnTo>
                <a:lnTo>
                  <a:pt x="0" y="0"/>
                </a:lnTo>
                <a:lnTo>
                  <a:pt x="5362" y="0"/>
                </a:lnTo>
                <a:lnTo>
                  <a:pt x="5362" y="7784"/>
                </a:ln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24" name="Freeform 23">
            <a:extLst>
              <a:ext uri="{FF2B5EF4-FFF2-40B4-BE49-F238E27FC236}">
                <a16:creationId xmlns:a16="http://schemas.microsoft.com/office/drawing/2014/main" id="{9BBCDDE9-2CB9-21A6-864F-CCC406C85AB1}"/>
              </a:ext>
            </a:extLst>
          </p:cNvPr>
          <p:cNvSpPr>
            <a:spLocks noChangeArrowheads="1"/>
          </p:cNvSpPr>
          <p:nvPr userDrawn="1"/>
        </p:nvSpPr>
        <p:spPr bwMode="auto">
          <a:xfrm>
            <a:off x="4591731" y="4813549"/>
            <a:ext cx="3008538" cy="1464106"/>
          </a:xfrm>
          <a:custGeom>
            <a:avLst/>
            <a:gdLst>
              <a:gd name="T0" fmla="*/ 5363 w 5364"/>
              <a:gd name="T1" fmla="*/ 1085 h 2405"/>
              <a:gd name="T2" fmla="*/ 5363 w 5364"/>
              <a:gd name="T3" fmla="*/ 2404 h 2405"/>
              <a:gd name="T4" fmla="*/ 0 w 5364"/>
              <a:gd name="T5" fmla="*/ 2404 h 2405"/>
              <a:gd name="T6" fmla="*/ 0 w 5364"/>
              <a:gd name="T7" fmla="*/ 730 h 2405"/>
              <a:gd name="T8" fmla="*/ 0 w 5364"/>
              <a:gd name="T9" fmla="*/ 730 h 2405"/>
              <a:gd name="T10" fmla="*/ 2514 w 5364"/>
              <a:gd name="T11" fmla="*/ 535 h 2405"/>
              <a:gd name="T12" fmla="*/ 2514 w 5364"/>
              <a:gd name="T13" fmla="*/ 535 h 2405"/>
              <a:gd name="T14" fmla="*/ 5363 w 5364"/>
              <a:gd name="T15" fmla="*/ 1085 h 24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64" h="2405">
                <a:moveTo>
                  <a:pt x="5363" y="1085"/>
                </a:moveTo>
                <a:lnTo>
                  <a:pt x="5363" y="2404"/>
                </a:lnTo>
                <a:lnTo>
                  <a:pt x="0" y="2404"/>
                </a:lnTo>
                <a:lnTo>
                  <a:pt x="0" y="730"/>
                </a:lnTo>
                <a:lnTo>
                  <a:pt x="0" y="730"/>
                </a:lnTo>
                <a:cubicBezTo>
                  <a:pt x="711" y="902"/>
                  <a:pt x="1651" y="972"/>
                  <a:pt x="2514" y="535"/>
                </a:cubicBezTo>
                <a:lnTo>
                  <a:pt x="2514" y="535"/>
                </a:lnTo>
                <a:cubicBezTo>
                  <a:pt x="3567" y="0"/>
                  <a:pt x="4678" y="577"/>
                  <a:pt x="5363" y="1085"/>
                </a:cubicBezTo>
              </a:path>
            </a:pathLst>
          </a:custGeom>
          <a:solidFill>
            <a:schemeClr val="accent2">
              <a:alpha val="20000"/>
            </a:schemeClr>
          </a:solidFill>
          <a:ln>
            <a:noFill/>
          </a:ln>
          <a:effectLst/>
        </p:spPr>
        <p:txBody>
          <a:bodyPr wrap="none" anchor="ctr"/>
          <a:lstStyle/>
          <a:p>
            <a:endParaRPr lang="en-US" sz="3266"/>
          </a:p>
        </p:txBody>
      </p:sp>
      <p:sp>
        <p:nvSpPr>
          <p:cNvPr id="25" name="Freeform 24">
            <a:extLst>
              <a:ext uri="{FF2B5EF4-FFF2-40B4-BE49-F238E27FC236}">
                <a16:creationId xmlns:a16="http://schemas.microsoft.com/office/drawing/2014/main" id="{521F8C81-BD2C-999D-04ED-BF5C875D8149}"/>
              </a:ext>
            </a:extLst>
          </p:cNvPr>
          <p:cNvSpPr>
            <a:spLocks noChangeArrowheads="1"/>
          </p:cNvSpPr>
          <p:nvPr userDrawn="1"/>
        </p:nvSpPr>
        <p:spPr bwMode="auto">
          <a:xfrm>
            <a:off x="4591731" y="5114429"/>
            <a:ext cx="3008538" cy="1163225"/>
          </a:xfrm>
          <a:custGeom>
            <a:avLst/>
            <a:gdLst>
              <a:gd name="T0" fmla="*/ 5363 w 5364"/>
              <a:gd name="T1" fmla="*/ 415 h 1909"/>
              <a:gd name="T2" fmla="*/ 5363 w 5364"/>
              <a:gd name="T3" fmla="*/ 1908 h 1909"/>
              <a:gd name="T4" fmla="*/ 0 w 5364"/>
              <a:gd name="T5" fmla="*/ 1908 h 1909"/>
              <a:gd name="T6" fmla="*/ 0 w 5364"/>
              <a:gd name="T7" fmla="*/ 867 h 1909"/>
              <a:gd name="T8" fmla="*/ 0 w 5364"/>
              <a:gd name="T9" fmla="*/ 867 h 1909"/>
              <a:gd name="T10" fmla="*/ 2575 w 5364"/>
              <a:gd name="T11" fmla="*/ 439 h 1909"/>
              <a:gd name="T12" fmla="*/ 2575 w 5364"/>
              <a:gd name="T13" fmla="*/ 439 h 1909"/>
              <a:gd name="T14" fmla="*/ 5363 w 5364"/>
              <a:gd name="T15" fmla="*/ 415 h 19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64" h="1909">
                <a:moveTo>
                  <a:pt x="5363" y="415"/>
                </a:moveTo>
                <a:lnTo>
                  <a:pt x="5363" y="1908"/>
                </a:lnTo>
                <a:lnTo>
                  <a:pt x="0" y="1908"/>
                </a:lnTo>
                <a:lnTo>
                  <a:pt x="0" y="867"/>
                </a:lnTo>
                <a:lnTo>
                  <a:pt x="0" y="867"/>
                </a:lnTo>
                <a:cubicBezTo>
                  <a:pt x="759" y="636"/>
                  <a:pt x="1864" y="0"/>
                  <a:pt x="2575" y="439"/>
                </a:cubicBezTo>
                <a:lnTo>
                  <a:pt x="2575" y="439"/>
                </a:lnTo>
                <a:cubicBezTo>
                  <a:pt x="3474" y="994"/>
                  <a:pt x="4533" y="477"/>
                  <a:pt x="5363" y="415"/>
                </a:cubicBezTo>
              </a:path>
            </a:pathLst>
          </a:custGeom>
          <a:solidFill>
            <a:schemeClr val="accent2">
              <a:alpha val="40000"/>
            </a:schemeClr>
          </a:solidFill>
          <a:ln>
            <a:noFill/>
          </a:ln>
          <a:effectLst/>
        </p:spPr>
        <p:txBody>
          <a:bodyPr wrap="none" anchor="ctr"/>
          <a:lstStyle/>
          <a:p>
            <a:endParaRPr lang="en-US" sz="3266"/>
          </a:p>
        </p:txBody>
      </p:sp>
      <p:sp>
        <p:nvSpPr>
          <p:cNvPr id="26" name="Freeform 25">
            <a:extLst>
              <a:ext uri="{FF2B5EF4-FFF2-40B4-BE49-F238E27FC236}">
                <a16:creationId xmlns:a16="http://schemas.microsoft.com/office/drawing/2014/main" id="{608DFD8A-3C68-6B25-283A-B3D8E24AA5C6}"/>
              </a:ext>
            </a:extLst>
          </p:cNvPr>
          <p:cNvSpPr>
            <a:spLocks noChangeArrowheads="1"/>
          </p:cNvSpPr>
          <p:nvPr userDrawn="1"/>
        </p:nvSpPr>
        <p:spPr bwMode="auto">
          <a:xfrm>
            <a:off x="4591731" y="5587242"/>
            <a:ext cx="3008538" cy="693099"/>
          </a:xfrm>
          <a:custGeom>
            <a:avLst/>
            <a:gdLst>
              <a:gd name="T0" fmla="*/ 5363 w 5364"/>
              <a:gd name="T1" fmla="*/ 130 h 1136"/>
              <a:gd name="T2" fmla="*/ 5363 w 5364"/>
              <a:gd name="T3" fmla="*/ 1135 h 1136"/>
              <a:gd name="T4" fmla="*/ 0 w 5364"/>
              <a:gd name="T5" fmla="*/ 1135 h 1136"/>
              <a:gd name="T6" fmla="*/ 0 w 5364"/>
              <a:gd name="T7" fmla="*/ 380 h 1136"/>
              <a:gd name="T8" fmla="*/ 0 w 5364"/>
              <a:gd name="T9" fmla="*/ 380 h 1136"/>
              <a:gd name="T10" fmla="*/ 1745 w 5364"/>
              <a:gd name="T11" fmla="*/ 692 h 1136"/>
              <a:gd name="T12" fmla="*/ 1745 w 5364"/>
              <a:gd name="T13" fmla="*/ 692 h 1136"/>
              <a:gd name="T14" fmla="*/ 2005 w 5364"/>
              <a:gd name="T15" fmla="*/ 660 h 1136"/>
              <a:gd name="T16" fmla="*/ 2005 w 5364"/>
              <a:gd name="T17" fmla="*/ 660 h 1136"/>
              <a:gd name="T18" fmla="*/ 2558 w 5364"/>
              <a:gd name="T19" fmla="*/ 527 h 1136"/>
              <a:gd name="T20" fmla="*/ 2558 w 5364"/>
              <a:gd name="T21" fmla="*/ 527 h 1136"/>
              <a:gd name="T22" fmla="*/ 2764 w 5364"/>
              <a:gd name="T23" fmla="*/ 462 h 1136"/>
              <a:gd name="T24" fmla="*/ 2764 w 5364"/>
              <a:gd name="T25" fmla="*/ 462 h 1136"/>
              <a:gd name="T26" fmla="*/ 4215 w 5364"/>
              <a:gd name="T27" fmla="*/ 32 h 1136"/>
              <a:gd name="T28" fmla="*/ 4215 w 5364"/>
              <a:gd name="T29" fmla="*/ 32 h 1136"/>
              <a:gd name="T30" fmla="*/ 4611 w 5364"/>
              <a:gd name="T31" fmla="*/ 1 h 1136"/>
              <a:gd name="T32" fmla="*/ 4611 w 5364"/>
              <a:gd name="T33" fmla="*/ 1 h 1136"/>
              <a:gd name="T34" fmla="*/ 5363 w 5364"/>
              <a:gd name="T35" fmla="*/ 13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64" h="1136">
                <a:moveTo>
                  <a:pt x="5363" y="130"/>
                </a:moveTo>
                <a:lnTo>
                  <a:pt x="5363" y="1135"/>
                </a:lnTo>
                <a:lnTo>
                  <a:pt x="0" y="1135"/>
                </a:lnTo>
                <a:lnTo>
                  <a:pt x="0" y="380"/>
                </a:lnTo>
                <a:lnTo>
                  <a:pt x="0" y="380"/>
                </a:lnTo>
                <a:cubicBezTo>
                  <a:pt x="542" y="632"/>
                  <a:pt x="1149" y="742"/>
                  <a:pt x="1745" y="692"/>
                </a:cubicBezTo>
                <a:lnTo>
                  <a:pt x="1745" y="692"/>
                </a:lnTo>
                <a:cubicBezTo>
                  <a:pt x="1832" y="685"/>
                  <a:pt x="1919" y="674"/>
                  <a:pt x="2005" y="660"/>
                </a:cubicBezTo>
                <a:lnTo>
                  <a:pt x="2005" y="660"/>
                </a:lnTo>
                <a:cubicBezTo>
                  <a:pt x="2193" y="628"/>
                  <a:pt x="2376" y="581"/>
                  <a:pt x="2558" y="527"/>
                </a:cubicBezTo>
                <a:lnTo>
                  <a:pt x="2558" y="527"/>
                </a:lnTo>
                <a:cubicBezTo>
                  <a:pt x="2627" y="506"/>
                  <a:pt x="2695" y="485"/>
                  <a:pt x="2764" y="462"/>
                </a:cubicBezTo>
                <a:lnTo>
                  <a:pt x="2764" y="462"/>
                </a:lnTo>
                <a:cubicBezTo>
                  <a:pt x="3244" y="305"/>
                  <a:pt x="3717" y="113"/>
                  <a:pt x="4215" y="32"/>
                </a:cubicBezTo>
                <a:lnTo>
                  <a:pt x="4215" y="32"/>
                </a:lnTo>
                <a:cubicBezTo>
                  <a:pt x="4344" y="10"/>
                  <a:pt x="4477" y="0"/>
                  <a:pt x="4611" y="1"/>
                </a:cubicBezTo>
                <a:lnTo>
                  <a:pt x="4611" y="1"/>
                </a:lnTo>
                <a:cubicBezTo>
                  <a:pt x="4869" y="1"/>
                  <a:pt x="5128" y="43"/>
                  <a:pt x="5363" y="130"/>
                </a:cubicBezTo>
              </a:path>
            </a:pathLst>
          </a:custGeom>
          <a:solidFill>
            <a:schemeClr val="accent2"/>
          </a:solidFill>
          <a:ln>
            <a:noFill/>
          </a:ln>
          <a:effectLst/>
        </p:spPr>
        <p:txBody>
          <a:bodyPr wrap="none" anchor="ctr"/>
          <a:lstStyle/>
          <a:p>
            <a:endParaRPr lang="en-US" sz="3266"/>
          </a:p>
        </p:txBody>
      </p:sp>
      <p:sp>
        <p:nvSpPr>
          <p:cNvPr id="27" name="Freeform 26">
            <a:extLst>
              <a:ext uri="{FF2B5EF4-FFF2-40B4-BE49-F238E27FC236}">
                <a16:creationId xmlns:a16="http://schemas.microsoft.com/office/drawing/2014/main" id="{4EFDBF61-596A-E504-7E75-99C13C1B7029}"/>
              </a:ext>
            </a:extLst>
          </p:cNvPr>
          <p:cNvSpPr>
            <a:spLocks noChangeArrowheads="1"/>
          </p:cNvSpPr>
          <p:nvPr userDrawn="1"/>
        </p:nvSpPr>
        <p:spPr bwMode="auto">
          <a:xfrm>
            <a:off x="5464688" y="2127363"/>
            <a:ext cx="1259937" cy="48356"/>
          </a:xfrm>
          <a:custGeom>
            <a:avLst/>
            <a:gdLst>
              <a:gd name="T0" fmla="*/ 2069 w 2070"/>
              <a:gd name="T1" fmla="*/ 79 h 80"/>
              <a:gd name="T2" fmla="*/ 0 w 2070"/>
              <a:gd name="T3" fmla="*/ 79 h 80"/>
              <a:gd name="T4" fmla="*/ 0 w 2070"/>
              <a:gd name="T5" fmla="*/ 0 h 80"/>
              <a:gd name="T6" fmla="*/ 2069 w 2070"/>
              <a:gd name="T7" fmla="*/ 0 h 80"/>
              <a:gd name="T8" fmla="*/ 2069 w 2070"/>
              <a:gd name="T9" fmla="*/ 79 h 80"/>
            </a:gdLst>
            <a:ahLst/>
            <a:cxnLst>
              <a:cxn ang="0">
                <a:pos x="T0" y="T1"/>
              </a:cxn>
              <a:cxn ang="0">
                <a:pos x="T2" y="T3"/>
              </a:cxn>
              <a:cxn ang="0">
                <a:pos x="T4" y="T5"/>
              </a:cxn>
              <a:cxn ang="0">
                <a:pos x="T6" y="T7"/>
              </a:cxn>
              <a:cxn ang="0">
                <a:pos x="T8" y="T9"/>
              </a:cxn>
            </a:cxnLst>
            <a:rect l="0" t="0" r="r" b="b"/>
            <a:pathLst>
              <a:path w="2070" h="80">
                <a:moveTo>
                  <a:pt x="2069" y="79"/>
                </a:moveTo>
                <a:lnTo>
                  <a:pt x="0" y="79"/>
                </a:lnTo>
                <a:lnTo>
                  <a:pt x="0" y="0"/>
                </a:lnTo>
                <a:lnTo>
                  <a:pt x="2069" y="0"/>
                </a:lnTo>
                <a:lnTo>
                  <a:pt x="2069" y="79"/>
                </a:lnTo>
              </a:path>
            </a:pathLst>
          </a:custGeom>
          <a:solidFill>
            <a:schemeClr val="accent2"/>
          </a:solidFill>
          <a:ln>
            <a:noFill/>
          </a:ln>
          <a:effectLst/>
        </p:spPr>
        <p:txBody>
          <a:bodyPr wrap="none" anchor="ctr"/>
          <a:lstStyle/>
          <a:p>
            <a:endParaRPr lang="en-US" sz="3266"/>
          </a:p>
        </p:txBody>
      </p:sp>
      <p:sp>
        <p:nvSpPr>
          <p:cNvPr id="28" name="Freeform 30">
            <a:extLst>
              <a:ext uri="{FF2B5EF4-FFF2-40B4-BE49-F238E27FC236}">
                <a16:creationId xmlns:a16="http://schemas.microsoft.com/office/drawing/2014/main" id="{FA039836-ED09-7C6D-4B86-CB69DDC210B2}"/>
              </a:ext>
            </a:extLst>
          </p:cNvPr>
          <p:cNvSpPr>
            <a:spLocks noChangeArrowheads="1"/>
          </p:cNvSpPr>
          <p:nvPr userDrawn="1"/>
        </p:nvSpPr>
        <p:spPr bwMode="auto">
          <a:xfrm>
            <a:off x="5059039" y="4836026"/>
            <a:ext cx="2071237" cy="448634"/>
          </a:xfrm>
          <a:prstGeom prst="roundRect">
            <a:avLst>
              <a:gd name="adj" fmla="val 50000"/>
            </a:avLst>
          </a:prstGeom>
          <a:solidFill>
            <a:schemeClr val="accent2"/>
          </a:solidFill>
          <a:ln>
            <a:noFill/>
          </a:ln>
          <a:effectLst/>
        </p:spPr>
        <p:txBody>
          <a:bodyPr wrap="none" anchor="ctr"/>
          <a:lstStyle/>
          <a:p>
            <a:endParaRPr lang="en-US" sz="3266"/>
          </a:p>
        </p:txBody>
      </p:sp>
      <p:sp>
        <p:nvSpPr>
          <p:cNvPr id="29" name="Freeform 28">
            <a:extLst>
              <a:ext uri="{FF2B5EF4-FFF2-40B4-BE49-F238E27FC236}">
                <a16:creationId xmlns:a16="http://schemas.microsoft.com/office/drawing/2014/main" id="{7D54BB3D-708A-E284-5A86-4CC6CC4C2063}"/>
              </a:ext>
            </a:extLst>
          </p:cNvPr>
          <p:cNvSpPr>
            <a:spLocks noChangeArrowheads="1"/>
          </p:cNvSpPr>
          <p:nvPr userDrawn="1"/>
        </p:nvSpPr>
        <p:spPr bwMode="auto">
          <a:xfrm>
            <a:off x="4591731" y="1301317"/>
            <a:ext cx="3008538" cy="145067"/>
          </a:xfrm>
          <a:custGeom>
            <a:avLst/>
            <a:gdLst>
              <a:gd name="T0" fmla="*/ 5362 w 5363"/>
              <a:gd name="T1" fmla="*/ 235 h 236"/>
              <a:gd name="T2" fmla="*/ 0 w 5363"/>
              <a:gd name="T3" fmla="*/ 235 h 236"/>
              <a:gd name="T4" fmla="*/ 0 w 5363"/>
              <a:gd name="T5" fmla="*/ 0 h 236"/>
              <a:gd name="T6" fmla="*/ 5362 w 5363"/>
              <a:gd name="T7" fmla="*/ 0 h 236"/>
              <a:gd name="T8" fmla="*/ 5362 w 5363"/>
              <a:gd name="T9" fmla="*/ 235 h 236"/>
            </a:gdLst>
            <a:ahLst/>
            <a:cxnLst>
              <a:cxn ang="0">
                <a:pos x="T0" y="T1"/>
              </a:cxn>
              <a:cxn ang="0">
                <a:pos x="T2" y="T3"/>
              </a:cxn>
              <a:cxn ang="0">
                <a:pos x="T4" y="T5"/>
              </a:cxn>
              <a:cxn ang="0">
                <a:pos x="T6" y="T7"/>
              </a:cxn>
              <a:cxn ang="0">
                <a:pos x="T8" y="T9"/>
              </a:cxn>
            </a:cxnLst>
            <a:rect l="0" t="0" r="r" b="b"/>
            <a:pathLst>
              <a:path w="5363" h="236">
                <a:moveTo>
                  <a:pt x="5362" y="235"/>
                </a:moveTo>
                <a:lnTo>
                  <a:pt x="0" y="235"/>
                </a:lnTo>
                <a:lnTo>
                  <a:pt x="0" y="0"/>
                </a:lnTo>
                <a:lnTo>
                  <a:pt x="5362" y="0"/>
                </a:lnTo>
                <a:lnTo>
                  <a:pt x="5362" y="235"/>
                </a:lnTo>
              </a:path>
            </a:pathLst>
          </a:custGeom>
          <a:solidFill>
            <a:schemeClr val="accent2"/>
          </a:solidFill>
          <a:ln>
            <a:noFill/>
          </a:ln>
          <a:effectLst/>
        </p:spPr>
        <p:txBody>
          <a:bodyPr wrap="none" anchor="ctr"/>
          <a:lstStyle/>
          <a:p>
            <a:endParaRPr lang="en-US" sz="3266"/>
          </a:p>
        </p:txBody>
      </p:sp>
      <p:sp>
        <p:nvSpPr>
          <p:cNvPr id="42" name="Freeform 22">
            <a:extLst>
              <a:ext uri="{FF2B5EF4-FFF2-40B4-BE49-F238E27FC236}">
                <a16:creationId xmlns:a16="http://schemas.microsoft.com/office/drawing/2014/main" id="{B887D914-75D8-D342-AD53-B1F433BA55CF}"/>
              </a:ext>
            </a:extLst>
          </p:cNvPr>
          <p:cNvSpPr>
            <a:spLocks noChangeArrowheads="1"/>
          </p:cNvSpPr>
          <p:nvPr userDrawn="1"/>
        </p:nvSpPr>
        <p:spPr bwMode="auto">
          <a:xfrm>
            <a:off x="8058177" y="1446384"/>
            <a:ext cx="3008538" cy="4831271"/>
          </a:xfrm>
          <a:custGeom>
            <a:avLst/>
            <a:gdLst>
              <a:gd name="T0" fmla="*/ 5362 w 5363"/>
              <a:gd name="T1" fmla="*/ 7784 h 7785"/>
              <a:gd name="T2" fmla="*/ 0 w 5363"/>
              <a:gd name="T3" fmla="*/ 7784 h 7785"/>
              <a:gd name="T4" fmla="*/ 0 w 5363"/>
              <a:gd name="T5" fmla="*/ 0 h 7785"/>
              <a:gd name="T6" fmla="*/ 5362 w 5363"/>
              <a:gd name="T7" fmla="*/ 0 h 7785"/>
              <a:gd name="T8" fmla="*/ 5362 w 5363"/>
              <a:gd name="T9" fmla="*/ 7784 h 7785"/>
            </a:gdLst>
            <a:ahLst/>
            <a:cxnLst>
              <a:cxn ang="0">
                <a:pos x="T0" y="T1"/>
              </a:cxn>
              <a:cxn ang="0">
                <a:pos x="T2" y="T3"/>
              </a:cxn>
              <a:cxn ang="0">
                <a:pos x="T4" y="T5"/>
              </a:cxn>
              <a:cxn ang="0">
                <a:pos x="T6" y="T7"/>
              </a:cxn>
              <a:cxn ang="0">
                <a:pos x="T8" y="T9"/>
              </a:cxn>
            </a:cxnLst>
            <a:rect l="0" t="0" r="r" b="b"/>
            <a:pathLst>
              <a:path w="5363" h="7785">
                <a:moveTo>
                  <a:pt x="5362" y="7784"/>
                </a:moveTo>
                <a:lnTo>
                  <a:pt x="0" y="7784"/>
                </a:lnTo>
                <a:lnTo>
                  <a:pt x="0" y="0"/>
                </a:lnTo>
                <a:lnTo>
                  <a:pt x="5362" y="0"/>
                </a:lnTo>
                <a:lnTo>
                  <a:pt x="5362" y="7784"/>
                </a:ln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43" name="Freeform 23">
            <a:extLst>
              <a:ext uri="{FF2B5EF4-FFF2-40B4-BE49-F238E27FC236}">
                <a16:creationId xmlns:a16="http://schemas.microsoft.com/office/drawing/2014/main" id="{F751B6F2-8952-C54F-7A11-B688CF640508}"/>
              </a:ext>
            </a:extLst>
          </p:cNvPr>
          <p:cNvSpPr>
            <a:spLocks noChangeArrowheads="1"/>
          </p:cNvSpPr>
          <p:nvPr userDrawn="1"/>
        </p:nvSpPr>
        <p:spPr bwMode="auto">
          <a:xfrm>
            <a:off x="8058177" y="4813549"/>
            <a:ext cx="3008538" cy="1464106"/>
          </a:xfrm>
          <a:custGeom>
            <a:avLst/>
            <a:gdLst>
              <a:gd name="T0" fmla="*/ 5363 w 5364"/>
              <a:gd name="T1" fmla="*/ 1085 h 2405"/>
              <a:gd name="T2" fmla="*/ 5363 w 5364"/>
              <a:gd name="T3" fmla="*/ 2404 h 2405"/>
              <a:gd name="T4" fmla="*/ 0 w 5364"/>
              <a:gd name="T5" fmla="*/ 2404 h 2405"/>
              <a:gd name="T6" fmla="*/ 0 w 5364"/>
              <a:gd name="T7" fmla="*/ 730 h 2405"/>
              <a:gd name="T8" fmla="*/ 0 w 5364"/>
              <a:gd name="T9" fmla="*/ 730 h 2405"/>
              <a:gd name="T10" fmla="*/ 2514 w 5364"/>
              <a:gd name="T11" fmla="*/ 535 h 2405"/>
              <a:gd name="T12" fmla="*/ 2514 w 5364"/>
              <a:gd name="T13" fmla="*/ 535 h 2405"/>
              <a:gd name="T14" fmla="*/ 5363 w 5364"/>
              <a:gd name="T15" fmla="*/ 1085 h 24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64" h="2405">
                <a:moveTo>
                  <a:pt x="5363" y="1085"/>
                </a:moveTo>
                <a:lnTo>
                  <a:pt x="5363" y="2404"/>
                </a:lnTo>
                <a:lnTo>
                  <a:pt x="0" y="2404"/>
                </a:lnTo>
                <a:lnTo>
                  <a:pt x="0" y="730"/>
                </a:lnTo>
                <a:lnTo>
                  <a:pt x="0" y="730"/>
                </a:lnTo>
                <a:cubicBezTo>
                  <a:pt x="711" y="902"/>
                  <a:pt x="1651" y="972"/>
                  <a:pt x="2514" y="535"/>
                </a:cubicBezTo>
                <a:lnTo>
                  <a:pt x="2514" y="535"/>
                </a:lnTo>
                <a:cubicBezTo>
                  <a:pt x="3567" y="0"/>
                  <a:pt x="4678" y="577"/>
                  <a:pt x="5363" y="1085"/>
                </a:cubicBezTo>
              </a:path>
            </a:pathLst>
          </a:custGeom>
          <a:solidFill>
            <a:schemeClr val="accent3">
              <a:alpha val="20000"/>
            </a:schemeClr>
          </a:solidFill>
          <a:ln>
            <a:noFill/>
          </a:ln>
          <a:effectLst/>
        </p:spPr>
        <p:txBody>
          <a:bodyPr wrap="none" anchor="ctr"/>
          <a:lstStyle/>
          <a:p>
            <a:endParaRPr lang="en-US" sz="3266"/>
          </a:p>
        </p:txBody>
      </p:sp>
      <p:sp>
        <p:nvSpPr>
          <p:cNvPr id="44" name="Freeform 24">
            <a:extLst>
              <a:ext uri="{FF2B5EF4-FFF2-40B4-BE49-F238E27FC236}">
                <a16:creationId xmlns:a16="http://schemas.microsoft.com/office/drawing/2014/main" id="{3134FD20-F246-BABD-74DB-A54B5272BE4A}"/>
              </a:ext>
            </a:extLst>
          </p:cNvPr>
          <p:cNvSpPr>
            <a:spLocks noChangeArrowheads="1"/>
          </p:cNvSpPr>
          <p:nvPr userDrawn="1"/>
        </p:nvSpPr>
        <p:spPr bwMode="auto">
          <a:xfrm>
            <a:off x="8058177" y="5114429"/>
            <a:ext cx="3008538" cy="1163225"/>
          </a:xfrm>
          <a:custGeom>
            <a:avLst/>
            <a:gdLst>
              <a:gd name="T0" fmla="*/ 5363 w 5364"/>
              <a:gd name="T1" fmla="*/ 415 h 1909"/>
              <a:gd name="T2" fmla="*/ 5363 w 5364"/>
              <a:gd name="T3" fmla="*/ 1908 h 1909"/>
              <a:gd name="T4" fmla="*/ 0 w 5364"/>
              <a:gd name="T5" fmla="*/ 1908 h 1909"/>
              <a:gd name="T6" fmla="*/ 0 w 5364"/>
              <a:gd name="T7" fmla="*/ 867 h 1909"/>
              <a:gd name="T8" fmla="*/ 0 w 5364"/>
              <a:gd name="T9" fmla="*/ 867 h 1909"/>
              <a:gd name="T10" fmla="*/ 2575 w 5364"/>
              <a:gd name="T11" fmla="*/ 439 h 1909"/>
              <a:gd name="T12" fmla="*/ 2575 w 5364"/>
              <a:gd name="T13" fmla="*/ 439 h 1909"/>
              <a:gd name="T14" fmla="*/ 5363 w 5364"/>
              <a:gd name="T15" fmla="*/ 415 h 19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64" h="1909">
                <a:moveTo>
                  <a:pt x="5363" y="415"/>
                </a:moveTo>
                <a:lnTo>
                  <a:pt x="5363" y="1908"/>
                </a:lnTo>
                <a:lnTo>
                  <a:pt x="0" y="1908"/>
                </a:lnTo>
                <a:lnTo>
                  <a:pt x="0" y="867"/>
                </a:lnTo>
                <a:lnTo>
                  <a:pt x="0" y="867"/>
                </a:lnTo>
                <a:cubicBezTo>
                  <a:pt x="759" y="636"/>
                  <a:pt x="1864" y="0"/>
                  <a:pt x="2575" y="439"/>
                </a:cubicBezTo>
                <a:lnTo>
                  <a:pt x="2575" y="439"/>
                </a:lnTo>
                <a:cubicBezTo>
                  <a:pt x="3474" y="994"/>
                  <a:pt x="4533" y="477"/>
                  <a:pt x="5363" y="415"/>
                </a:cubicBezTo>
              </a:path>
            </a:pathLst>
          </a:custGeom>
          <a:solidFill>
            <a:schemeClr val="accent3">
              <a:alpha val="40000"/>
            </a:schemeClr>
          </a:solidFill>
          <a:ln>
            <a:noFill/>
          </a:ln>
          <a:effectLst/>
        </p:spPr>
        <p:txBody>
          <a:bodyPr wrap="none" anchor="ctr"/>
          <a:lstStyle/>
          <a:p>
            <a:endParaRPr lang="en-US" sz="3266"/>
          </a:p>
        </p:txBody>
      </p:sp>
      <p:sp>
        <p:nvSpPr>
          <p:cNvPr id="45" name="Freeform 25">
            <a:extLst>
              <a:ext uri="{FF2B5EF4-FFF2-40B4-BE49-F238E27FC236}">
                <a16:creationId xmlns:a16="http://schemas.microsoft.com/office/drawing/2014/main" id="{5F971AD0-1203-F1E0-1A98-6F94C91CEB50}"/>
              </a:ext>
            </a:extLst>
          </p:cNvPr>
          <p:cNvSpPr>
            <a:spLocks noChangeArrowheads="1"/>
          </p:cNvSpPr>
          <p:nvPr userDrawn="1"/>
        </p:nvSpPr>
        <p:spPr bwMode="auto">
          <a:xfrm>
            <a:off x="8058177" y="5587242"/>
            <a:ext cx="3008538" cy="693099"/>
          </a:xfrm>
          <a:custGeom>
            <a:avLst/>
            <a:gdLst>
              <a:gd name="T0" fmla="*/ 5363 w 5364"/>
              <a:gd name="T1" fmla="*/ 130 h 1136"/>
              <a:gd name="T2" fmla="*/ 5363 w 5364"/>
              <a:gd name="T3" fmla="*/ 1135 h 1136"/>
              <a:gd name="T4" fmla="*/ 0 w 5364"/>
              <a:gd name="T5" fmla="*/ 1135 h 1136"/>
              <a:gd name="T6" fmla="*/ 0 w 5364"/>
              <a:gd name="T7" fmla="*/ 380 h 1136"/>
              <a:gd name="T8" fmla="*/ 0 w 5364"/>
              <a:gd name="T9" fmla="*/ 380 h 1136"/>
              <a:gd name="T10" fmla="*/ 1745 w 5364"/>
              <a:gd name="T11" fmla="*/ 692 h 1136"/>
              <a:gd name="T12" fmla="*/ 1745 w 5364"/>
              <a:gd name="T13" fmla="*/ 692 h 1136"/>
              <a:gd name="T14" fmla="*/ 2005 w 5364"/>
              <a:gd name="T15" fmla="*/ 660 h 1136"/>
              <a:gd name="T16" fmla="*/ 2005 w 5364"/>
              <a:gd name="T17" fmla="*/ 660 h 1136"/>
              <a:gd name="T18" fmla="*/ 2558 w 5364"/>
              <a:gd name="T19" fmla="*/ 527 h 1136"/>
              <a:gd name="T20" fmla="*/ 2558 w 5364"/>
              <a:gd name="T21" fmla="*/ 527 h 1136"/>
              <a:gd name="T22" fmla="*/ 2764 w 5364"/>
              <a:gd name="T23" fmla="*/ 462 h 1136"/>
              <a:gd name="T24" fmla="*/ 2764 w 5364"/>
              <a:gd name="T25" fmla="*/ 462 h 1136"/>
              <a:gd name="T26" fmla="*/ 4215 w 5364"/>
              <a:gd name="T27" fmla="*/ 32 h 1136"/>
              <a:gd name="T28" fmla="*/ 4215 w 5364"/>
              <a:gd name="T29" fmla="*/ 32 h 1136"/>
              <a:gd name="T30" fmla="*/ 4611 w 5364"/>
              <a:gd name="T31" fmla="*/ 1 h 1136"/>
              <a:gd name="T32" fmla="*/ 4611 w 5364"/>
              <a:gd name="T33" fmla="*/ 1 h 1136"/>
              <a:gd name="T34" fmla="*/ 5363 w 5364"/>
              <a:gd name="T35" fmla="*/ 13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64" h="1136">
                <a:moveTo>
                  <a:pt x="5363" y="130"/>
                </a:moveTo>
                <a:lnTo>
                  <a:pt x="5363" y="1135"/>
                </a:lnTo>
                <a:lnTo>
                  <a:pt x="0" y="1135"/>
                </a:lnTo>
                <a:lnTo>
                  <a:pt x="0" y="380"/>
                </a:lnTo>
                <a:lnTo>
                  <a:pt x="0" y="380"/>
                </a:lnTo>
                <a:cubicBezTo>
                  <a:pt x="542" y="632"/>
                  <a:pt x="1149" y="742"/>
                  <a:pt x="1745" y="692"/>
                </a:cubicBezTo>
                <a:lnTo>
                  <a:pt x="1745" y="692"/>
                </a:lnTo>
                <a:cubicBezTo>
                  <a:pt x="1832" y="685"/>
                  <a:pt x="1919" y="674"/>
                  <a:pt x="2005" y="660"/>
                </a:cubicBezTo>
                <a:lnTo>
                  <a:pt x="2005" y="660"/>
                </a:lnTo>
                <a:cubicBezTo>
                  <a:pt x="2193" y="628"/>
                  <a:pt x="2376" y="581"/>
                  <a:pt x="2558" y="527"/>
                </a:cubicBezTo>
                <a:lnTo>
                  <a:pt x="2558" y="527"/>
                </a:lnTo>
                <a:cubicBezTo>
                  <a:pt x="2627" y="506"/>
                  <a:pt x="2695" y="485"/>
                  <a:pt x="2764" y="462"/>
                </a:cubicBezTo>
                <a:lnTo>
                  <a:pt x="2764" y="462"/>
                </a:lnTo>
                <a:cubicBezTo>
                  <a:pt x="3244" y="305"/>
                  <a:pt x="3717" y="113"/>
                  <a:pt x="4215" y="32"/>
                </a:cubicBezTo>
                <a:lnTo>
                  <a:pt x="4215" y="32"/>
                </a:lnTo>
                <a:cubicBezTo>
                  <a:pt x="4344" y="10"/>
                  <a:pt x="4477" y="0"/>
                  <a:pt x="4611" y="1"/>
                </a:cubicBezTo>
                <a:lnTo>
                  <a:pt x="4611" y="1"/>
                </a:lnTo>
                <a:cubicBezTo>
                  <a:pt x="4869" y="1"/>
                  <a:pt x="5128" y="43"/>
                  <a:pt x="5363" y="130"/>
                </a:cubicBezTo>
              </a:path>
            </a:pathLst>
          </a:custGeom>
          <a:solidFill>
            <a:schemeClr val="accent3"/>
          </a:solidFill>
          <a:ln>
            <a:noFill/>
          </a:ln>
          <a:effectLst/>
        </p:spPr>
        <p:txBody>
          <a:bodyPr wrap="none" anchor="ctr"/>
          <a:lstStyle/>
          <a:p>
            <a:endParaRPr lang="en-US" sz="3266"/>
          </a:p>
        </p:txBody>
      </p:sp>
      <p:sp>
        <p:nvSpPr>
          <p:cNvPr id="46" name="Freeform 26">
            <a:extLst>
              <a:ext uri="{FF2B5EF4-FFF2-40B4-BE49-F238E27FC236}">
                <a16:creationId xmlns:a16="http://schemas.microsoft.com/office/drawing/2014/main" id="{B1279BB0-2776-CB49-143E-6AA1C2331F05}"/>
              </a:ext>
            </a:extLst>
          </p:cNvPr>
          <p:cNvSpPr>
            <a:spLocks noChangeArrowheads="1"/>
          </p:cNvSpPr>
          <p:nvPr userDrawn="1"/>
        </p:nvSpPr>
        <p:spPr bwMode="auto">
          <a:xfrm>
            <a:off x="8931134" y="2127363"/>
            <a:ext cx="1259937" cy="48356"/>
          </a:xfrm>
          <a:custGeom>
            <a:avLst/>
            <a:gdLst>
              <a:gd name="T0" fmla="*/ 2069 w 2070"/>
              <a:gd name="T1" fmla="*/ 79 h 80"/>
              <a:gd name="T2" fmla="*/ 0 w 2070"/>
              <a:gd name="T3" fmla="*/ 79 h 80"/>
              <a:gd name="T4" fmla="*/ 0 w 2070"/>
              <a:gd name="T5" fmla="*/ 0 h 80"/>
              <a:gd name="T6" fmla="*/ 2069 w 2070"/>
              <a:gd name="T7" fmla="*/ 0 h 80"/>
              <a:gd name="T8" fmla="*/ 2069 w 2070"/>
              <a:gd name="T9" fmla="*/ 79 h 80"/>
            </a:gdLst>
            <a:ahLst/>
            <a:cxnLst>
              <a:cxn ang="0">
                <a:pos x="T0" y="T1"/>
              </a:cxn>
              <a:cxn ang="0">
                <a:pos x="T2" y="T3"/>
              </a:cxn>
              <a:cxn ang="0">
                <a:pos x="T4" y="T5"/>
              </a:cxn>
              <a:cxn ang="0">
                <a:pos x="T6" y="T7"/>
              </a:cxn>
              <a:cxn ang="0">
                <a:pos x="T8" y="T9"/>
              </a:cxn>
            </a:cxnLst>
            <a:rect l="0" t="0" r="r" b="b"/>
            <a:pathLst>
              <a:path w="2070" h="80">
                <a:moveTo>
                  <a:pt x="2069" y="79"/>
                </a:moveTo>
                <a:lnTo>
                  <a:pt x="0" y="79"/>
                </a:lnTo>
                <a:lnTo>
                  <a:pt x="0" y="0"/>
                </a:lnTo>
                <a:lnTo>
                  <a:pt x="2069" y="0"/>
                </a:lnTo>
                <a:lnTo>
                  <a:pt x="2069" y="79"/>
                </a:lnTo>
              </a:path>
            </a:pathLst>
          </a:custGeom>
          <a:solidFill>
            <a:schemeClr val="accent3"/>
          </a:solidFill>
          <a:ln>
            <a:noFill/>
          </a:ln>
          <a:effectLst/>
        </p:spPr>
        <p:txBody>
          <a:bodyPr wrap="none" anchor="ctr"/>
          <a:lstStyle/>
          <a:p>
            <a:endParaRPr lang="en-US" sz="3266"/>
          </a:p>
        </p:txBody>
      </p:sp>
      <p:sp>
        <p:nvSpPr>
          <p:cNvPr id="47" name="Freeform 30">
            <a:extLst>
              <a:ext uri="{FF2B5EF4-FFF2-40B4-BE49-F238E27FC236}">
                <a16:creationId xmlns:a16="http://schemas.microsoft.com/office/drawing/2014/main" id="{C05B1EC1-F852-0C42-6154-FCBDAD8314AD}"/>
              </a:ext>
            </a:extLst>
          </p:cNvPr>
          <p:cNvSpPr>
            <a:spLocks noChangeArrowheads="1"/>
          </p:cNvSpPr>
          <p:nvPr userDrawn="1"/>
        </p:nvSpPr>
        <p:spPr bwMode="auto">
          <a:xfrm>
            <a:off x="8525484" y="4836026"/>
            <a:ext cx="2071237" cy="448634"/>
          </a:xfrm>
          <a:prstGeom prst="roundRect">
            <a:avLst>
              <a:gd name="adj" fmla="val 50000"/>
            </a:avLst>
          </a:prstGeom>
          <a:solidFill>
            <a:schemeClr val="accent3"/>
          </a:solidFill>
          <a:ln>
            <a:noFill/>
          </a:ln>
          <a:effectLst/>
        </p:spPr>
        <p:txBody>
          <a:bodyPr wrap="none" anchor="ctr"/>
          <a:lstStyle/>
          <a:p>
            <a:endParaRPr lang="en-US" sz="3266"/>
          </a:p>
        </p:txBody>
      </p:sp>
      <p:sp>
        <p:nvSpPr>
          <p:cNvPr id="48" name="Freeform 47">
            <a:extLst>
              <a:ext uri="{FF2B5EF4-FFF2-40B4-BE49-F238E27FC236}">
                <a16:creationId xmlns:a16="http://schemas.microsoft.com/office/drawing/2014/main" id="{9706535C-6993-44FD-906A-F83255F6C630}"/>
              </a:ext>
            </a:extLst>
          </p:cNvPr>
          <p:cNvSpPr>
            <a:spLocks noChangeArrowheads="1"/>
          </p:cNvSpPr>
          <p:nvPr userDrawn="1"/>
        </p:nvSpPr>
        <p:spPr bwMode="auto">
          <a:xfrm>
            <a:off x="8058177" y="1301317"/>
            <a:ext cx="3008538" cy="145067"/>
          </a:xfrm>
          <a:custGeom>
            <a:avLst/>
            <a:gdLst>
              <a:gd name="T0" fmla="*/ 5362 w 5363"/>
              <a:gd name="T1" fmla="*/ 235 h 236"/>
              <a:gd name="T2" fmla="*/ 0 w 5363"/>
              <a:gd name="T3" fmla="*/ 235 h 236"/>
              <a:gd name="T4" fmla="*/ 0 w 5363"/>
              <a:gd name="T5" fmla="*/ 0 h 236"/>
              <a:gd name="T6" fmla="*/ 5362 w 5363"/>
              <a:gd name="T7" fmla="*/ 0 h 236"/>
              <a:gd name="T8" fmla="*/ 5362 w 5363"/>
              <a:gd name="T9" fmla="*/ 235 h 236"/>
            </a:gdLst>
            <a:ahLst/>
            <a:cxnLst>
              <a:cxn ang="0">
                <a:pos x="T0" y="T1"/>
              </a:cxn>
              <a:cxn ang="0">
                <a:pos x="T2" y="T3"/>
              </a:cxn>
              <a:cxn ang="0">
                <a:pos x="T4" y="T5"/>
              </a:cxn>
              <a:cxn ang="0">
                <a:pos x="T6" y="T7"/>
              </a:cxn>
              <a:cxn ang="0">
                <a:pos x="T8" y="T9"/>
              </a:cxn>
            </a:cxnLst>
            <a:rect l="0" t="0" r="r" b="b"/>
            <a:pathLst>
              <a:path w="5363" h="236">
                <a:moveTo>
                  <a:pt x="5362" y="235"/>
                </a:moveTo>
                <a:lnTo>
                  <a:pt x="0" y="235"/>
                </a:lnTo>
                <a:lnTo>
                  <a:pt x="0" y="0"/>
                </a:lnTo>
                <a:lnTo>
                  <a:pt x="5362" y="0"/>
                </a:lnTo>
                <a:lnTo>
                  <a:pt x="5362" y="235"/>
                </a:lnTo>
              </a:path>
            </a:pathLst>
          </a:custGeom>
          <a:solidFill>
            <a:schemeClr val="accent3"/>
          </a:solidFill>
          <a:ln>
            <a:noFill/>
          </a:ln>
          <a:effectLst/>
        </p:spPr>
        <p:txBody>
          <a:bodyPr wrap="none" anchor="ctr"/>
          <a:lstStyle/>
          <a:p>
            <a:endParaRPr lang="en-US" sz="3266"/>
          </a:p>
        </p:txBody>
      </p:sp>
      <p:sp>
        <p:nvSpPr>
          <p:cNvPr id="57" name="Rectangle 56">
            <a:extLst>
              <a:ext uri="{FF2B5EF4-FFF2-40B4-BE49-F238E27FC236}">
                <a16:creationId xmlns:a16="http://schemas.microsoft.com/office/drawing/2014/main" id="{5256F92B-6A03-E585-86C1-1D0DA9AF4517}"/>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itle 1">
            <a:extLst>
              <a:ext uri="{FF2B5EF4-FFF2-40B4-BE49-F238E27FC236}">
                <a16:creationId xmlns:a16="http://schemas.microsoft.com/office/drawing/2014/main" id="{8885726D-4CB2-BD20-1E58-1165E9D07DBC}"/>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
        <p:nvSpPr>
          <p:cNvPr id="59" name="Text Placeholder 35">
            <a:extLst>
              <a:ext uri="{FF2B5EF4-FFF2-40B4-BE49-F238E27FC236}">
                <a16:creationId xmlns:a16="http://schemas.microsoft.com/office/drawing/2014/main" id="{30D35CEE-5E11-7A87-371F-BD001D407EF5}"/>
              </a:ext>
            </a:extLst>
          </p:cNvPr>
          <p:cNvSpPr>
            <a:spLocks noGrp="1"/>
          </p:cNvSpPr>
          <p:nvPr>
            <p:ph type="body" sz="quarter" idx="24" hasCustomPrompt="1"/>
          </p:nvPr>
        </p:nvSpPr>
        <p:spPr>
          <a:xfrm>
            <a:off x="1592593" y="4898768"/>
            <a:ext cx="2071237" cy="331694"/>
          </a:xfrm>
        </p:spPr>
        <p:txBody>
          <a:bodyPr anchor="b">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EXT</a:t>
            </a:r>
          </a:p>
        </p:txBody>
      </p:sp>
      <p:sp>
        <p:nvSpPr>
          <p:cNvPr id="61" name="Text Placeholder 2">
            <a:extLst>
              <a:ext uri="{FF2B5EF4-FFF2-40B4-BE49-F238E27FC236}">
                <a16:creationId xmlns:a16="http://schemas.microsoft.com/office/drawing/2014/main" id="{3AB02604-22D5-0D08-8B26-47AA511E28A3}"/>
              </a:ext>
            </a:extLst>
          </p:cNvPr>
          <p:cNvSpPr>
            <a:spLocks noGrp="1"/>
          </p:cNvSpPr>
          <p:nvPr>
            <p:ph type="body" idx="57" hasCustomPrompt="1"/>
          </p:nvPr>
        </p:nvSpPr>
        <p:spPr>
          <a:xfrm>
            <a:off x="1125285" y="3118884"/>
            <a:ext cx="3008538" cy="1725686"/>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a:p>
            <a:pPr lvl="0"/>
            <a:r>
              <a:rPr lang="en-US"/>
              <a:t>Point 2</a:t>
            </a:r>
          </a:p>
          <a:p>
            <a:pPr lvl="0"/>
            <a:r>
              <a:rPr lang="en-US"/>
              <a:t>Point 3</a:t>
            </a:r>
          </a:p>
          <a:p>
            <a:pPr lvl="0"/>
            <a:r>
              <a:rPr lang="en-US"/>
              <a:t>Point 4</a:t>
            </a:r>
          </a:p>
        </p:txBody>
      </p:sp>
      <p:sp>
        <p:nvSpPr>
          <p:cNvPr id="62" name="Text Placeholder 35">
            <a:extLst>
              <a:ext uri="{FF2B5EF4-FFF2-40B4-BE49-F238E27FC236}">
                <a16:creationId xmlns:a16="http://schemas.microsoft.com/office/drawing/2014/main" id="{EAA1ED77-4659-C923-B770-AE62992DAE90}"/>
              </a:ext>
            </a:extLst>
          </p:cNvPr>
          <p:cNvSpPr>
            <a:spLocks noGrp="1"/>
          </p:cNvSpPr>
          <p:nvPr>
            <p:ph type="body" sz="quarter" idx="19" hasCustomPrompt="1"/>
          </p:nvPr>
        </p:nvSpPr>
        <p:spPr>
          <a:xfrm>
            <a:off x="1745506" y="2342901"/>
            <a:ext cx="1765410" cy="495301"/>
          </a:xfrm>
        </p:spPr>
        <p:txBody>
          <a:bodyPr anchor="b">
            <a:noAutofit/>
          </a:bodyPr>
          <a:lstStyle>
            <a:lvl1pPr marL="0" indent="0" algn="ctr">
              <a:buNone/>
              <a:defRPr sz="22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9.99</a:t>
            </a:r>
          </a:p>
        </p:txBody>
      </p:sp>
      <p:sp>
        <p:nvSpPr>
          <p:cNvPr id="63" name="Text Placeholder 35">
            <a:extLst>
              <a:ext uri="{FF2B5EF4-FFF2-40B4-BE49-F238E27FC236}">
                <a16:creationId xmlns:a16="http://schemas.microsoft.com/office/drawing/2014/main" id="{2A9291A3-76CC-B6FD-5A60-D2595A60BDB5}"/>
              </a:ext>
            </a:extLst>
          </p:cNvPr>
          <p:cNvSpPr>
            <a:spLocks noGrp="1"/>
          </p:cNvSpPr>
          <p:nvPr>
            <p:ph type="body" sz="quarter" idx="58" hasCustomPrompt="1"/>
          </p:nvPr>
        </p:nvSpPr>
        <p:spPr>
          <a:xfrm>
            <a:off x="1745506" y="1597466"/>
            <a:ext cx="1765410" cy="495301"/>
          </a:xfrm>
        </p:spPr>
        <p:txBody>
          <a:bodyPr anchor="b">
            <a:noAutofit/>
          </a:bodyPr>
          <a:lstStyle>
            <a:lvl1pPr marL="0" indent="0" algn="ctr">
              <a:buNone/>
              <a:defRPr sz="2400" b="1">
                <a:solidFill>
                  <a:srgbClr val="007DB2"/>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ER</a:t>
            </a:r>
          </a:p>
        </p:txBody>
      </p:sp>
      <p:sp>
        <p:nvSpPr>
          <p:cNvPr id="64" name="TextBox 63">
            <a:extLst>
              <a:ext uri="{FF2B5EF4-FFF2-40B4-BE49-F238E27FC236}">
                <a16:creationId xmlns:a16="http://schemas.microsoft.com/office/drawing/2014/main" id="{66995EA8-7FDC-5E78-E72C-C1FEA50A813F}"/>
              </a:ext>
            </a:extLst>
          </p:cNvPr>
          <p:cNvSpPr txBox="1"/>
          <p:nvPr userDrawn="1"/>
        </p:nvSpPr>
        <p:spPr>
          <a:xfrm>
            <a:off x="5764109" y="2834797"/>
            <a:ext cx="668773" cy="246221"/>
          </a:xfrm>
          <a:prstGeom prst="rect">
            <a:avLst/>
          </a:prstGeom>
          <a:noFill/>
          <a:ln>
            <a:noFill/>
          </a:ln>
        </p:spPr>
        <p:txBody>
          <a:bodyPr wrap="none" rtlCol="0" anchor="ctr" anchorCtr="0">
            <a:spAutoFit/>
          </a:bodyPr>
          <a:lstStyle/>
          <a:p>
            <a:pPr algn="ctr"/>
            <a:r>
              <a:rPr lang="en-US" sz="1000">
                <a:solidFill>
                  <a:schemeClr val="tx2"/>
                </a:solidFill>
                <a:latin typeface="Montserrat" pitchFamily="2" charset="77"/>
                <a:ea typeface="Lato Light" panose="020F0502020204030203" pitchFamily="34" charset="0"/>
                <a:cs typeface="Lato Light" panose="020F0502020204030203" pitchFamily="34" charset="0"/>
              </a:rPr>
              <a:t>/month</a:t>
            </a:r>
          </a:p>
        </p:txBody>
      </p:sp>
      <p:sp>
        <p:nvSpPr>
          <p:cNvPr id="65" name="Text Placeholder 35">
            <a:extLst>
              <a:ext uri="{FF2B5EF4-FFF2-40B4-BE49-F238E27FC236}">
                <a16:creationId xmlns:a16="http://schemas.microsoft.com/office/drawing/2014/main" id="{B27292EB-9E15-63B6-1A59-19CB037FBD54}"/>
              </a:ext>
            </a:extLst>
          </p:cNvPr>
          <p:cNvSpPr>
            <a:spLocks noGrp="1"/>
          </p:cNvSpPr>
          <p:nvPr>
            <p:ph type="body" sz="quarter" idx="59" hasCustomPrompt="1"/>
          </p:nvPr>
        </p:nvSpPr>
        <p:spPr>
          <a:xfrm>
            <a:off x="5061349" y="4898768"/>
            <a:ext cx="2071237" cy="331694"/>
          </a:xfrm>
        </p:spPr>
        <p:txBody>
          <a:bodyPr anchor="b">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EXT</a:t>
            </a:r>
          </a:p>
        </p:txBody>
      </p:sp>
      <p:sp>
        <p:nvSpPr>
          <p:cNvPr id="66" name="Text Placeholder 2">
            <a:extLst>
              <a:ext uri="{FF2B5EF4-FFF2-40B4-BE49-F238E27FC236}">
                <a16:creationId xmlns:a16="http://schemas.microsoft.com/office/drawing/2014/main" id="{81DDAA61-0106-6F2C-E56B-67344F70E8FE}"/>
              </a:ext>
            </a:extLst>
          </p:cNvPr>
          <p:cNvSpPr>
            <a:spLocks noGrp="1"/>
          </p:cNvSpPr>
          <p:nvPr>
            <p:ph type="body" idx="60" hasCustomPrompt="1"/>
          </p:nvPr>
        </p:nvSpPr>
        <p:spPr>
          <a:xfrm>
            <a:off x="4594041" y="3118884"/>
            <a:ext cx="3008538" cy="1725686"/>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a:p>
            <a:pPr lvl="0"/>
            <a:r>
              <a:rPr lang="en-US"/>
              <a:t>Point 2</a:t>
            </a:r>
          </a:p>
          <a:p>
            <a:pPr lvl="0"/>
            <a:r>
              <a:rPr lang="en-US"/>
              <a:t>Point 3</a:t>
            </a:r>
          </a:p>
          <a:p>
            <a:pPr lvl="0"/>
            <a:r>
              <a:rPr lang="en-US"/>
              <a:t>Point 4</a:t>
            </a:r>
          </a:p>
        </p:txBody>
      </p:sp>
      <p:sp>
        <p:nvSpPr>
          <p:cNvPr id="67" name="Text Placeholder 35">
            <a:extLst>
              <a:ext uri="{FF2B5EF4-FFF2-40B4-BE49-F238E27FC236}">
                <a16:creationId xmlns:a16="http://schemas.microsoft.com/office/drawing/2014/main" id="{63D948BF-CD77-DB1B-2CE0-75C2D01A5A2F}"/>
              </a:ext>
            </a:extLst>
          </p:cNvPr>
          <p:cNvSpPr>
            <a:spLocks noGrp="1"/>
          </p:cNvSpPr>
          <p:nvPr>
            <p:ph type="body" sz="quarter" idx="61" hasCustomPrompt="1"/>
          </p:nvPr>
        </p:nvSpPr>
        <p:spPr>
          <a:xfrm>
            <a:off x="5214262" y="2342901"/>
            <a:ext cx="1765410" cy="495301"/>
          </a:xfrm>
        </p:spPr>
        <p:txBody>
          <a:bodyPr anchor="b">
            <a:noAutofit/>
          </a:bodyPr>
          <a:lstStyle>
            <a:lvl1pPr marL="0" indent="0" algn="ctr">
              <a:buNone/>
              <a:defRPr sz="22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9.99</a:t>
            </a:r>
          </a:p>
        </p:txBody>
      </p:sp>
      <p:sp>
        <p:nvSpPr>
          <p:cNvPr id="68" name="Text Placeholder 35">
            <a:extLst>
              <a:ext uri="{FF2B5EF4-FFF2-40B4-BE49-F238E27FC236}">
                <a16:creationId xmlns:a16="http://schemas.microsoft.com/office/drawing/2014/main" id="{1854AC2E-93AE-880A-9E0A-21AE386F6043}"/>
              </a:ext>
            </a:extLst>
          </p:cNvPr>
          <p:cNvSpPr>
            <a:spLocks noGrp="1"/>
          </p:cNvSpPr>
          <p:nvPr>
            <p:ph type="body" sz="quarter" idx="62" hasCustomPrompt="1"/>
          </p:nvPr>
        </p:nvSpPr>
        <p:spPr>
          <a:xfrm>
            <a:off x="5214262" y="1597466"/>
            <a:ext cx="1765410" cy="495301"/>
          </a:xfrm>
        </p:spPr>
        <p:txBody>
          <a:bodyPr anchor="b">
            <a:noAutofit/>
          </a:bodyPr>
          <a:lstStyle>
            <a:lvl1pPr marL="0" indent="0" algn="ctr">
              <a:buNone/>
              <a:defRPr sz="2400" b="1">
                <a:solidFill>
                  <a:srgbClr val="3EB1C8"/>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ER</a:t>
            </a:r>
          </a:p>
        </p:txBody>
      </p:sp>
      <p:sp>
        <p:nvSpPr>
          <p:cNvPr id="69" name="TextBox 68">
            <a:extLst>
              <a:ext uri="{FF2B5EF4-FFF2-40B4-BE49-F238E27FC236}">
                <a16:creationId xmlns:a16="http://schemas.microsoft.com/office/drawing/2014/main" id="{35A883F2-3E1E-9996-0F2B-DCA806C2715E}"/>
              </a:ext>
            </a:extLst>
          </p:cNvPr>
          <p:cNvSpPr txBox="1"/>
          <p:nvPr userDrawn="1"/>
        </p:nvSpPr>
        <p:spPr>
          <a:xfrm>
            <a:off x="9232865" y="2834797"/>
            <a:ext cx="668773" cy="246221"/>
          </a:xfrm>
          <a:prstGeom prst="rect">
            <a:avLst/>
          </a:prstGeom>
          <a:noFill/>
          <a:ln>
            <a:noFill/>
          </a:ln>
        </p:spPr>
        <p:txBody>
          <a:bodyPr wrap="none" rtlCol="0" anchor="ctr" anchorCtr="0">
            <a:spAutoFit/>
          </a:bodyPr>
          <a:lstStyle/>
          <a:p>
            <a:pPr algn="ctr"/>
            <a:r>
              <a:rPr lang="en-US" sz="1000">
                <a:solidFill>
                  <a:schemeClr val="tx2"/>
                </a:solidFill>
                <a:latin typeface="Montserrat" pitchFamily="2" charset="77"/>
                <a:ea typeface="Lato Light" panose="020F0502020204030203" pitchFamily="34" charset="0"/>
                <a:cs typeface="Lato Light" panose="020F0502020204030203" pitchFamily="34" charset="0"/>
              </a:rPr>
              <a:t>/month</a:t>
            </a:r>
          </a:p>
        </p:txBody>
      </p:sp>
      <p:sp>
        <p:nvSpPr>
          <p:cNvPr id="70" name="Text Placeholder 35">
            <a:extLst>
              <a:ext uri="{FF2B5EF4-FFF2-40B4-BE49-F238E27FC236}">
                <a16:creationId xmlns:a16="http://schemas.microsoft.com/office/drawing/2014/main" id="{E10BDA02-91AF-65C0-E71B-99736974A85E}"/>
              </a:ext>
            </a:extLst>
          </p:cNvPr>
          <p:cNvSpPr>
            <a:spLocks noGrp="1"/>
          </p:cNvSpPr>
          <p:nvPr>
            <p:ph type="body" sz="quarter" idx="63" hasCustomPrompt="1"/>
          </p:nvPr>
        </p:nvSpPr>
        <p:spPr>
          <a:xfrm>
            <a:off x="8530105" y="4898768"/>
            <a:ext cx="2071237" cy="331694"/>
          </a:xfrm>
        </p:spPr>
        <p:txBody>
          <a:bodyPr anchor="b">
            <a:noAutofit/>
          </a:bodyPr>
          <a:lstStyle>
            <a:lvl1pPr marL="0" indent="0" algn="ctr">
              <a:buNone/>
              <a:defRPr sz="16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EXT</a:t>
            </a:r>
          </a:p>
        </p:txBody>
      </p:sp>
      <p:sp>
        <p:nvSpPr>
          <p:cNvPr id="71" name="Text Placeholder 2">
            <a:extLst>
              <a:ext uri="{FF2B5EF4-FFF2-40B4-BE49-F238E27FC236}">
                <a16:creationId xmlns:a16="http://schemas.microsoft.com/office/drawing/2014/main" id="{8655AE2E-C772-AA4A-E284-1AFD1E0D47C1}"/>
              </a:ext>
            </a:extLst>
          </p:cNvPr>
          <p:cNvSpPr>
            <a:spLocks noGrp="1"/>
          </p:cNvSpPr>
          <p:nvPr>
            <p:ph type="body" idx="64" hasCustomPrompt="1"/>
          </p:nvPr>
        </p:nvSpPr>
        <p:spPr>
          <a:xfrm>
            <a:off x="8062797" y="3118884"/>
            <a:ext cx="3008538" cy="1725686"/>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a:p>
            <a:pPr lvl="0"/>
            <a:r>
              <a:rPr lang="en-US"/>
              <a:t>Point 2</a:t>
            </a:r>
          </a:p>
          <a:p>
            <a:pPr lvl="0"/>
            <a:r>
              <a:rPr lang="en-US"/>
              <a:t>Point 3</a:t>
            </a:r>
          </a:p>
          <a:p>
            <a:pPr lvl="0"/>
            <a:r>
              <a:rPr lang="en-US"/>
              <a:t>Point 4</a:t>
            </a:r>
          </a:p>
        </p:txBody>
      </p:sp>
      <p:sp>
        <p:nvSpPr>
          <p:cNvPr id="72" name="Text Placeholder 35">
            <a:extLst>
              <a:ext uri="{FF2B5EF4-FFF2-40B4-BE49-F238E27FC236}">
                <a16:creationId xmlns:a16="http://schemas.microsoft.com/office/drawing/2014/main" id="{8AA4AFF7-0DC1-7309-76A4-13B45DEEFC42}"/>
              </a:ext>
            </a:extLst>
          </p:cNvPr>
          <p:cNvSpPr>
            <a:spLocks noGrp="1"/>
          </p:cNvSpPr>
          <p:nvPr>
            <p:ph type="body" sz="quarter" idx="65" hasCustomPrompt="1"/>
          </p:nvPr>
        </p:nvSpPr>
        <p:spPr>
          <a:xfrm>
            <a:off x="8683018" y="2342901"/>
            <a:ext cx="1765410" cy="495301"/>
          </a:xfrm>
        </p:spPr>
        <p:txBody>
          <a:bodyPr anchor="b">
            <a:noAutofit/>
          </a:bodyPr>
          <a:lstStyle>
            <a:lvl1pPr marL="0" indent="0" algn="ctr">
              <a:buNone/>
              <a:defRPr sz="22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9.99</a:t>
            </a:r>
          </a:p>
        </p:txBody>
      </p:sp>
      <p:sp>
        <p:nvSpPr>
          <p:cNvPr id="73" name="Text Placeholder 35">
            <a:extLst>
              <a:ext uri="{FF2B5EF4-FFF2-40B4-BE49-F238E27FC236}">
                <a16:creationId xmlns:a16="http://schemas.microsoft.com/office/drawing/2014/main" id="{E5B17664-EE58-FC50-FDAB-93C5E6B220F6}"/>
              </a:ext>
            </a:extLst>
          </p:cNvPr>
          <p:cNvSpPr>
            <a:spLocks noGrp="1"/>
          </p:cNvSpPr>
          <p:nvPr>
            <p:ph type="body" sz="quarter" idx="66" hasCustomPrompt="1"/>
          </p:nvPr>
        </p:nvSpPr>
        <p:spPr>
          <a:xfrm>
            <a:off x="8683018" y="1597466"/>
            <a:ext cx="1765410" cy="495301"/>
          </a:xfrm>
        </p:spPr>
        <p:txBody>
          <a:bodyPr anchor="b">
            <a:noAutofit/>
          </a:bodyPr>
          <a:lstStyle>
            <a:lvl1pPr marL="0" indent="0" algn="ctr">
              <a:buNone/>
              <a:defRPr sz="2400" b="1">
                <a:solidFill>
                  <a:srgbClr val="22B990"/>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ER</a:t>
            </a:r>
          </a:p>
        </p:txBody>
      </p:sp>
    </p:spTree>
    <p:extLst>
      <p:ext uri="{BB962C8B-B14F-4D97-AF65-F5344CB8AC3E}">
        <p14:creationId xmlns:p14="http://schemas.microsoft.com/office/powerpoint/2010/main" val="28786443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5" name="Freeform 1">
            <a:extLst>
              <a:ext uri="{FF2B5EF4-FFF2-40B4-BE49-F238E27FC236}">
                <a16:creationId xmlns:a16="http://schemas.microsoft.com/office/drawing/2014/main" id="{D6D4A8DD-97A7-D72E-E309-59BF50C096B0}"/>
              </a:ext>
            </a:extLst>
          </p:cNvPr>
          <p:cNvSpPr>
            <a:spLocks noChangeArrowheads="1"/>
          </p:cNvSpPr>
          <p:nvPr userDrawn="1"/>
        </p:nvSpPr>
        <p:spPr bwMode="auto">
          <a:xfrm rot="16200000">
            <a:off x="-413874" y="2888897"/>
            <a:ext cx="5067091" cy="2109118"/>
          </a:xfrm>
          <a:prstGeom prst="round2SameRect">
            <a:avLst>
              <a:gd name="adj1" fmla="val 4758"/>
              <a:gd name="adj2" fmla="val 0"/>
            </a:avLst>
          </a:prstGeom>
          <a:solidFill>
            <a:schemeClr val="tx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6" name="Freeform 2">
            <a:extLst>
              <a:ext uri="{FF2B5EF4-FFF2-40B4-BE49-F238E27FC236}">
                <a16:creationId xmlns:a16="http://schemas.microsoft.com/office/drawing/2014/main" id="{638A9810-F57E-C155-52E9-727343FCB4C1}"/>
              </a:ext>
            </a:extLst>
          </p:cNvPr>
          <p:cNvSpPr>
            <a:spLocks noChangeArrowheads="1"/>
          </p:cNvSpPr>
          <p:nvPr userDrawn="1"/>
        </p:nvSpPr>
        <p:spPr bwMode="auto">
          <a:xfrm>
            <a:off x="3174229" y="1856233"/>
            <a:ext cx="7928792" cy="4620767"/>
          </a:xfrm>
          <a:custGeom>
            <a:avLst/>
            <a:gdLst>
              <a:gd name="T0" fmla="*/ 0 w 11535"/>
              <a:gd name="T1" fmla="*/ 0 h 11641"/>
              <a:gd name="T2" fmla="*/ 0 w 11535"/>
              <a:gd name="T3" fmla="*/ 11640 h 11641"/>
              <a:gd name="T4" fmla="*/ 11350 w 11535"/>
              <a:gd name="T5" fmla="*/ 11640 h 11641"/>
              <a:gd name="T6" fmla="*/ 11350 w 11535"/>
              <a:gd name="T7" fmla="*/ 11640 h 11641"/>
              <a:gd name="T8" fmla="*/ 11534 w 11535"/>
              <a:gd name="T9" fmla="*/ 11455 h 11641"/>
              <a:gd name="T10" fmla="*/ 11534 w 11535"/>
              <a:gd name="T11" fmla="*/ 0 h 11641"/>
              <a:gd name="T12" fmla="*/ 0 w 11535"/>
              <a:gd name="T13" fmla="*/ 0 h 11641"/>
            </a:gdLst>
            <a:ahLst/>
            <a:cxnLst>
              <a:cxn ang="0">
                <a:pos x="T0" y="T1"/>
              </a:cxn>
              <a:cxn ang="0">
                <a:pos x="T2" y="T3"/>
              </a:cxn>
              <a:cxn ang="0">
                <a:pos x="T4" y="T5"/>
              </a:cxn>
              <a:cxn ang="0">
                <a:pos x="T6" y="T7"/>
              </a:cxn>
              <a:cxn ang="0">
                <a:pos x="T8" y="T9"/>
              </a:cxn>
              <a:cxn ang="0">
                <a:pos x="T10" y="T11"/>
              </a:cxn>
              <a:cxn ang="0">
                <a:pos x="T12" y="T13"/>
              </a:cxn>
            </a:cxnLst>
            <a:rect l="0" t="0" r="r" b="b"/>
            <a:pathLst>
              <a:path w="11535" h="11641">
                <a:moveTo>
                  <a:pt x="0" y="0"/>
                </a:moveTo>
                <a:lnTo>
                  <a:pt x="0" y="11640"/>
                </a:lnTo>
                <a:lnTo>
                  <a:pt x="11350" y="11640"/>
                </a:lnTo>
                <a:lnTo>
                  <a:pt x="11350" y="11640"/>
                </a:lnTo>
                <a:cubicBezTo>
                  <a:pt x="11452" y="11640"/>
                  <a:pt x="11534" y="11557"/>
                  <a:pt x="11534" y="11455"/>
                </a:cubicBezTo>
                <a:lnTo>
                  <a:pt x="11534" y="0"/>
                </a:lnTo>
                <a:lnTo>
                  <a:pt x="0" y="0"/>
                </a:ln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7" name="Freeform 3">
            <a:extLst>
              <a:ext uri="{FF2B5EF4-FFF2-40B4-BE49-F238E27FC236}">
                <a16:creationId xmlns:a16="http://schemas.microsoft.com/office/drawing/2014/main" id="{1C66B10E-AEB1-BB1F-1487-D9125D79BB63}"/>
              </a:ext>
            </a:extLst>
          </p:cNvPr>
          <p:cNvSpPr>
            <a:spLocks noChangeArrowheads="1"/>
          </p:cNvSpPr>
          <p:nvPr userDrawn="1"/>
        </p:nvSpPr>
        <p:spPr bwMode="auto">
          <a:xfrm>
            <a:off x="5156428" y="1409909"/>
            <a:ext cx="1982198" cy="446324"/>
          </a:xfrm>
          <a:custGeom>
            <a:avLst/>
            <a:gdLst>
              <a:gd name="T0" fmla="*/ 3845 w 3846"/>
              <a:gd name="T1" fmla="*/ 1123 h 1124"/>
              <a:gd name="T2" fmla="*/ 0 w 3846"/>
              <a:gd name="T3" fmla="*/ 1123 h 1124"/>
              <a:gd name="T4" fmla="*/ 0 w 3846"/>
              <a:gd name="T5" fmla="*/ 0 h 1124"/>
              <a:gd name="T6" fmla="*/ 3845 w 3846"/>
              <a:gd name="T7" fmla="*/ 0 h 1124"/>
              <a:gd name="T8" fmla="*/ 3845 w 3846"/>
              <a:gd name="T9" fmla="*/ 1123 h 1124"/>
            </a:gdLst>
            <a:ahLst/>
            <a:cxnLst>
              <a:cxn ang="0">
                <a:pos x="T0" y="T1"/>
              </a:cxn>
              <a:cxn ang="0">
                <a:pos x="T2" y="T3"/>
              </a:cxn>
              <a:cxn ang="0">
                <a:pos x="T4" y="T5"/>
              </a:cxn>
              <a:cxn ang="0">
                <a:pos x="T6" y="T7"/>
              </a:cxn>
              <a:cxn ang="0">
                <a:pos x="T8" y="T9"/>
              </a:cxn>
            </a:cxnLst>
            <a:rect l="0" t="0" r="r" b="b"/>
            <a:pathLst>
              <a:path w="3846" h="1124">
                <a:moveTo>
                  <a:pt x="3845" y="1123"/>
                </a:moveTo>
                <a:lnTo>
                  <a:pt x="0" y="1123"/>
                </a:lnTo>
                <a:lnTo>
                  <a:pt x="0" y="0"/>
                </a:lnTo>
                <a:lnTo>
                  <a:pt x="3845" y="0"/>
                </a:lnTo>
                <a:lnTo>
                  <a:pt x="3845" y="1123"/>
                </a:lnTo>
              </a:path>
            </a:pathLst>
          </a:custGeom>
          <a:solidFill>
            <a:schemeClr val="accent2"/>
          </a:solidFill>
          <a:ln>
            <a:noFill/>
          </a:ln>
          <a:effectLst/>
        </p:spPr>
        <p:txBody>
          <a:bodyPr wrap="none" anchor="ctr"/>
          <a:lstStyle/>
          <a:p>
            <a:endParaRPr lang="en-US" sz="3266"/>
          </a:p>
        </p:txBody>
      </p:sp>
      <p:sp>
        <p:nvSpPr>
          <p:cNvPr id="9" name="Freeform 4">
            <a:extLst>
              <a:ext uri="{FF2B5EF4-FFF2-40B4-BE49-F238E27FC236}">
                <a16:creationId xmlns:a16="http://schemas.microsoft.com/office/drawing/2014/main" id="{3E32333B-803C-B237-D073-F382653B1E0B}"/>
              </a:ext>
            </a:extLst>
          </p:cNvPr>
          <p:cNvSpPr>
            <a:spLocks noChangeArrowheads="1"/>
          </p:cNvSpPr>
          <p:nvPr userDrawn="1"/>
        </p:nvSpPr>
        <p:spPr bwMode="auto">
          <a:xfrm>
            <a:off x="7138625" y="1409909"/>
            <a:ext cx="1982198" cy="446324"/>
          </a:xfrm>
          <a:custGeom>
            <a:avLst/>
            <a:gdLst>
              <a:gd name="T0" fmla="*/ 3845 w 3846"/>
              <a:gd name="T1" fmla="*/ 1123 h 1124"/>
              <a:gd name="T2" fmla="*/ 0 w 3846"/>
              <a:gd name="T3" fmla="*/ 1123 h 1124"/>
              <a:gd name="T4" fmla="*/ 0 w 3846"/>
              <a:gd name="T5" fmla="*/ 0 h 1124"/>
              <a:gd name="T6" fmla="*/ 3845 w 3846"/>
              <a:gd name="T7" fmla="*/ 0 h 1124"/>
              <a:gd name="T8" fmla="*/ 3845 w 3846"/>
              <a:gd name="T9" fmla="*/ 1123 h 1124"/>
            </a:gdLst>
            <a:ahLst/>
            <a:cxnLst>
              <a:cxn ang="0">
                <a:pos x="T0" y="T1"/>
              </a:cxn>
              <a:cxn ang="0">
                <a:pos x="T2" y="T3"/>
              </a:cxn>
              <a:cxn ang="0">
                <a:pos x="T4" y="T5"/>
              </a:cxn>
              <a:cxn ang="0">
                <a:pos x="T6" y="T7"/>
              </a:cxn>
              <a:cxn ang="0">
                <a:pos x="T8" y="T9"/>
              </a:cxn>
            </a:cxnLst>
            <a:rect l="0" t="0" r="r" b="b"/>
            <a:pathLst>
              <a:path w="3846" h="1124">
                <a:moveTo>
                  <a:pt x="3845" y="1123"/>
                </a:moveTo>
                <a:lnTo>
                  <a:pt x="0" y="1123"/>
                </a:lnTo>
                <a:lnTo>
                  <a:pt x="0" y="0"/>
                </a:lnTo>
                <a:lnTo>
                  <a:pt x="3845" y="0"/>
                </a:lnTo>
                <a:lnTo>
                  <a:pt x="3845" y="1123"/>
                </a:lnTo>
              </a:path>
            </a:pathLst>
          </a:custGeom>
          <a:solidFill>
            <a:schemeClr val="accent3"/>
          </a:solidFill>
          <a:ln>
            <a:noFill/>
          </a:ln>
          <a:effectLst/>
        </p:spPr>
        <p:txBody>
          <a:bodyPr wrap="none" anchor="ctr"/>
          <a:lstStyle/>
          <a:p>
            <a:endParaRPr lang="en-US" sz="3266"/>
          </a:p>
        </p:txBody>
      </p:sp>
      <p:sp>
        <p:nvSpPr>
          <p:cNvPr id="11" name="Freeform 5">
            <a:extLst>
              <a:ext uri="{FF2B5EF4-FFF2-40B4-BE49-F238E27FC236}">
                <a16:creationId xmlns:a16="http://schemas.microsoft.com/office/drawing/2014/main" id="{E9C678C4-57AA-5DB4-1EF1-64DB92ED7179}"/>
              </a:ext>
            </a:extLst>
          </p:cNvPr>
          <p:cNvSpPr>
            <a:spLocks noChangeArrowheads="1"/>
          </p:cNvSpPr>
          <p:nvPr userDrawn="1"/>
        </p:nvSpPr>
        <p:spPr bwMode="auto">
          <a:xfrm>
            <a:off x="5130754" y="1409909"/>
            <a:ext cx="47737" cy="5067091"/>
          </a:xfrm>
          <a:custGeom>
            <a:avLst/>
            <a:gdLst>
              <a:gd name="T0" fmla="*/ 92 w 93"/>
              <a:gd name="T1" fmla="*/ 12763 h 12764"/>
              <a:gd name="T2" fmla="*/ 0 w 93"/>
              <a:gd name="T3" fmla="*/ 12763 h 12764"/>
              <a:gd name="T4" fmla="*/ 0 w 93"/>
              <a:gd name="T5" fmla="*/ 0 h 12764"/>
              <a:gd name="T6" fmla="*/ 92 w 93"/>
              <a:gd name="T7" fmla="*/ 0 h 12764"/>
              <a:gd name="T8" fmla="*/ 92 w 93"/>
              <a:gd name="T9" fmla="*/ 12763 h 12764"/>
            </a:gdLst>
            <a:ahLst/>
            <a:cxnLst>
              <a:cxn ang="0">
                <a:pos x="T0" y="T1"/>
              </a:cxn>
              <a:cxn ang="0">
                <a:pos x="T2" y="T3"/>
              </a:cxn>
              <a:cxn ang="0">
                <a:pos x="T4" y="T5"/>
              </a:cxn>
              <a:cxn ang="0">
                <a:pos x="T6" y="T7"/>
              </a:cxn>
              <a:cxn ang="0">
                <a:pos x="T8" y="T9"/>
              </a:cxn>
            </a:cxnLst>
            <a:rect l="0" t="0" r="r" b="b"/>
            <a:pathLst>
              <a:path w="93" h="12764">
                <a:moveTo>
                  <a:pt x="92" y="12763"/>
                </a:moveTo>
                <a:lnTo>
                  <a:pt x="0" y="12763"/>
                </a:lnTo>
                <a:lnTo>
                  <a:pt x="0" y="0"/>
                </a:lnTo>
                <a:lnTo>
                  <a:pt x="92" y="0"/>
                </a:lnTo>
                <a:lnTo>
                  <a:pt x="92" y="12763"/>
                </a:lnTo>
              </a:path>
            </a:pathLst>
          </a:custGeom>
          <a:solidFill>
            <a:schemeClr val="accent6">
              <a:lumMod val="10000"/>
              <a:alpha val="1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2" name="Freeform 6">
            <a:extLst>
              <a:ext uri="{FF2B5EF4-FFF2-40B4-BE49-F238E27FC236}">
                <a16:creationId xmlns:a16="http://schemas.microsoft.com/office/drawing/2014/main" id="{C7FB6624-3AB4-F7F5-B93F-859D1CAB5272}"/>
              </a:ext>
            </a:extLst>
          </p:cNvPr>
          <p:cNvSpPr>
            <a:spLocks noChangeArrowheads="1"/>
          </p:cNvSpPr>
          <p:nvPr userDrawn="1"/>
        </p:nvSpPr>
        <p:spPr bwMode="auto">
          <a:xfrm>
            <a:off x="7113554" y="1409909"/>
            <a:ext cx="47737" cy="5067091"/>
          </a:xfrm>
          <a:custGeom>
            <a:avLst/>
            <a:gdLst>
              <a:gd name="T0" fmla="*/ 92 w 93"/>
              <a:gd name="T1" fmla="*/ 12763 h 12764"/>
              <a:gd name="T2" fmla="*/ 0 w 93"/>
              <a:gd name="T3" fmla="*/ 12763 h 12764"/>
              <a:gd name="T4" fmla="*/ 0 w 93"/>
              <a:gd name="T5" fmla="*/ 0 h 12764"/>
              <a:gd name="T6" fmla="*/ 92 w 93"/>
              <a:gd name="T7" fmla="*/ 0 h 12764"/>
              <a:gd name="T8" fmla="*/ 92 w 93"/>
              <a:gd name="T9" fmla="*/ 12763 h 12764"/>
            </a:gdLst>
            <a:ahLst/>
            <a:cxnLst>
              <a:cxn ang="0">
                <a:pos x="T0" y="T1"/>
              </a:cxn>
              <a:cxn ang="0">
                <a:pos x="T2" y="T3"/>
              </a:cxn>
              <a:cxn ang="0">
                <a:pos x="T4" y="T5"/>
              </a:cxn>
              <a:cxn ang="0">
                <a:pos x="T6" y="T7"/>
              </a:cxn>
              <a:cxn ang="0">
                <a:pos x="T8" y="T9"/>
              </a:cxn>
            </a:cxnLst>
            <a:rect l="0" t="0" r="r" b="b"/>
            <a:pathLst>
              <a:path w="93" h="12764">
                <a:moveTo>
                  <a:pt x="92" y="12763"/>
                </a:moveTo>
                <a:lnTo>
                  <a:pt x="0" y="12763"/>
                </a:lnTo>
                <a:lnTo>
                  <a:pt x="0" y="0"/>
                </a:lnTo>
                <a:lnTo>
                  <a:pt x="92" y="0"/>
                </a:lnTo>
                <a:lnTo>
                  <a:pt x="92" y="12763"/>
                </a:lnTo>
              </a:path>
            </a:pathLst>
          </a:custGeom>
          <a:solidFill>
            <a:schemeClr val="accent6">
              <a:lumMod val="10000"/>
              <a:alpha val="1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6" name="Freeform 7">
            <a:extLst>
              <a:ext uri="{FF2B5EF4-FFF2-40B4-BE49-F238E27FC236}">
                <a16:creationId xmlns:a16="http://schemas.microsoft.com/office/drawing/2014/main" id="{F11F3ED9-80D5-2BB4-B3EE-34DAF3914D3D}"/>
              </a:ext>
            </a:extLst>
          </p:cNvPr>
          <p:cNvSpPr>
            <a:spLocks noChangeArrowheads="1"/>
          </p:cNvSpPr>
          <p:nvPr userDrawn="1"/>
        </p:nvSpPr>
        <p:spPr bwMode="auto">
          <a:xfrm>
            <a:off x="3174229" y="1409909"/>
            <a:ext cx="1982198" cy="446324"/>
          </a:xfrm>
          <a:custGeom>
            <a:avLst/>
            <a:gdLst>
              <a:gd name="T0" fmla="*/ 3844 w 3845"/>
              <a:gd name="T1" fmla="*/ 1123 h 1124"/>
              <a:gd name="T2" fmla="*/ 0 w 3845"/>
              <a:gd name="T3" fmla="*/ 1123 h 1124"/>
              <a:gd name="T4" fmla="*/ 0 w 3845"/>
              <a:gd name="T5" fmla="*/ 0 h 1124"/>
              <a:gd name="T6" fmla="*/ 3844 w 3845"/>
              <a:gd name="T7" fmla="*/ 0 h 1124"/>
              <a:gd name="T8" fmla="*/ 3844 w 3845"/>
              <a:gd name="T9" fmla="*/ 1123 h 1124"/>
            </a:gdLst>
            <a:ahLst/>
            <a:cxnLst>
              <a:cxn ang="0">
                <a:pos x="T0" y="T1"/>
              </a:cxn>
              <a:cxn ang="0">
                <a:pos x="T2" y="T3"/>
              </a:cxn>
              <a:cxn ang="0">
                <a:pos x="T4" y="T5"/>
              </a:cxn>
              <a:cxn ang="0">
                <a:pos x="T6" y="T7"/>
              </a:cxn>
              <a:cxn ang="0">
                <a:pos x="T8" y="T9"/>
              </a:cxn>
            </a:cxnLst>
            <a:rect l="0" t="0" r="r" b="b"/>
            <a:pathLst>
              <a:path w="3845" h="1124">
                <a:moveTo>
                  <a:pt x="3844" y="1123"/>
                </a:moveTo>
                <a:lnTo>
                  <a:pt x="0" y="1123"/>
                </a:lnTo>
                <a:lnTo>
                  <a:pt x="0" y="0"/>
                </a:lnTo>
                <a:lnTo>
                  <a:pt x="3844" y="0"/>
                </a:lnTo>
                <a:lnTo>
                  <a:pt x="3844" y="1123"/>
                </a:lnTo>
              </a:path>
            </a:pathLst>
          </a:custGeom>
          <a:solidFill>
            <a:schemeClr val="accent1"/>
          </a:solidFill>
          <a:ln>
            <a:noFill/>
          </a:ln>
          <a:effectLst/>
        </p:spPr>
        <p:txBody>
          <a:bodyPr wrap="none" anchor="ctr"/>
          <a:lstStyle/>
          <a:p>
            <a:endParaRPr lang="en-US" sz="3266"/>
          </a:p>
        </p:txBody>
      </p:sp>
      <p:sp>
        <p:nvSpPr>
          <p:cNvPr id="17" name="Freeform 10">
            <a:extLst>
              <a:ext uri="{FF2B5EF4-FFF2-40B4-BE49-F238E27FC236}">
                <a16:creationId xmlns:a16="http://schemas.microsoft.com/office/drawing/2014/main" id="{09F9794C-CC80-8C3C-C240-2BE971F2D77D}"/>
              </a:ext>
            </a:extLst>
          </p:cNvPr>
          <p:cNvSpPr>
            <a:spLocks noChangeArrowheads="1"/>
          </p:cNvSpPr>
          <p:nvPr userDrawn="1"/>
        </p:nvSpPr>
        <p:spPr bwMode="auto">
          <a:xfrm>
            <a:off x="3486790" y="5913203"/>
            <a:ext cx="1357078" cy="428750"/>
          </a:xfrm>
          <a:prstGeom prst="roundRect">
            <a:avLst>
              <a:gd name="adj" fmla="val 13984"/>
            </a:avLst>
          </a:pr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18" name="Line 15">
            <a:extLst>
              <a:ext uri="{FF2B5EF4-FFF2-40B4-BE49-F238E27FC236}">
                <a16:creationId xmlns:a16="http://schemas.microsoft.com/office/drawing/2014/main" id="{7F0B2E6B-38E5-EBA1-B889-FBB61B7CB675}"/>
              </a:ext>
            </a:extLst>
          </p:cNvPr>
          <p:cNvSpPr>
            <a:spLocks noChangeShapeType="1"/>
          </p:cNvSpPr>
          <p:nvPr userDrawn="1"/>
        </p:nvSpPr>
        <p:spPr bwMode="auto">
          <a:xfrm>
            <a:off x="3174229" y="2424225"/>
            <a:ext cx="7904922" cy="0"/>
          </a:xfrm>
          <a:prstGeom prst="line">
            <a:avLst/>
          </a:prstGeom>
          <a:noFill/>
          <a:ln w="19050" cap="flat">
            <a:solidFill>
              <a:schemeClr val="accent6">
                <a:lumMod val="10000"/>
                <a:alpha val="1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a:p>
        </p:txBody>
      </p:sp>
      <p:sp>
        <p:nvSpPr>
          <p:cNvPr id="19" name="Line 16">
            <a:extLst>
              <a:ext uri="{FF2B5EF4-FFF2-40B4-BE49-F238E27FC236}">
                <a16:creationId xmlns:a16="http://schemas.microsoft.com/office/drawing/2014/main" id="{85DF397F-7561-E39F-6215-743F91955A94}"/>
              </a:ext>
            </a:extLst>
          </p:cNvPr>
          <p:cNvSpPr>
            <a:spLocks noChangeShapeType="1"/>
          </p:cNvSpPr>
          <p:nvPr userDrawn="1"/>
        </p:nvSpPr>
        <p:spPr bwMode="auto">
          <a:xfrm>
            <a:off x="3174229" y="2964212"/>
            <a:ext cx="7904922" cy="0"/>
          </a:xfrm>
          <a:prstGeom prst="line">
            <a:avLst/>
          </a:prstGeom>
          <a:noFill/>
          <a:ln w="19050" cap="flat">
            <a:solidFill>
              <a:schemeClr val="accent6">
                <a:lumMod val="10000"/>
                <a:alpha val="1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a:p>
        </p:txBody>
      </p:sp>
      <p:sp>
        <p:nvSpPr>
          <p:cNvPr id="20" name="Line 17">
            <a:extLst>
              <a:ext uri="{FF2B5EF4-FFF2-40B4-BE49-F238E27FC236}">
                <a16:creationId xmlns:a16="http://schemas.microsoft.com/office/drawing/2014/main" id="{517D710E-1B31-E93C-71F0-47636DFD2A79}"/>
              </a:ext>
            </a:extLst>
          </p:cNvPr>
          <p:cNvSpPr>
            <a:spLocks noChangeShapeType="1"/>
          </p:cNvSpPr>
          <p:nvPr userDrawn="1"/>
        </p:nvSpPr>
        <p:spPr bwMode="auto">
          <a:xfrm>
            <a:off x="3174229" y="3504200"/>
            <a:ext cx="7904922" cy="0"/>
          </a:xfrm>
          <a:prstGeom prst="line">
            <a:avLst/>
          </a:prstGeom>
          <a:noFill/>
          <a:ln w="19050" cap="flat">
            <a:solidFill>
              <a:schemeClr val="accent6">
                <a:lumMod val="10000"/>
                <a:alpha val="1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a:p>
        </p:txBody>
      </p:sp>
      <p:sp>
        <p:nvSpPr>
          <p:cNvPr id="22" name="Line 18">
            <a:extLst>
              <a:ext uri="{FF2B5EF4-FFF2-40B4-BE49-F238E27FC236}">
                <a16:creationId xmlns:a16="http://schemas.microsoft.com/office/drawing/2014/main" id="{0454B41C-BF44-DB2E-36F9-40293D621CC8}"/>
              </a:ext>
            </a:extLst>
          </p:cNvPr>
          <p:cNvSpPr>
            <a:spLocks noChangeShapeType="1"/>
          </p:cNvSpPr>
          <p:nvPr userDrawn="1"/>
        </p:nvSpPr>
        <p:spPr bwMode="auto">
          <a:xfrm>
            <a:off x="3174229" y="4044187"/>
            <a:ext cx="7904922" cy="0"/>
          </a:xfrm>
          <a:prstGeom prst="line">
            <a:avLst/>
          </a:prstGeom>
          <a:noFill/>
          <a:ln w="19050" cap="flat">
            <a:solidFill>
              <a:schemeClr val="accent6">
                <a:lumMod val="10000"/>
                <a:alpha val="1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a:p>
        </p:txBody>
      </p:sp>
      <p:sp>
        <p:nvSpPr>
          <p:cNvPr id="23" name="Line 19">
            <a:extLst>
              <a:ext uri="{FF2B5EF4-FFF2-40B4-BE49-F238E27FC236}">
                <a16:creationId xmlns:a16="http://schemas.microsoft.com/office/drawing/2014/main" id="{D79CA292-D23D-D3E2-A2E7-1B97FF8CD8D5}"/>
              </a:ext>
            </a:extLst>
          </p:cNvPr>
          <p:cNvSpPr>
            <a:spLocks noChangeShapeType="1"/>
          </p:cNvSpPr>
          <p:nvPr userDrawn="1"/>
        </p:nvSpPr>
        <p:spPr bwMode="auto">
          <a:xfrm>
            <a:off x="3174229" y="4584175"/>
            <a:ext cx="7904922" cy="0"/>
          </a:xfrm>
          <a:prstGeom prst="line">
            <a:avLst/>
          </a:prstGeom>
          <a:noFill/>
          <a:ln w="19050" cap="flat">
            <a:solidFill>
              <a:schemeClr val="accent6">
                <a:lumMod val="10000"/>
                <a:alpha val="1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a:p>
        </p:txBody>
      </p:sp>
      <p:sp>
        <p:nvSpPr>
          <p:cNvPr id="24" name="Line 20">
            <a:extLst>
              <a:ext uri="{FF2B5EF4-FFF2-40B4-BE49-F238E27FC236}">
                <a16:creationId xmlns:a16="http://schemas.microsoft.com/office/drawing/2014/main" id="{8867A3BA-1518-4898-D3D5-94788A45FB67}"/>
              </a:ext>
            </a:extLst>
          </p:cNvPr>
          <p:cNvSpPr>
            <a:spLocks noChangeShapeType="1"/>
          </p:cNvSpPr>
          <p:nvPr userDrawn="1"/>
        </p:nvSpPr>
        <p:spPr bwMode="auto">
          <a:xfrm>
            <a:off x="3174229" y="5124161"/>
            <a:ext cx="7904923" cy="0"/>
          </a:xfrm>
          <a:prstGeom prst="line">
            <a:avLst/>
          </a:prstGeom>
          <a:noFill/>
          <a:ln w="19050" cap="flat">
            <a:solidFill>
              <a:schemeClr val="accent6">
                <a:lumMod val="10000"/>
                <a:alpha val="1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a:p>
        </p:txBody>
      </p:sp>
      <p:sp>
        <p:nvSpPr>
          <p:cNvPr id="25" name="Freeform 22">
            <a:extLst>
              <a:ext uri="{FF2B5EF4-FFF2-40B4-BE49-F238E27FC236}">
                <a16:creationId xmlns:a16="http://schemas.microsoft.com/office/drawing/2014/main" id="{D4F57C3E-8DF9-1376-E16A-F7858820436C}"/>
              </a:ext>
            </a:extLst>
          </p:cNvPr>
          <p:cNvSpPr>
            <a:spLocks noChangeArrowheads="1"/>
          </p:cNvSpPr>
          <p:nvPr userDrawn="1"/>
        </p:nvSpPr>
        <p:spPr bwMode="auto">
          <a:xfrm>
            <a:off x="3147955" y="1409909"/>
            <a:ext cx="47737" cy="5067091"/>
          </a:xfrm>
          <a:custGeom>
            <a:avLst/>
            <a:gdLst>
              <a:gd name="T0" fmla="*/ 92 w 93"/>
              <a:gd name="T1" fmla="*/ 12763 h 12764"/>
              <a:gd name="T2" fmla="*/ 0 w 93"/>
              <a:gd name="T3" fmla="*/ 12763 h 12764"/>
              <a:gd name="T4" fmla="*/ 0 w 93"/>
              <a:gd name="T5" fmla="*/ 0 h 12764"/>
              <a:gd name="T6" fmla="*/ 92 w 93"/>
              <a:gd name="T7" fmla="*/ 0 h 12764"/>
              <a:gd name="T8" fmla="*/ 92 w 93"/>
              <a:gd name="T9" fmla="*/ 12763 h 12764"/>
            </a:gdLst>
            <a:ahLst/>
            <a:cxnLst>
              <a:cxn ang="0">
                <a:pos x="T0" y="T1"/>
              </a:cxn>
              <a:cxn ang="0">
                <a:pos x="T2" y="T3"/>
              </a:cxn>
              <a:cxn ang="0">
                <a:pos x="T4" y="T5"/>
              </a:cxn>
              <a:cxn ang="0">
                <a:pos x="T6" y="T7"/>
              </a:cxn>
              <a:cxn ang="0">
                <a:pos x="T8" y="T9"/>
              </a:cxn>
            </a:cxnLst>
            <a:rect l="0" t="0" r="r" b="b"/>
            <a:pathLst>
              <a:path w="93" h="12764">
                <a:moveTo>
                  <a:pt x="92" y="12763"/>
                </a:moveTo>
                <a:lnTo>
                  <a:pt x="0" y="12763"/>
                </a:lnTo>
                <a:lnTo>
                  <a:pt x="0" y="0"/>
                </a:lnTo>
                <a:lnTo>
                  <a:pt x="92" y="0"/>
                </a:lnTo>
                <a:lnTo>
                  <a:pt x="92" y="12763"/>
                </a:lnTo>
              </a:path>
            </a:pathLst>
          </a:custGeom>
          <a:solidFill>
            <a:schemeClr val="accent6">
              <a:lumMod val="10000"/>
              <a:alpha val="10000"/>
            </a:schemeClr>
          </a:solidFill>
          <a:ln>
            <a:noFill/>
          </a:ln>
          <a:effectLst/>
          <a:extLst>
            <a:ext uri="{91240B29-F687-4F45-9708-019B960494DF}">
              <a14:hiddenLine xmlns:a14="http://schemas.microsoft.com/office/drawing/2010/main" w="9525" cap="flat">
                <a:solidFill>
                  <a:srgbClr val="809BA6"/>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26" name="Freeform 4">
            <a:extLst>
              <a:ext uri="{FF2B5EF4-FFF2-40B4-BE49-F238E27FC236}">
                <a16:creationId xmlns:a16="http://schemas.microsoft.com/office/drawing/2014/main" id="{C367E1C9-28B8-2D45-9D5D-B76B0C12C879}"/>
              </a:ext>
            </a:extLst>
          </p:cNvPr>
          <p:cNvSpPr>
            <a:spLocks noChangeArrowheads="1"/>
          </p:cNvSpPr>
          <p:nvPr userDrawn="1"/>
        </p:nvSpPr>
        <p:spPr bwMode="auto">
          <a:xfrm>
            <a:off x="9120823" y="1409909"/>
            <a:ext cx="1982198" cy="446324"/>
          </a:xfrm>
          <a:custGeom>
            <a:avLst/>
            <a:gdLst>
              <a:gd name="T0" fmla="*/ 3845 w 3846"/>
              <a:gd name="T1" fmla="*/ 1123 h 1124"/>
              <a:gd name="T2" fmla="*/ 0 w 3846"/>
              <a:gd name="T3" fmla="*/ 1123 h 1124"/>
              <a:gd name="T4" fmla="*/ 0 w 3846"/>
              <a:gd name="T5" fmla="*/ 0 h 1124"/>
              <a:gd name="T6" fmla="*/ 3845 w 3846"/>
              <a:gd name="T7" fmla="*/ 0 h 1124"/>
              <a:gd name="T8" fmla="*/ 3845 w 3846"/>
              <a:gd name="T9" fmla="*/ 1123 h 1124"/>
            </a:gdLst>
            <a:ahLst/>
            <a:cxnLst>
              <a:cxn ang="0">
                <a:pos x="T0" y="T1"/>
              </a:cxn>
              <a:cxn ang="0">
                <a:pos x="T2" y="T3"/>
              </a:cxn>
              <a:cxn ang="0">
                <a:pos x="T4" y="T5"/>
              </a:cxn>
              <a:cxn ang="0">
                <a:pos x="T6" y="T7"/>
              </a:cxn>
              <a:cxn ang="0">
                <a:pos x="T8" y="T9"/>
              </a:cxn>
            </a:cxnLst>
            <a:rect l="0" t="0" r="r" b="b"/>
            <a:pathLst>
              <a:path w="3846" h="1124">
                <a:moveTo>
                  <a:pt x="3845" y="1123"/>
                </a:moveTo>
                <a:lnTo>
                  <a:pt x="0" y="1123"/>
                </a:lnTo>
                <a:lnTo>
                  <a:pt x="0" y="0"/>
                </a:lnTo>
                <a:lnTo>
                  <a:pt x="3845" y="0"/>
                </a:lnTo>
                <a:lnTo>
                  <a:pt x="3845" y="1123"/>
                </a:lnTo>
              </a:path>
            </a:pathLst>
          </a:custGeom>
          <a:solidFill>
            <a:schemeClr val="accent4"/>
          </a:solidFill>
          <a:ln>
            <a:noFill/>
          </a:ln>
          <a:effectLst/>
        </p:spPr>
        <p:txBody>
          <a:bodyPr wrap="none" anchor="ctr"/>
          <a:lstStyle/>
          <a:p>
            <a:endParaRPr lang="en-US" sz="3266"/>
          </a:p>
        </p:txBody>
      </p:sp>
      <p:sp>
        <p:nvSpPr>
          <p:cNvPr id="27" name="Freeform 8">
            <a:extLst>
              <a:ext uri="{FF2B5EF4-FFF2-40B4-BE49-F238E27FC236}">
                <a16:creationId xmlns:a16="http://schemas.microsoft.com/office/drawing/2014/main" id="{A4EAFDA5-9648-4724-402C-28B80D0AA457}"/>
              </a:ext>
            </a:extLst>
          </p:cNvPr>
          <p:cNvSpPr>
            <a:spLocks noChangeArrowheads="1"/>
          </p:cNvSpPr>
          <p:nvPr userDrawn="1"/>
        </p:nvSpPr>
        <p:spPr bwMode="auto">
          <a:xfrm>
            <a:off x="3174229" y="1828228"/>
            <a:ext cx="7928792" cy="56010"/>
          </a:xfrm>
          <a:custGeom>
            <a:avLst/>
            <a:gdLst>
              <a:gd name="T0" fmla="*/ 11534 w 11535"/>
              <a:gd name="T1" fmla="*/ 138 h 139"/>
              <a:gd name="T2" fmla="*/ 0 w 11535"/>
              <a:gd name="T3" fmla="*/ 138 h 139"/>
              <a:gd name="T4" fmla="*/ 0 w 11535"/>
              <a:gd name="T5" fmla="*/ 0 h 139"/>
              <a:gd name="T6" fmla="*/ 11534 w 11535"/>
              <a:gd name="T7" fmla="*/ 0 h 139"/>
              <a:gd name="T8" fmla="*/ 11534 w 11535"/>
              <a:gd name="T9" fmla="*/ 138 h 139"/>
            </a:gdLst>
            <a:ahLst/>
            <a:cxnLst>
              <a:cxn ang="0">
                <a:pos x="T0" y="T1"/>
              </a:cxn>
              <a:cxn ang="0">
                <a:pos x="T2" y="T3"/>
              </a:cxn>
              <a:cxn ang="0">
                <a:pos x="T4" y="T5"/>
              </a:cxn>
              <a:cxn ang="0">
                <a:pos x="T6" y="T7"/>
              </a:cxn>
              <a:cxn ang="0">
                <a:pos x="T8" y="T9"/>
              </a:cxn>
            </a:cxnLst>
            <a:rect l="0" t="0" r="r" b="b"/>
            <a:pathLst>
              <a:path w="11535" h="139">
                <a:moveTo>
                  <a:pt x="11534" y="138"/>
                </a:moveTo>
                <a:lnTo>
                  <a:pt x="0" y="138"/>
                </a:lnTo>
                <a:lnTo>
                  <a:pt x="0" y="0"/>
                </a:lnTo>
                <a:lnTo>
                  <a:pt x="11534" y="0"/>
                </a:lnTo>
                <a:lnTo>
                  <a:pt x="11534" y="138"/>
                </a:lnTo>
              </a:path>
            </a:pathLst>
          </a:custGeom>
          <a:solidFill>
            <a:schemeClr val="accent6">
              <a:lumMod val="10000"/>
              <a:alpha val="1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28" name="Freeform 6">
            <a:extLst>
              <a:ext uri="{FF2B5EF4-FFF2-40B4-BE49-F238E27FC236}">
                <a16:creationId xmlns:a16="http://schemas.microsoft.com/office/drawing/2014/main" id="{233A0F3D-C4F1-6EEB-DF18-CB3F91104B56}"/>
              </a:ext>
            </a:extLst>
          </p:cNvPr>
          <p:cNvSpPr>
            <a:spLocks noChangeArrowheads="1"/>
          </p:cNvSpPr>
          <p:nvPr userDrawn="1"/>
        </p:nvSpPr>
        <p:spPr bwMode="auto">
          <a:xfrm>
            <a:off x="9096352" y="1409909"/>
            <a:ext cx="47737" cy="5067091"/>
          </a:xfrm>
          <a:custGeom>
            <a:avLst/>
            <a:gdLst>
              <a:gd name="T0" fmla="*/ 92 w 93"/>
              <a:gd name="T1" fmla="*/ 12763 h 12764"/>
              <a:gd name="T2" fmla="*/ 0 w 93"/>
              <a:gd name="T3" fmla="*/ 12763 h 12764"/>
              <a:gd name="T4" fmla="*/ 0 w 93"/>
              <a:gd name="T5" fmla="*/ 0 h 12764"/>
              <a:gd name="T6" fmla="*/ 92 w 93"/>
              <a:gd name="T7" fmla="*/ 0 h 12764"/>
              <a:gd name="T8" fmla="*/ 92 w 93"/>
              <a:gd name="T9" fmla="*/ 12763 h 12764"/>
            </a:gdLst>
            <a:ahLst/>
            <a:cxnLst>
              <a:cxn ang="0">
                <a:pos x="T0" y="T1"/>
              </a:cxn>
              <a:cxn ang="0">
                <a:pos x="T2" y="T3"/>
              </a:cxn>
              <a:cxn ang="0">
                <a:pos x="T4" y="T5"/>
              </a:cxn>
              <a:cxn ang="0">
                <a:pos x="T6" y="T7"/>
              </a:cxn>
              <a:cxn ang="0">
                <a:pos x="T8" y="T9"/>
              </a:cxn>
            </a:cxnLst>
            <a:rect l="0" t="0" r="r" b="b"/>
            <a:pathLst>
              <a:path w="93" h="12764">
                <a:moveTo>
                  <a:pt x="92" y="12763"/>
                </a:moveTo>
                <a:lnTo>
                  <a:pt x="0" y="12763"/>
                </a:lnTo>
                <a:lnTo>
                  <a:pt x="0" y="0"/>
                </a:lnTo>
                <a:lnTo>
                  <a:pt x="92" y="0"/>
                </a:lnTo>
                <a:lnTo>
                  <a:pt x="92" y="12763"/>
                </a:lnTo>
              </a:path>
            </a:pathLst>
          </a:custGeom>
          <a:solidFill>
            <a:schemeClr val="accent6">
              <a:lumMod val="10000"/>
              <a:alpha val="1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29" name="Freeform 10">
            <a:extLst>
              <a:ext uri="{FF2B5EF4-FFF2-40B4-BE49-F238E27FC236}">
                <a16:creationId xmlns:a16="http://schemas.microsoft.com/office/drawing/2014/main" id="{14CC2C52-BCE1-8969-F6CC-EA4042854A1C}"/>
              </a:ext>
            </a:extLst>
          </p:cNvPr>
          <p:cNvSpPr>
            <a:spLocks noChangeArrowheads="1"/>
          </p:cNvSpPr>
          <p:nvPr userDrawn="1"/>
        </p:nvSpPr>
        <p:spPr bwMode="auto">
          <a:xfrm>
            <a:off x="5468986" y="5913203"/>
            <a:ext cx="1357078" cy="428750"/>
          </a:xfrm>
          <a:prstGeom prst="roundRect">
            <a:avLst>
              <a:gd name="adj" fmla="val 13984"/>
            </a:avLst>
          </a:pr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33" name="Freeform 10">
            <a:extLst>
              <a:ext uri="{FF2B5EF4-FFF2-40B4-BE49-F238E27FC236}">
                <a16:creationId xmlns:a16="http://schemas.microsoft.com/office/drawing/2014/main" id="{736798AE-8C25-BB6A-1BD3-8D2DE66DD0AB}"/>
              </a:ext>
            </a:extLst>
          </p:cNvPr>
          <p:cNvSpPr>
            <a:spLocks noChangeArrowheads="1"/>
          </p:cNvSpPr>
          <p:nvPr userDrawn="1"/>
        </p:nvSpPr>
        <p:spPr bwMode="auto">
          <a:xfrm>
            <a:off x="7451183" y="5913203"/>
            <a:ext cx="1357078" cy="428750"/>
          </a:xfrm>
          <a:prstGeom prst="roundRect">
            <a:avLst>
              <a:gd name="adj" fmla="val 13984"/>
            </a:avLst>
          </a:pr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34" name="Freeform 10">
            <a:extLst>
              <a:ext uri="{FF2B5EF4-FFF2-40B4-BE49-F238E27FC236}">
                <a16:creationId xmlns:a16="http://schemas.microsoft.com/office/drawing/2014/main" id="{F94A2D10-56ED-3EA2-5C7F-FCA5160B457E}"/>
              </a:ext>
            </a:extLst>
          </p:cNvPr>
          <p:cNvSpPr>
            <a:spLocks noChangeArrowheads="1"/>
          </p:cNvSpPr>
          <p:nvPr userDrawn="1"/>
        </p:nvSpPr>
        <p:spPr bwMode="auto">
          <a:xfrm>
            <a:off x="9433383" y="5913203"/>
            <a:ext cx="1357078" cy="428750"/>
          </a:xfrm>
          <a:prstGeom prst="roundRect">
            <a:avLst>
              <a:gd name="adj" fmla="val 13984"/>
            </a:avLst>
          </a:pr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35" name="Freeform 6">
            <a:extLst>
              <a:ext uri="{FF2B5EF4-FFF2-40B4-BE49-F238E27FC236}">
                <a16:creationId xmlns:a16="http://schemas.microsoft.com/office/drawing/2014/main" id="{7965B916-7507-871B-0478-70AB945CBC19}"/>
              </a:ext>
            </a:extLst>
          </p:cNvPr>
          <p:cNvSpPr>
            <a:spLocks noChangeArrowheads="1"/>
          </p:cNvSpPr>
          <p:nvPr userDrawn="1"/>
        </p:nvSpPr>
        <p:spPr bwMode="auto">
          <a:xfrm>
            <a:off x="11079173" y="1409909"/>
            <a:ext cx="47737" cy="5067091"/>
          </a:xfrm>
          <a:custGeom>
            <a:avLst/>
            <a:gdLst>
              <a:gd name="T0" fmla="*/ 92 w 93"/>
              <a:gd name="T1" fmla="*/ 12763 h 12764"/>
              <a:gd name="T2" fmla="*/ 0 w 93"/>
              <a:gd name="T3" fmla="*/ 12763 h 12764"/>
              <a:gd name="T4" fmla="*/ 0 w 93"/>
              <a:gd name="T5" fmla="*/ 0 h 12764"/>
              <a:gd name="T6" fmla="*/ 92 w 93"/>
              <a:gd name="T7" fmla="*/ 0 h 12764"/>
              <a:gd name="T8" fmla="*/ 92 w 93"/>
              <a:gd name="T9" fmla="*/ 12763 h 12764"/>
            </a:gdLst>
            <a:ahLst/>
            <a:cxnLst>
              <a:cxn ang="0">
                <a:pos x="T0" y="T1"/>
              </a:cxn>
              <a:cxn ang="0">
                <a:pos x="T2" y="T3"/>
              </a:cxn>
              <a:cxn ang="0">
                <a:pos x="T4" y="T5"/>
              </a:cxn>
              <a:cxn ang="0">
                <a:pos x="T6" y="T7"/>
              </a:cxn>
              <a:cxn ang="0">
                <a:pos x="T8" y="T9"/>
              </a:cxn>
            </a:cxnLst>
            <a:rect l="0" t="0" r="r" b="b"/>
            <a:pathLst>
              <a:path w="93" h="12764">
                <a:moveTo>
                  <a:pt x="92" y="12763"/>
                </a:moveTo>
                <a:lnTo>
                  <a:pt x="0" y="12763"/>
                </a:lnTo>
                <a:lnTo>
                  <a:pt x="0" y="0"/>
                </a:lnTo>
                <a:lnTo>
                  <a:pt x="92" y="0"/>
                </a:lnTo>
                <a:lnTo>
                  <a:pt x="92" y="12763"/>
                </a:lnTo>
              </a:path>
            </a:pathLst>
          </a:custGeom>
          <a:solidFill>
            <a:schemeClr val="accent6">
              <a:lumMod val="10000"/>
              <a:alpha val="1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a:p>
        </p:txBody>
      </p:sp>
      <p:sp>
        <p:nvSpPr>
          <p:cNvPr id="90" name="Title 1">
            <a:extLst>
              <a:ext uri="{FF2B5EF4-FFF2-40B4-BE49-F238E27FC236}">
                <a16:creationId xmlns:a16="http://schemas.microsoft.com/office/drawing/2014/main" id="{CA4E3F22-3004-1D10-7BED-15A2073BA229}"/>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
        <p:nvSpPr>
          <p:cNvPr id="91" name="Text Placeholder 35">
            <a:extLst>
              <a:ext uri="{FF2B5EF4-FFF2-40B4-BE49-F238E27FC236}">
                <a16:creationId xmlns:a16="http://schemas.microsoft.com/office/drawing/2014/main" id="{793BE88D-DEEF-66EF-86CF-B36457D60439}"/>
              </a:ext>
            </a:extLst>
          </p:cNvPr>
          <p:cNvSpPr>
            <a:spLocks noGrp="1"/>
          </p:cNvSpPr>
          <p:nvPr>
            <p:ph type="body" sz="quarter" idx="22" hasCustomPrompt="1"/>
          </p:nvPr>
        </p:nvSpPr>
        <p:spPr>
          <a:xfrm>
            <a:off x="1065090" y="1473029"/>
            <a:ext cx="2082864" cy="331694"/>
          </a:xfrm>
        </p:spPr>
        <p:txBody>
          <a:bodyPr anchor="ctr">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93" name="Text Placeholder 35">
            <a:extLst>
              <a:ext uri="{FF2B5EF4-FFF2-40B4-BE49-F238E27FC236}">
                <a16:creationId xmlns:a16="http://schemas.microsoft.com/office/drawing/2014/main" id="{CFD81B35-88A7-C225-DB23-0BBE6B06C899}"/>
              </a:ext>
            </a:extLst>
          </p:cNvPr>
          <p:cNvSpPr>
            <a:spLocks noGrp="1"/>
          </p:cNvSpPr>
          <p:nvPr>
            <p:ph type="body" sz="quarter" idx="23" hasCustomPrompt="1"/>
          </p:nvPr>
        </p:nvSpPr>
        <p:spPr>
          <a:xfrm>
            <a:off x="3172425" y="1473029"/>
            <a:ext cx="1972020" cy="331694"/>
          </a:xfrm>
        </p:spPr>
        <p:txBody>
          <a:bodyPr anchor="ctr">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96" name="Text Placeholder 35">
            <a:extLst>
              <a:ext uri="{FF2B5EF4-FFF2-40B4-BE49-F238E27FC236}">
                <a16:creationId xmlns:a16="http://schemas.microsoft.com/office/drawing/2014/main" id="{DA81AF91-2EDF-15A9-A82B-AFABA6E9ECFC}"/>
              </a:ext>
            </a:extLst>
          </p:cNvPr>
          <p:cNvSpPr>
            <a:spLocks noGrp="1"/>
          </p:cNvSpPr>
          <p:nvPr>
            <p:ph type="body" sz="quarter" idx="24" hasCustomPrompt="1"/>
          </p:nvPr>
        </p:nvSpPr>
        <p:spPr>
          <a:xfrm>
            <a:off x="5150312" y="1473029"/>
            <a:ext cx="1972020" cy="331694"/>
          </a:xfrm>
        </p:spPr>
        <p:txBody>
          <a:bodyPr anchor="ctr">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97" name="Text Placeholder 35">
            <a:extLst>
              <a:ext uri="{FF2B5EF4-FFF2-40B4-BE49-F238E27FC236}">
                <a16:creationId xmlns:a16="http://schemas.microsoft.com/office/drawing/2014/main" id="{813C72F8-8820-8BF8-08FB-34037CD54589}"/>
              </a:ext>
            </a:extLst>
          </p:cNvPr>
          <p:cNvSpPr>
            <a:spLocks noGrp="1"/>
          </p:cNvSpPr>
          <p:nvPr>
            <p:ph type="body" sz="quarter" idx="25" hasCustomPrompt="1"/>
          </p:nvPr>
        </p:nvSpPr>
        <p:spPr>
          <a:xfrm>
            <a:off x="7148077" y="1473029"/>
            <a:ext cx="1972020" cy="331694"/>
          </a:xfrm>
        </p:spPr>
        <p:txBody>
          <a:bodyPr anchor="ctr">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98" name="Text Placeholder 35">
            <a:extLst>
              <a:ext uri="{FF2B5EF4-FFF2-40B4-BE49-F238E27FC236}">
                <a16:creationId xmlns:a16="http://schemas.microsoft.com/office/drawing/2014/main" id="{86170B99-3893-2247-B258-107067566248}"/>
              </a:ext>
            </a:extLst>
          </p:cNvPr>
          <p:cNvSpPr>
            <a:spLocks noGrp="1"/>
          </p:cNvSpPr>
          <p:nvPr>
            <p:ph type="body" sz="quarter" idx="26" hasCustomPrompt="1"/>
          </p:nvPr>
        </p:nvSpPr>
        <p:spPr>
          <a:xfrm>
            <a:off x="9116025" y="1473029"/>
            <a:ext cx="1972020" cy="331694"/>
          </a:xfrm>
        </p:spPr>
        <p:txBody>
          <a:bodyPr anchor="ctr">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99" name="Text Placeholder 2">
            <a:extLst>
              <a:ext uri="{FF2B5EF4-FFF2-40B4-BE49-F238E27FC236}">
                <a16:creationId xmlns:a16="http://schemas.microsoft.com/office/drawing/2014/main" id="{0C577B5C-C94C-E8A8-2289-E8010175C597}"/>
              </a:ext>
            </a:extLst>
          </p:cNvPr>
          <p:cNvSpPr>
            <a:spLocks noGrp="1"/>
          </p:cNvSpPr>
          <p:nvPr>
            <p:ph type="body" idx="57" hasCustomPrompt="1"/>
          </p:nvPr>
        </p:nvSpPr>
        <p:spPr>
          <a:xfrm>
            <a:off x="3171823" y="1883425"/>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00" name="Text Placeholder 2">
            <a:extLst>
              <a:ext uri="{FF2B5EF4-FFF2-40B4-BE49-F238E27FC236}">
                <a16:creationId xmlns:a16="http://schemas.microsoft.com/office/drawing/2014/main" id="{55F48D93-2878-7452-0E83-CD9264351B30}"/>
              </a:ext>
            </a:extLst>
          </p:cNvPr>
          <p:cNvSpPr>
            <a:spLocks noGrp="1"/>
          </p:cNvSpPr>
          <p:nvPr>
            <p:ph type="body" idx="58" hasCustomPrompt="1"/>
          </p:nvPr>
        </p:nvSpPr>
        <p:spPr>
          <a:xfrm>
            <a:off x="5159649" y="1883425"/>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02" name="Text Placeholder 2">
            <a:extLst>
              <a:ext uri="{FF2B5EF4-FFF2-40B4-BE49-F238E27FC236}">
                <a16:creationId xmlns:a16="http://schemas.microsoft.com/office/drawing/2014/main" id="{1D79A551-4470-36BF-DD92-858BDA82E91A}"/>
              </a:ext>
            </a:extLst>
          </p:cNvPr>
          <p:cNvSpPr>
            <a:spLocks noGrp="1"/>
          </p:cNvSpPr>
          <p:nvPr>
            <p:ph type="body" idx="59" hasCustomPrompt="1"/>
          </p:nvPr>
        </p:nvSpPr>
        <p:spPr>
          <a:xfrm>
            <a:off x="7147475" y="1883425"/>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03" name="Text Placeholder 2">
            <a:extLst>
              <a:ext uri="{FF2B5EF4-FFF2-40B4-BE49-F238E27FC236}">
                <a16:creationId xmlns:a16="http://schemas.microsoft.com/office/drawing/2014/main" id="{74853D50-4673-80B0-60A8-E76331C4393C}"/>
              </a:ext>
            </a:extLst>
          </p:cNvPr>
          <p:cNvSpPr>
            <a:spLocks noGrp="1"/>
          </p:cNvSpPr>
          <p:nvPr>
            <p:ph type="body" idx="60" hasCustomPrompt="1"/>
          </p:nvPr>
        </p:nvSpPr>
        <p:spPr>
          <a:xfrm>
            <a:off x="9135301" y="1883425"/>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05" name="Text Placeholder 2">
            <a:extLst>
              <a:ext uri="{FF2B5EF4-FFF2-40B4-BE49-F238E27FC236}">
                <a16:creationId xmlns:a16="http://schemas.microsoft.com/office/drawing/2014/main" id="{56483590-C975-5FA9-759B-068FD4025723}"/>
              </a:ext>
            </a:extLst>
          </p:cNvPr>
          <p:cNvSpPr>
            <a:spLocks noGrp="1"/>
          </p:cNvSpPr>
          <p:nvPr>
            <p:ph type="body" idx="61" hasCustomPrompt="1"/>
          </p:nvPr>
        </p:nvSpPr>
        <p:spPr>
          <a:xfrm>
            <a:off x="3171823" y="2440016"/>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06" name="Text Placeholder 2">
            <a:extLst>
              <a:ext uri="{FF2B5EF4-FFF2-40B4-BE49-F238E27FC236}">
                <a16:creationId xmlns:a16="http://schemas.microsoft.com/office/drawing/2014/main" id="{ED105913-8A99-AD2C-30FA-F6B90B6C0335}"/>
              </a:ext>
            </a:extLst>
          </p:cNvPr>
          <p:cNvSpPr>
            <a:spLocks noGrp="1"/>
          </p:cNvSpPr>
          <p:nvPr>
            <p:ph type="body" idx="62" hasCustomPrompt="1"/>
          </p:nvPr>
        </p:nvSpPr>
        <p:spPr>
          <a:xfrm>
            <a:off x="5159649" y="2440016"/>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07" name="Text Placeholder 2">
            <a:extLst>
              <a:ext uri="{FF2B5EF4-FFF2-40B4-BE49-F238E27FC236}">
                <a16:creationId xmlns:a16="http://schemas.microsoft.com/office/drawing/2014/main" id="{E562FEF3-74DB-1A09-B3C2-44134C4D6643}"/>
              </a:ext>
            </a:extLst>
          </p:cNvPr>
          <p:cNvSpPr>
            <a:spLocks noGrp="1"/>
          </p:cNvSpPr>
          <p:nvPr>
            <p:ph type="body" idx="63" hasCustomPrompt="1"/>
          </p:nvPr>
        </p:nvSpPr>
        <p:spPr>
          <a:xfrm>
            <a:off x="7147475" y="2440016"/>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08" name="Text Placeholder 2">
            <a:extLst>
              <a:ext uri="{FF2B5EF4-FFF2-40B4-BE49-F238E27FC236}">
                <a16:creationId xmlns:a16="http://schemas.microsoft.com/office/drawing/2014/main" id="{49E957AA-6E18-6664-AE80-CF873057EE27}"/>
              </a:ext>
            </a:extLst>
          </p:cNvPr>
          <p:cNvSpPr>
            <a:spLocks noGrp="1"/>
          </p:cNvSpPr>
          <p:nvPr>
            <p:ph type="body" idx="64" hasCustomPrompt="1"/>
          </p:nvPr>
        </p:nvSpPr>
        <p:spPr>
          <a:xfrm>
            <a:off x="9135301" y="2440016"/>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11" name="Line 15">
            <a:extLst>
              <a:ext uri="{FF2B5EF4-FFF2-40B4-BE49-F238E27FC236}">
                <a16:creationId xmlns:a16="http://schemas.microsoft.com/office/drawing/2014/main" id="{CAC3E8BD-4E5C-48B3-9FED-5872EDC27797}"/>
              </a:ext>
            </a:extLst>
          </p:cNvPr>
          <p:cNvSpPr>
            <a:spLocks noChangeShapeType="1"/>
          </p:cNvSpPr>
          <p:nvPr userDrawn="1"/>
        </p:nvSpPr>
        <p:spPr bwMode="auto">
          <a:xfrm>
            <a:off x="3174229" y="3497651"/>
            <a:ext cx="7904922" cy="0"/>
          </a:xfrm>
          <a:prstGeom prst="line">
            <a:avLst/>
          </a:prstGeom>
          <a:noFill/>
          <a:ln w="19050" cap="flat">
            <a:solidFill>
              <a:schemeClr val="accent6">
                <a:lumMod val="10000"/>
                <a:alpha val="1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a:p>
        </p:txBody>
      </p:sp>
      <p:sp>
        <p:nvSpPr>
          <p:cNvPr id="112" name="Line 16">
            <a:extLst>
              <a:ext uri="{FF2B5EF4-FFF2-40B4-BE49-F238E27FC236}">
                <a16:creationId xmlns:a16="http://schemas.microsoft.com/office/drawing/2014/main" id="{4183EBE9-73BA-18E5-BD21-A01963755725}"/>
              </a:ext>
            </a:extLst>
          </p:cNvPr>
          <p:cNvSpPr>
            <a:spLocks noChangeShapeType="1"/>
          </p:cNvSpPr>
          <p:nvPr userDrawn="1"/>
        </p:nvSpPr>
        <p:spPr bwMode="auto">
          <a:xfrm>
            <a:off x="3174229" y="4037638"/>
            <a:ext cx="7904922" cy="0"/>
          </a:xfrm>
          <a:prstGeom prst="line">
            <a:avLst/>
          </a:prstGeom>
          <a:noFill/>
          <a:ln w="19050" cap="flat">
            <a:solidFill>
              <a:schemeClr val="accent6">
                <a:lumMod val="10000"/>
                <a:alpha val="1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a:p>
        </p:txBody>
      </p:sp>
      <p:sp>
        <p:nvSpPr>
          <p:cNvPr id="113" name="Text Placeholder 2">
            <a:extLst>
              <a:ext uri="{FF2B5EF4-FFF2-40B4-BE49-F238E27FC236}">
                <a16:creationId xmlns:a16="http://schemas.microsoft.com/office/drawing/2014/main" id="{2085CCF0-3870-C599-67B1-9D9BCAB6B7EE}"/>
              </a:ext>
            </a:extLst>
          </p:cNvPr>
          <p:cNvSpPr>
            <a:spLocks noGrp="1"/>
          </p:cNvSpPr>
          <p:nvPr>
            <p:ph type="body" idx="65" hasCustomPrompt="1"/>
          </p:nvPr>
        </p:nvSpPr>
        <p:spPr>
          <a:xfrm>
            <a:off x="3171823" y="2956851"/>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14" name="Text Placeholder 2">
            <a:extLst>
              <a:ext uri="{FF2B5EF4-FFF2-40B4-BE49-F238E27FC236}">
                <a16:creationId xmlns:a16="http://schemas.microsoft.com/office/drawing/2014/main" id="{ECD01766-8A52-5C93-2E1F-D822ABC797B4}"/>
              </a:ext>
            </a:extLst>
          </p:cNvPr>
          <p:cNvSpPr>
            <a:spLocks noGrp="1"/>
          </p:cNvSpPr>
          <p:nvPr>
            <p:ph type="body" idx="66" hasCustomPrompt="1"/>
          </p:nvPr>
        </p:nvSpPr>
        <p:spPr>
          <a:xfrm>
            <a:off x="5159649" y="2956851"/>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15" name="Text Placeholder 2">
            <a:extLst>
              <a:ext uri="{FF2B5EF4-FFF2-40B4-BE49-F238E27FC236}">
                <a16:creationId xmlns:a16="http://schemas.microsoft.com/office/drawing/2014/main" id="{AF66F7E2-5EAF-63CD-D6F3-B8458F005A9F}"/>
              </a:ext>
            </a:extLst>
          </p:cNvPr>
          <p:cNvSpPr>
            <a:spLocks noGrp="1"/>
          </p:cNvSpPr>
          <p:nvPr>
            <p:ph type="body" idx="67" hasCustomPrompt="1"/>
          </p:nvPr>
        </p:nvSpPr>
        <p:spPr>
          <a:xfrm>
            <a:off x="7147475" y="2956851"/>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16" name="Text Placeholder 2">
            <a:extLst>
              <a:ext uri="{FF2B5EF4-FFF2-40B4-BE49-F238E27FC236}">
                <a16:creationId xmlns:a16="http://schemas.microsoft.com/office/drawing/2014/main" id="{D20FD4AF-C177-84BE-BB76-4AB05EF1227A}"/>
              </a:ext>
            </a:extLst>
          </p:cNvPr>
          <p:cNvSpPr>
            <a:spLocks noGrp="1"/>
          </p:cNvSpPr>
          <p:nvPr>
            <p:ph type="body" idx="68" hasCustomPrompt="1"/>
          </p:nvPr>
        </p:nvSpPr>
        <p:spPr>
          <a:xfrm>
            <a:off x="9135301" y="2956851"/>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17" name="Text Placeholder 2">
            <a:extLst>
              <a:ext uri="{FF2B5EF4-FFF2-40B4-BE49-F238E27FC236}">
                <a16:creationId xmlns:a16="http://schemas.microsoft.com/office/drawing/2014/main" id="{11F8E2A8-07F1-1EB1-8004-6A3128CC656C}"/>
              </a:ext>
            </a:extLst>
          </p:cNvPr>
          <p:cNvSpPr>
            <a:spLocks noGrp="1"/>
          </p:cNvSpPr>
          <p:nvPr>
            <p:ph type="body" idx="69" hasCustomPrompt="1"/>
          </p:nvPr>
        </p:nvSpPr>
        <p:spPr>
          <a:xfrm>
            <a:off x="3171823" y="3513442"/>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18" name="Text Placeholder 2">
            <a:extLst>
              <a:ext uri="{FF2B5EF4-FFF2-40B4-BE49-F238E27FC236}">
                <a16:creationId xmlns:a16="http://schemas.microsoft.com/office/drawing/2014/main" id="{56EE9B86-3538-9ED2-AF22-FFBE33F5B172}"/>
              </a:ext>
            </a:extLst>
          </p:cNvPr>
          <p:cNvSpPr>
            <a:spLocks noGrp="1"/>
          </p:cNvSpPr>
          <p:nvPr>
            <p:ph type="body" idx="70" hasCustomPrompt="1"/>
          </p:nvPr>
        </p:nvSpPr>
        <p:spPr>
          <a:xfrm>
            <a:off x="5159649" y="3513442"/>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19" name="Text Placeholder 2">
            <a:extLst>
              <a:ext uri="{FF2B5EF4-FFF2-40B4-BE49-F238E27FC236}">
                <a16:creationId xmlns:a16="http://schemas.microsoft.com/office/drawing/2014/main" id="{EEB91A9F-9997-2DDA-5EA7-9074C5BAFBA1}"/>
              </a:ext>
            </a:extLst>
          </p:cNvPr>
          <p:cNvSpPr>
            <a:spLocks noGrp="1"/>
          </p:cNvSpPr>
          <p:nvPr>
            <p:ph type="body" idx="71" hasCustomPrompt="1"/>
          </p:nvPr>
        </p:nvSpPr>
        <p:spPr>
          <a:xfrm>
            <a:off x="7147475" y="3513442"/>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20" name="Text Placeholder 2">
            <a:extLst>
              <a:ext uri="{FF2B5EF4-FFF2-40B4-BE49-F238E27FC236}">
                <a16:creationId xmlns:a16="http://schemas.microsoft.com/office/drawing/2014/main" id="{22DC8DE0-EB8A-05DD-B4EB-E22697D6D272}"/>
              </a:ext>
            </a:extLst>
          </p:cNvPr>
          <p:cNvSpPr>
            <a:spLocks noGrp="1"/>
          </p:cNvSpPr>
          <p:nvPr>
            <p:ph type="body" idx="72" hasCustomPrompt="1"/>
          </p:nvPr>
        </p:nvSpPr>
        <p:spPr>
          <a:xfrm>
            <a:off x="9135301" y="3513442"/>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21" name="Line 15">
            <a:extLst>
              <a:ext uri="{FF2B5EF4-FFF2-40B4-BE49-F238E27FC236}">
                <a16:creationId xmlns:a16="http://schemas.microsoft.com/office/drawing/2014/main" id="{5DCB5C06-D2FB-BDA4-9FCF-3C124CFF6BF5}"/>
              </a:ext>
            </a:extLst>
          </p:cNvPr>
          <p:cNvSpPr>
            <a:spLocks noChangeShapeType="1"/>
          </p:cNvSpPr>
          <p:nvPr userDrawn="1"/>
        </p:nvSpPr>
        <p:spPr bwMode="auto">
          <a:xfrm>
            <a:off x="3174229" y="4581017"/>
            <a:ext cx="7904922" cy="0"/>
          </a:xfrm>
          <a:prstGeom prst="line">
            <a:avLst/>
          </a:prstGeom>
          <a:noFill/>
          <a:ln w="19050" cap="flat">
            <a:solidFill>
              <a:schemeClr val="accent6">
                <a:lumMod val="10000"/>
                <a:alpha val="1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a:p>
        </p:txBody>
      </p:sp>
      <p:sp>
        <p:nvSpPr>
          <p:cNvPr id="122" name="Line 16">
            <a:extLst>
              <a:ext uri="{FF2B5EF4-FFF2-40B4-BE49-F238E27FC236}">
                <a16:creationId xmlns:a16="http://schemas.microsoft.com/office/drawing/2014/main" id="{65F87D26-CFFB-ABED-B132-A5E78E901AA1}"/>
              </a:ext>
            </a:extLst>
          </p:cNvPr>
          <p:cNvSpPr>
            <a:spLocks noChangeShapeType="1"/>
          </p:cNvSpPr>
          <p:nvPr userDrawn="1"/>
        </p:nvSpPr>
        <p:spPr bwMode="auto">
          <a:xfrm>
            <a:off x="3174229" y="5121004"/>
            <a:ext cx="7904922" cy="0"/>
          </a:xfrm>
          <a:prstGeom prst="line">
            <a:avLst/>
          </a:prstGeom>
          <a:noFill/>
          <a:ln w="19050" cap="flat">
            <a:solidFill>
              <a:schemeClr val="accent6">
                <a:lumMod val="10000"/>
                <a:alpha val="1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3266"/>
          </a:p>
        </p:txBody>
      </p:sp>
      <p:sp>
        <p:nvSpPr>
          <p:cNvPr id="123" name="Text Placeholder 2">
            <a:extLst>
              <a:ext uri="{FF2B5EF4-FFF2-40B4-BE49-F238E27FC236}">
                <a16:creationId xmlns:a16="http://schemas.microsoft.com/office/drawing/2014/main" id="{6E79B1AA-A6DB-00D4-93BD-CC2A4FE03ECA}"/>
              </a:ext>
            </a:extLst>
          </p:cNvPr>
          <p:cNvSpPr>
            <a:spLocks noGrp="1"/>
          </p:cNvSpPr>
          <p:nvPr>
            <p:ph type="body" idx="73" hasCustomPrompt="1"/>
          </p:nvPr>
        </p:nvSpPr>
        <p:spPr>
          <a:xfrm>
            <a:off x="3171823" y="4040217"/>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24" name="Text Placeholder 2">
            <a:extLst>
              <a:ext uri="{FF2B5EF4-FFF2-40B4-BE49-F238E27FC236}">
                <a16:creationId xmlns:a16="http://schemas.microsoft.com/office/drawing/2014/main" id="{0062D80A-5852-0247-FE2A-22250FFECFED}"/>
              </a:ext>
            </a:extLst>
          </p:cNvPr>
          <p:cNvSpPr>
            <a:spLocks noGrp="1"/>
          </p:cNvSpPr>
          <p:nvPr>
            <p:ph type="body" idx="74" hasCustomPrompt="1"/>
          </p:nvPr>
        </p:nvSpPr>
        <p:spPr>
          <a:xfrm>
            <a:off x="5159649" y="4040217"/>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25" name="Text Placeholder 2">
            <a:extLst>
              <a:ext uri="{FF2B5EF4-FFF2-40B4-BE49-F238E27FC236}">
                <a16:creationId xmlns:a16="http://schemas.microsoft.com/office/drawing/2014/main" id="{52C12738-E36E-F452-0463-498C50D4B5B5}"/>
              </a:ext>
            </a:extLst>
          </p:cNvPr>
          <p:cNvSpPr>
            <a:spLocks noGrp="1"/>
          </p:cNvSpPr>
          <p:nvPr>
            <p:ph type="body" idx="75" hasCustomPrompt="1"/>
          </p:nvPr>
        </p:nvSpPr>
        <p:spPr>
          <a:xfrm>
            <a:off x="7147475" y="4040217"/>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26" name="Text Placeholder 2">
            <a:extLst>
              <a:ext uri="{FF2B5EF4-FFF2-40B4-BE49-F238E27FC236}">
                <a16:creationId xmlns:a16="http://schemas.microsoft.com/office/drawing/2014/main" id="{0656274F-AF3F-B12A-508D-9BDEE2BC75C5}"/>
              </a:ext>
            </a:extLst>
          </p:cNvPr>
          <p:cNvSpPr>
            <a:spLocks noGrp="1"/>
          </p:cNvSpPr>
          <p:nvPr>
            <p:ph type="body" idx="76" hasCustomPrompt="1"/>
          </p:nvPr>
        </p:nvSpPr>
        <p:spPr>
          <a:xfrm>
            <a:off x="9135301" y="4040217"/>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27" name="Text Placeholder 2">
            <a:extLst>
              <a:ext uri="{FF2B5EF4-FFF2-40B4-BE49-F238E27FC236}">
                <a16:creationId xmlns:a16="http://schemas.microsoft.com/office/drawing/2014/main" id="{BC18D984-5BE4-445C-8F5B-AF734E4BCBFD}"/>
              </a:ext>
            </a:extLst>
          </p:cNvPr>
          <p:cNvSpPr>
            <a:spLocks noGrp="1"/>
          </p:cNvSpPr>
          <p:nvPr>
            <p:ph type="body" idx="77" hasCustomPrompt="1"/>
          </p:nvPr>
        </p:nvSpPr>
        <p:spPr>
          <a:xfrm>
            <a:off x="3171823" y="4596808"/>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28" name="Text Placeholder 2">
            <a:extLst>
              <a:ext uri="{FF2B5EF4-FFF2-40B4-BE49-F238E27FC236}">
                <a16:creationId xmlns:a16="http://schemas.microsoft.com/office/drawing/2014/main" id="{74FC4516-A413-24F6-2BB2-D217B6249B46}"/>
              </a:ext>
            </a:extLst>
          </p:cNvPr>
          <p:cNvSpPr>
            <a:spLocks noGrp="1"/>
          </p:cNvSpPr>
          <p:nvPr>
            <p:ph type="body" idx="78" hasCustomPrompt="1"/>
          </p:nvPr>
        </p:nvSpPr>
        <p:spPr>
          <a:xfrm>
            <a:off x="5159649" y="4596808"/>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29" name="Text Placeholder 2">
            <a:extLst>
              <a:ext uri="{FF2B5EF4-FFF2-40B4-BE49-F238E27FC236}">
                <a16:creationId xmlns:a16="http://schemas.microsoft.com/office/drawing/2014/main" id="{D560A082-C9AD-561F-7FA2-F0DAB63B2979}"/>
              </a:ext>
            </a:extLst>
          </p:cNvPr>
          <p:cNvSpPr>
            <a:spLocks noGrp="1"/>
          </p:cNvSpPr>
          <p:nvPr>
            <p:ph type="body" idx="79" hasCustomPrompt="1"/>
          </p:nvPr>
        </p:nvSpPr>
        <p:spPr>
          <a:xfrm>
            <a:off x="7147475" y="4596808"/>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30" name="Text Placeholder 2">
            <a:extLst>
              <a:ext uri="{FF2B5EF4-FFF2-40B4-BE49-F238E27FC236}">
                <a16:creationId xmlns:a16="http://schemas.microsoft.com/office/drawing/2014/main" id="{DCDD1483-7FAF-D4E4-1537-6AB2DF754E5F}"/>
              </a:ext>
            </a:extLst>
          </p:cNvPr>
          <p:cNvSpPr>
            <a:spLocks noGrp="1"/>
          </p:cNvSpPr>
          <p:nvPr>
            <p:ph type="body" idx="80" hasCustomPrompt="1"/>
          </p:nvPr>
        </p:nvSpPr>
        <p:spPr>
          <a:xfrm>
            <a:off x="9135301" y="4596808"/>
            <a:ext cx="1958909" cy="540795"/>
          </a:xfrm>
        </p:spPr>
        <p:txBody>
          <a:bodyPr anchor="ctr">
            <a:normAutofit/>
          </a:bodyPr>
          <a:lstStyle>
            <a:lvl1pPr marL="0" indent="0" algn="ct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31" name="Text Placeholder 2">
            <a:extLst>
              <a:ext uri="{FF2B5EF4-FFF2-40B4-BE49-F238E27FC236}">
                <a16:creationId xmlns:a16="http://schemas.microsoft.com/office/drawing/2014/main" id="{CFB4969E-F311-DD6F-E29D-D686712AA512}"/>
              </a:ext>
            </a:extLst>
          </p:cNvPr>
          <p:cNvSpPr>
            <a:spLocks noGrp="1"/>
          </p:cNvSpPr>
          <p:nvPr>
            <p:ph type="body" idx="81" hasCustomPrompt="1"/>
          </p:nvPr>
        </p:nvSpPr>
        <p:spPr>
          <a:xfrm>
            <a:off x="1144240" y="1883425"/>
            <a:ext cx="1958909" cy="540795"/>
          </a:xfrm>
        </p:spPr>
        <p:txBody>
          <a:bodyPr anchor="ctr">
            <a:normAutofit/>
          </a:bodyPr>
          <a:lstStyle>
            <a:lvl1pPr marL="0" indent="0" algn="ctr">
              <a:lnSpc>
                <a:spcPct val="150000"/>
              </a:lnSpc>
              <a:buNone/>
              <a:defRPr sz="11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32" name="Text Placeholder 2">
            <a:extLst>
              <a:ext uri="{FF2B5EF4-FFF2-40B4-BE49-F238E27FC236}">
                <a16:creationId xmlns:a16="http://schemas.microsoft.com/office/drawing/2014/main" id="{93EFD5E2-3E33-80A4-1D13-FE1D47B555BD}"/>
              </a:ext>
            </a:extLst>
          </p:cNvPr>
          <p:cNvSpPr>
            <a:spLocks noGrp="1"/>
          </p:cNvSpPr>
          <p:nvPr>
            <p:ph type="body" idx="82" hasCustomPrompt="1"/>
          </p:nvPr>
        </p:nvSpPr>
        <p:spPr>
          <a:xfrm>
            <a:off x="1144240" y="2440016"/>
            <a:ext cx="1958909" cy="540795"/>
          </a:xfrm>
        </p:spPr>
        <p:txBody>
          <a:bodyPr anchor="ctr">
            <a:normAutofit/>
          </a:bodyPr>
          <a:lstStyle>
            <a:lvl1pPr marL="0" indent="0" algn="ctr">
              <a:lnSpc>
                <a:spcPct val="150000"/>
              </a:lnSpc>
              <a:buNone/>
              <a:defRPr sz="11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33" name="Text Placeholder 2">
            <a:extLst>
              <a:ext uri="{FF2B5EF4-FFF2-40B4-BE49-F238E27FC236}">
                <a16:creationId xmlns:a16="http://schemas.microsoft.com/office/drawing/2014/main" id="{D50FADC2-FA56-2987-FB85-0C741BA7F402}"/>
              </a:ext>
            </a:extLst>
          </p:cNvPr>
          <p:cNvSpPr>
            <a:spLocks noGrp="1"/>
          </p:cNvSpPr>
          <p:nvPr>
            <p:ph type="body" idx="83" hasCustomPrompt="1"/>
          </p:nvPr>
        </p:nvSpPr>
        <p:spPr>
          <a:xfrm>
            <a:off x="1144240" y="2956851"/>
            <a:ext cx="1958909" cy="540795"/>
          </a:xfrm>
        </p:spPr>
        <p:txBody>
          <a:bodyPr anchor="ctr">
            <a:normAutofit/>
          </a:bodyPr>
          <a:lstStyle>
            <a:lvl1pPr marL="0" indent="0" algn="ctr">
              <a:lnSpc>
                <a:spcPct val="150000"/>
              </a:lnSpc>
              <a:buNone/>
              <a:defRPr sz="11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34" name="Text Placeholder 2">
            <a:extLst>
              <a:ext uri="{FF2B5EF4-FFF2-40B4-BE49-F238E27FC236}">
                <a16:creationId xmlns:a16="http://schemas.microsoft.com/office/drawing/2014/main" id="{6946C5FF-DFE2-7140-B7F6-7B904AE68474}"/>
              </a:ext>
            </a:extLst>
          </p:cNvPr>
          <p:cNvSpPr>
            <a:spLocks noGrp="1"/>
          </p:cNvSpPr>
          <p:nvPr>
            <p:ph type="body" idx="84" hasCustomPrompt="1"/>
          </p:nvPr>
        </p:nvSpPr>
        <p:spPr>
          <a:xfrm>
            <a:off x="1144240" y="3513442"/>
            <a:ext cx="1958909" cy="540795"/>
          </a:xfrm>
        </p:spPr>
        <p:txBody>
          <a:bodyPr anchor="ctr">
            <a:normAutofit/>
          </a:bodyPr>
          <a:lstStyle>
            <a:lvl1pPr marL="0" indent="0" algn="ctr">
              <a:lnSpc>
                <a:spcPct val="150000"/>
              </a:lnSpc>
              <a:buNone/>
              <a:defRPr sz="11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35" name="Text Placeholder 2">
            <a:extLst>
              <a:ext uri="{FF2B5EF4-FFF2-40B4-BE49-F238E27FC236}">
                <a16:creationId xmlns:a16="http://schemas.microsoft.com/office/drawing/2014/main" id="{287D6839-CDBE-8CFA-4A33-B1C9A66A120C}"/>
              </a:ext>
            </a:extLst>
          </p:cNvPr>
          <p:cNvSpPr>
            <a:spLocks noGrp="1"/>
          </p:cNvSpPr>
          <p:nvPr>
            <p:ph type="body" idx="85" hasCustomPrompt="1"/>
          </p:nvPr>
        </p:nvSpPr>
        <p:spPr>
          <a:xfrm>
            <a:off x="1144240" y="4040217"/>
            <a:ext cx="1958909" cy="540795"/>
          </a:xfrm>
        </p:spPr>
        <p:txBody>
          <a:bodyPr anchor="ctr">
            <a:normAutofit/>
          </a:bodyPr>
          <a:lstStyle>
            <a:lvl1pPr marL="0" indent="0" algn="ctr">
              <a:lnSpc>
                <a:spcPct val="150000"/>
              </a:lnSpc>
              <a:buNone/>
              <a:defRPr sz="11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36" name="Text Placeholder 2">
            <a:extLst>
              <a:ext uri="{FF2B5EF4-FFF2-40B4-BE49-F238E27FC236}">
                <a16:creationId xmlns:a16="http://schemas.microsoft.com/office/drawing/2014/main" id="{D6A3A808-B1E8-639D-D379-ACAD1C2FC46E}"/>
              </a:ext>
            </a:extLst>
          </p:cNvPr>
          <p:cNvSpPr>
            <a:spLocks noGrp="1"/>
          </p:cNvSpPr>
          <p:nvPr>
            <p:ph type="body" idx="86" hasCustomPrompt="1"/>
          </p:nvPr>
        </p:nvSpPr>
        <p:spPr>
          <a:xfrm>
            <a:off x="1144240" y="4596808"/>
            <a:ext cx="1958909" cy="540795"/>
          </a:xfrm>
        </p:spPr>
        <p:txBody>
          <a:bodyPr anchor="ctr">
            <a:normAutofit/>
          </a:bodyPr>
          <a:lstStyle>
            <a:lvl1pPr marL="0" indent="0" algn="ctr">
              <a:lnSpc>
                <a:spcPct val="150000"/>
              </a:lnSpc>
              <a:buNone/>
              <a:defRPr sz="11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p:txBody>
      </p:sp>
      <p:sp>
        <p:nvSpPr>
          <p:cNvPr id="138" name="Text Placeholder 35">
            <a:extLst>
              <a:ext uri="{FF2B5EF4-FFF2-40B4-BE49-F238E27FC236}">
                <a16:creationId xmlns:a16="http://schemas.microsoft.com/office/drawing/2014/main" id="{48012955-6163-2519-7DAF-197B6CA6A6DC}"/>
              </a:ext>
            </a:extLst>
          </p:cNvPr>
          <p:cNvSpPr>
            <a:spLocks noGrp="1"/>
          </p:cNvSpPr>
          <p:nvPr>
            <p:ph type="body" sz="quarter" idx="87" hasCustomPrompt="1"/>
          </p:nvPr>
        </p:nvSpPr>
        <p:spPr>
          <a:xfrm>
            <a:off x="1065090" y="5617647"/>
            <a:ext cx="2082864" cy="331694"/>
          </a:xfrm>
        </p:spPr>
        <p:txBody>
          <a:bodyPr anchor="ctr">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EXT</a:t>
            </a:r>
          </a:p>
        </p:txBody>
      </p:sp>
      <p:sp>
        <p:nvSpPr>
          <p:cNvPr id="139" name="Text Placeholder 35">
            <a:extLst>
              <a:ext uri="{FF2B5EF4-FFF2-40B4-BE49-F238E27FC236}">
                <a16:creationId xmlns:a16="http://schemas.microsoft.com/office/drawing/2014/main" id="{EBF3FB48-E32A-3552-77B3-81A3FCA4C126}"/>
              </a:ext>
            </a:extLst>
          </p:cNvPr>
          <p:cNvSpPr>
            <a:spLocks noGrp="1"/>
          </p:cNvSpPr>
          <p:nvPr>
            <p:ph type="body" sz="quarter" idx="19" hasCustomPrompt="1"/>
          </p:nvPr>
        </p:nvSpPr>
        <p:spPr>
          <a:xfrm>
            <a:off x="3278636" y="5342027"/>
            <a:ext cx="1765410" cy="495301"/>
          </a:xfrm>
        </p:spPr>
        <p:txBody>
          <a:bodyPr anchor="b">
            <a:noAutofit/>
          </a:bodyPr>
          <a:lstStyle>
            <a:lvl1pPr marL="0" indent="0" algn="ctr">
              <a:buNone/>
              <a:defRPr sz="22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algn="ctr"/>
            <a:r>
              <a:rPr lang="en-US" sz="2000" b="1">
                <a:solidFill>
                  <a:schemeClr val="accent1"/>
                </a:solidFill>
                <a:ea typeface="League Spartan" charset="0"/>
                <a:cs typeface="Poppins" pitchFamily="2" charset="77"/>
              </a:rPr>
              <a:t>$1.99</a:t>
            </a:r>
            <a:r>
              <a:rPr lang="en-US" sz="2000" b="1" baseline="-25000">
                <a:solidFill>
                  <a:schemeClr val="accent1"/>
                </a:solidFill>
                <a:ea typeface="League Spartan" charset="0"/>
                <a:cs typeface="Poppins" pitchFamily="2" charset="77"/>
              </a:rPr>
              <a:t>/MO</a:t>
            </a:r>
          </a:p>
        </p:txBody>
      </p:sp>
      <p:sp>
        <p:nvSpPr>
          <p:cNvPr id="140" name="Text Placeholder 35">
            <a:extLst>
              <a:ext uri="{FF2B5EF4-FFF2-40B4-BE49-F238E27FC236}">
                <a16:creationId xmlns:a16="http://schemas.microsoft.com/office/drawing/2014/main" id="{92DECF7A-D135-A348-9A59-A9E6C2263910}"/>
              </a:ext>
            </a:extLst>
          </p:cNvPr>
          <p:cNvSpPr>
            <a:spLocks noGrp="1"/>
          </p:cNvSpPr>
          <p:nvPr>
            <p:ph type="body" sz="quarter" idx="88" hasCustomPrompt="1"/>
          </p:nvPr>
        </p:nvSpPr>
        <p:spPr>
          <a:xfrm>
            <a:off x="5256523" y="5342027"/>
            <a:ext cx="1765410" cy="495301"/>
          </a:xfrm>
        </p:spPr>
        <p:txBody>
          <a:bodyPr anchor="b">
            <a:noAutofit/>
          </a:bodyPr>
          <a:lstStyle>
            <a:lvl1pPr marL="0" indent="0" algn="ctr">
              <a:buNone/>
              <a:defRPr sz="2200" b="1">
                <a:solidFill>
                  <a:srgbClr val="3EB1C8"/>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algn="ctr"/>
            <a:r>
              <a:rPr lang="en-US" sz="2000" b="1">
                <a:solidFill>
                  <a:schemeClr val="accent2"/>
                </a:solidFill>
                <a:ea typeface="League Spartan" charset="0"/>
                <a:cs typeface="Poppins" pitchFamily="2" charset="77"/>
              </a:rPr>
              <a:t>$4.99</a:t>
            </a:r>
            <a:r>
              <a:rPr lang="en-US" sz="2000" b="1" baseline="-25000">
                <a:solidFill>
                  <a:schemeClr val="accent2"/>
                </a:solidFill>
                <a:ea typeface="League Spartan" charset="0"/>
                <a:cs typeface="Poppins" pitchFamily="2" charset="77"/>
              </a:rPr>
              <a:t>/MO</a:t>
            </a:r>
          </a:p>
        </p:txBody>
      </p:sp>
      <p:sp>
        <p:nvSpPr>
          <p:cNvPr id="141" name="Text Placeholder 35">
            <a:extLst>
              <a:ext uri="{FF2B5EF4-FFF2-40B4-BE49-F238E27FC236}">
                <a16:creationId xmlns:a16="http://schemas.microsoft.com/office/drawing/2014/main" id="{530B0C98-788F-C217-EE6F-63A156E45740}"/>
              </a:ext>
            </a:extLst>
          </p:cNvPr>
          <p:cNvSpPr>
            <a:spLocks noGrp="1"/>
          </p:cNvSpPr>
          <p:nvPr>
            <p:ph type="body" sz="quarter" idx="89" hasCustomPrompt="1"/>
          </p:nvPr>
        </p:nvSpPr>
        <p:spPr>
          <a:xfrm>
            <a:off x="7234410" y="5342027"/>
            <a:ext cx="1765410" cy="495301"/>
          </a:xfrm>
        </p:spPr>
        <p:txBody>
          <a:bodyPr anchor="b">
            <a:noAutofit/>
          </a:bodyPr>
          <a:lstStyle>
            <a:lvl1pPr marL="0" indent="0" algn="ctr">
              <a:buNone/>
              <a:defRPr sz="2200" b="1">
                <a:solidFill>
                  <a:srgbClr val="3EB1C8"/>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algn="ctr"/>
            <a:r>
              <a:rPr lang="en-US" sz="2000" b="1">
                <a:solidFill>
                  <a:schemeClr val="accent3"/>
                </a:solidFill>
                <a:ea typeface="League Spartan" charset="0"/>
                <a:cs typeface="Poppins" pitchFamily="2" charset="77"/>
              </a:rPr>
              <a:t>$14.99</a:t>
            </a:r>
            <a:r>
              <a:rPr lang="en-US" sz="2000" b="1" baseline="-25000">
                <a:solidFill>
                  <a:schemeClr val="accent3"/>
                </a:solidFill>
                <a:ea typeface="League Spartan" charset="0"/>
                <a:cs typeface="Poppins" pitchFamily="2" charset="77"/>
              </a:rPr>
              <a:t>/MO</a:t>
            </a:r>
          </a:p>
        </p:txBody>
      </p:sp>
      <p:sp>
        <p:nvSpPr>
          <p:cNvPr id="142" name="Text Placeholder 35">
            <a:extLst>
              <a:ext uri="{FF2B5EF4-FFF2-40B4-BE49-F238E27FC236}">
                <a16:creationId xmlns:a16="http://schemas.microsoft.com/office/drawing/2014/main" id="{3448BA29-F5B8-4582-0F21-093E7758A6C1}"/>
              </a:ext>
            </a:extLst>
          </p:cNvPr>
          <p:cNvSpPr>
            <a:spLocks noGrp="1"/>
          </p:cNvSpPr>
          <p:nvPr>
            <p:ph type="body" sz="quarter" idx="90" hasCustomPrompt="1"/>
          </p:nvPr>
        </p:nvSpPr>
        <p:spPr>
          <a:xfrm>
            <a:off x="9242114" y="5342027"/>
            <a:ext cx="1765410" cy="495301"/>
          </a:xfrm>
        </p:spPr>
        <p:txBody>
          <a:bodyPr anchor="b">
            <a:noAutofit/>
          </a:bodyPr>
          <a:lstStyle>
            <a:lvl1pPr marL="0" indent="0" algn="ctr">
              <a:buNone/>
              <a:defRPr sz="2200" b="1">
                <a:solidFill>
                  <a:srgbClr val="3EB1C8"/>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algn="ctr"/>
            <a:r>
              <a:rPr lang="en-US" sz="2000" b="1">
                <a:solidFill>
                  <a:schemeClr val="accent4"/>
                </a:solidFill>
                <a:ea typeface="League Spartan" charset="0"/>
                <a:cs typeface="Poppins" pitchFamily="2" charset="77"/>
              </a:rPr>
              <a:t>$24.99</a:t>
            </a:r>
            <a:r>
              <a:rPr lang="en-US" sz="2000" b="1" baseline="-25000">
                <a:solidFill>
                  <a:schemeClr val="accent4"/>
                </a:solidFill>
                <a:ea typeface="League Spartan" charset="0"/>
                <a:cs typeface="Poppins" pitchFamily="2" charset="77"/>
              </a:rPr>
              <a:t>/MO</a:t>
            </a:r>
          </a:p>
        </p:txBody>
      </p:sp>
      <p:sp>
        <p:nvSpPr>
          <p:cNvPr id="143" name="Text Placeholder 2">
            <a:extLst>
              <a:ext uri="{FF2B5EF4-FFF2-40B4-BE49-F238E27FC236}">
                <a16:creationId xmlns:a16="http://schemas.microsoft.com/office/drawing/2014/main" id="{6B157B37-30A7-406A-A96C-9CDE5EAACF09}"/>
              </a:ext>
            </a:extLst>
          </p:cNvPr>
          <p:cNvSpPr>
            <a:spLocks noGrp="1"/>
          </p:cNvSpPr>
          <p:nvPr>
            <p:ph type="body" idx="91" hasCustomPrompt="1"/>
          </p:nvPr>
        </p:nvSpPr>
        <p:spPr>
          <a:xfrm>
            <a:off x="3479936" y="5923140"/>
            <a:ext cx="1357078" cy="407158"/>
          </a:xfrm>
        </p:spPr>
        <p:txBody>
          <a:bodyPr anchor="ctr">
            <a:normAutofit/>
          </a:bodyPr>
          <a:lstStyle>
            <a:lvl1pPr marL="0" indent="0" algn="ctr">
              <a:lnSpc>
                <a:spcPct val="100000"/>
              </a:lnSpc>
              <a:buNone/>
              <a:defRPr sz="11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TA</a:t>
            </a:r>
          </a:p>
        </p:txBody>
      </p:sp>
      <p:sp>
        <p:nvSpPr>
          <p:cNvPr id="144" name="Text Placeholder 2">
            <a:extLst>
              <a:ext uri="{FF2B5EF4-FFF2-40B4-BE49-F238E27FC236}">
                <a16:creationId xmlns:a16="http://schemas.microsoft.com/office/drawing/2014/main" id="{6D6DF8D8-D80E-3D97-BA1F-682945F6400D}"/>
              </a:ext>
            </a:extLst>
          </p:cNvPr>
          <p:cNvSpPr>
            <a:spLocks noGrp="1"/>
          </p:cNvSpPr>
          <p:nvPr>
            <p:ph type="body" idx="92" hasCustomPrompt="1"/>
          </p:nvPr>
        </p:nvSpPr>
        <p:spPr>
          <a:xfrm>
            <a:off x="5467762" y="5923140"/>
            <a:ext cx="1357078" cy="407158"/>
          </a:xfrm>
        </p:spPr>
        <p:txBody>
          <a:bodyPr anchor="ctr">
            <a:normAutofit/>
          </a:bodyPr>
          <a:lstStyle>
            <a:lvl1pPr marL="0" indent="0" algn="ctr">
              <a:lnSpc>
                <a:spcPct val="100000"/>
              </a:lnSpc>
              <a:buNone/>
              <a:defRPr sz="11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TA</a:t>
            </a:r>
          </a:p>
        </p:txBody>
      </p:sp>
      <p:sp>
        <p:nvSpPr>
          <p:cNvPr id="145" name="Text Placeholder 2">
            <a:extLst>
              <a:ext uri="{FF2B5EF4-FFF2-40B4-BE49-F238E27FC236}">
                <a16:creationId xmlns:a16="http://schemas.microsoft.com/office/drawing/2014/main" id="{A2D2AFD7-1C68-46CF-7AA8-4A7BC86CDE53}"/>
              </a:ext>
            </a:extLst>
          </p:cNvPr>
          <p:cNvSpPr>
            <a:spLocks noGrp="1"/>
          </p:cNvSpPr>
          <p:nvPr>
            <p:ph type="body" idx="93" hasCustomPrompt="1"/>
          </p:nvPr>
        </p:nvSpPr>
        <p:spPr>
          <a:xfrm>
            <a:off x="7445649" y="5923140"/>
            <a:ext cx="1357078" cy="407158"/>
          </a:xfrm>
        </p:spPr>
        <p:txBody>
          <a:bodyPr anchor="ctr">
            <a:normAutofit/>
          </a:bodyPr>
          <a:lstStyle>
            <a:lvl1pPr marL="0" indent="0" algn="ctr">
              <a:lnSpc>
                <a:spcPct val="100000"/>
              </a:lnSpc>
              <a:buNone/>
              <a:defRPr sz="11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TA</a:t>
            </a:r>
          </a:p>
        </p:txBody>
      </p:sp>
      <p:sp>
        <p:nvSpPr>
          <p:cNvPr id="146" name="Text Placeholder 2">
            <a:extLst>
              <a:ext uri="{FF2B5EF4-FFF2-40B4-BE49-F238E27FC236}">
                <a16:creationId xmlns:a16="http://schemas.microsoft.com/office/drawing/2014/main" id="{4948AF5D-ECC4-DEA3-B360-0FAD76EC370B}"/>
              </a:ext>
            </a:extLst>
          </p:cNvPr>
          <p:cNvSpPr>
            <a:spLocks noGrp="1"/>
          </p:cNvSpPr>
          <p:nvPr>
            <p:ph type="body" idx="94" hasCustomPrompt="1"/>
          </p:nvPr>
        </p:nvSpPr>
        <p:spPr>
          <a:xfrm>
            <a:off x="9433475" y="5923140"/>
            <a:ext cx="1357078" cy="407158"/>
          </a:xfrm>
        </p:spPr>
        <p:txBody>
          <a:bodyPr anchor="ctr">
            <a:normAutofit/>
          </a:bodyPr>
          <a:lstStyle>
            <a:lvl1pPr marL="0" indent="0" algn="ctr">
              <a:lnSpc>
                <a:spcPct val="100000"/>
              </a:lnSpc>
              <a:buNone/>
              <a:defRPr sz="11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TA</a:t>
            </a:r>
          </a:p>
        </p:txBody>
      </p:sp>
    </p:spTree>
    <p:extLst>
      <p:ext uri="{BB962C8B-B14F-4D97-AF65-F5344CB8AC3E}">
        <p14:creationId xmlns:p14="http://schemas.microsoft.com/office/powerpoint/2010/main" val="365242246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9FA1CD75-36E9-AB7B-D6BB-55BDC34BFAA9}"/>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5">
            <a:extLst>
              <a:ext uri="{FF2B5EF4-FFF2-40B4-BE49-F238E27FC236}">
                <a16:creationId xmlns:a16="http://schemas.microsoft.com/office/drawing/2014/main" id="{C69EB953-3D15-3EE9-7631-543D5ECA249D}"/>
              </a:ext>
            </a:extLst>
          </p:cNvPr>
          <p:cNvSpPr>
            <a:spLocks noChangeArrowheads="1"/>
          </p:cNvSpPr>
          <p:nvPr userDrawn="1"/>
        </p:nvSpPr>
        <p:spPr bwMode="auto">
          <a:xfrm>
            <a:off x="762000" y="1543051"/>
            <a:ext cx="2582592" cy="4673599"/>
          </a:xfrm>
          <a:custGeom>
            <a:avLst/>
            <a:gdLst>
              <a:gd name="T0" fmla="*/ 4842 w 4843"/>
              <a:gd name="T1" fmla="*/ 290 h 8763"/>
              <a:gd name="T2" fmla="*/ 4842 w 4843"/>
              <a:gd name="T3" fmla="*/ 8472 h 8763"/>
              <a:gd name="T4" fmla="*/ 4842 w 4843"/>
              <a:gd name="T5" fmla="*/ 8472 h 8763"/>
              <a:gd name="T6" fmla="*/ 4553 w 4843"/>
              <a:gd name="T7" fmla="*/ 8762 h 8763"/>
              <a:gd name="T8" fmla="*/ 290 w 4843"/>
              <a:gd name="T9" fmla="*/ 8762 h 8763"/>
              <a:gd name="T10" fmla="*/ 290 w 4843"/>
              <a:gd name="T11" fmla="*/ 8762 h 8763"/>
              <a:gd name="T12" fmla="*/ 0 w 4843"/>
              <a:gd name="T13" fmla="*/ 8472 h 8763"/>
              <a:gd name="T14" fmla="*/ 0 w 4843"/>
              <a:gd name="T15" fmla="*/ 290 h 8763"/>
              <a:gd name="T16" fmla="*/ 0 w 4843"/>
              <a:gd name="T17" fmla="*/ 290 h 8763"/>
              <a:gd name="T18" fmla="*/ 290 w 4843"/>
              <a:gd name="T19" fmla="*/ 0 h 8763"/>
              <a:gd name="T20" fmla="*/ 4553 w 4843"/>
              <a:gd name="T21" fmla="*/ 0 h 8763"/>
              <a:gd name="T22" fmla="*/ 4553 w 4843"/>
              <a:gd name="T23" fmla="*/ 0 h 8763"/>
              <a:gd name="T24" fmla="*/ 4842 w 4843"/>
              <a:gd name="T25" fmla="*/ 290 h 8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43" h="8763">
                <a:moveTo>
                  <a:pt x="4842" y="290"/>
                </a:moveTo>
                <a:lnTo>
                  <a:pt x="4842" y="8472"/>
                </a:lnTo>
                <a:lnTo>
                  <a:pt x="4842" y="8472"/>
                </a:lnTo>
                <a:cubicBezTo>
                  <a:pt x="4842" y="8633"/>
                  <a:pt x="4713" y="8762"/>
                  <a:pt x="4553" y="8762"/>
                </a:cubicBezTo>
                <a:lnTo>
                  <a:pt x="290" y="8762"/>
                </a:lnTo>
                <a:lnTo>
                  <a:pt x="290" y="8762"/>
                </a:lnTo>
                <a:cubicBezTo>
                  <a:pt x="130" y="8762"/>
                  <a:pt x="0" y="8633"/>
                  <a:pt x="0" y="8472"/>
                </a:cubicBezTo>
                <a:lnTo>
                  <a:pt x="0" y="290"/>
                </a:lnTo>
                <a:lnTo>
                  <a:pt x="0" y="290"/>
                </a:lnTo>
                <a:cubicBezTo>
                  <a:pt x="0" y="130"/>
                  <a:pt x="130" y="0"/>
                  <a:pt x="290" y="0"/>
                </a:cubicBezTo>
                <a:lnTo>
                  <a:pt x="4553" y="0"/>
                </a:lnTo>
                <a:lnTo>
                  <a:pt x="4553" y="0"/>
                </a:lnTo>
                <a:cubicBezTo>
                  <a:pt x="4713" y="0"/>
                  <a:pt x="4842" y="130"/>
                  <a:pt x="4842" y="290"/>
                </a:cubicBezTo>
              </a:path>
            </a:pathLst>
          </a:custGeom>
          <a:solidFill>
            <a:schemeClr val="accent1">
              <a:alpha val="5000"/>
            </a:schemeClr>
          </a:solidFill>
          <a:ln>
            <a:noFill/>
          </a:ln>
          <a:effectLst/>
        </p:spPr>
        <p:txBody>
          <a:bodyPr wrap="none" anchor="ctr"/>
          <a:lstStyle/>
          <a:p>
            <a:endParaRPr lang="en-US" sz="3266"/>
          </a:p>
        </p:txBody>
      </p:sp>
      <p:sp>
        <p:nvSpPr>
          <p:cNvPr id="4" name="Freeform 16">
            <a:extLst>
              <a:ext uri="{FF2B5EF4-FFF2-40B4-BE49-F238E27FC236}">
                <a16:creationId xmlns:a16="http://schemas.microsoft.com/office/drawing/2014/main" id="{76189F73-C938-E16B-2213-9607F72E2653}"/>
              </a:ext>
            </a:extLst>
          </p:cNvPr>
          <p:cNvSpPr>
            <a:spLocks noChangeArrowheads="1"/>
          </p:cNvSpPr>
          <p:nvPr userDrawn="1"/>
        </p:nvSpPr>
        <p:spPr bwMode="auto">
          <a:xfrm>
            <a:off x="762000" y="1543050"/>
            <a:ext cx="2582592" cy="3897410"/>
          </a:xfrm>
          <a:custGeom>
            <a:avLst/>
            <a:gdLst>
              <a:gd name="T0" fmla="*/ 0 w 4843"/>
              <a:gd name="T1" fmla="*/ 6949 h 7307"/>
              <a:gd name="T2" fmla="*/ 0 w 4843"/>
              <a:gd name="T3" fmla="*/ 290 h 7307"/>
              <a:gd name="T4" fmla="*/ 0 w 4843"/>
              <a:gd name="T5" fmla="*/ 290 h 7307"/>
              <a:gd name="T6" fmla="*/ 290 w 4843"/>
              <a:gd name="T7" fmla="*/ 0 h 7307"/>
              <a:gd name="T8" fmla="*/ 4553 w 4843"/>
              <a:gd name="T9" fmla="*/ 0 h 7307"/>
              <a:gd name="T10" fmla="*/ 4553 w 4843"/>
              <a:gd name="T11" fmla="*/ 0 h 7307"/>
              <a:gd name="T12" fmla="*/ 4842 w 4843"/>
              <a:gd name="T13" fmla="*/ 290 h 7307"/>
              <a:gd name="T14" fmla="*/ 4842 w 4843"/>
              <a:gd name="T15" fmla="*/ 6949 h 7307"/>
              <a:gd name="T16" fmla="*/ 4842 w 4843"/>
              <a:gd name="T17" fmla="*/ 6949 h 7307"/>
              <a:gd name="T18" fmla="*/ 3930 w 4843"/>
              <a:gd name="T19" fmla="*/ 6047 h 7307"/>
              <a:gd name="T20" fmla="*/ 3930 w 4843"/>
              <a:gd name="T21" fmla="*/ 6047 h 7307"/>
              <a:gd name="T22" fmla="*/ 3930 w 4843"/>
              <a:gd name="T23" fmla="*/ 6047 h 7307"/>
              <a:gd name="T24" fmla="*/ 3930 w 4843"/>
              <a:gd name="T25" fmla="*/ 6047 h 7307"/>
              <a:gd name="T26" fmla="*/ 1462 w 4843"/>
              <a:gd name="T27" fmla="*/ 6892 h 7307"/>
              <a:gd name="T28" fmla="*/ 1462 w 4843"/>
              <a:gd name="T29" fmla="*/ 6892 h 7307"/>
              <a:gd name="T30" fmla="*/ 1252 w 4843"/>
              <a:gd name="T31" fmla="*/ 6964 h 7307"/>
              <a:gd name="T32" fmla="*/ 1252 w 4843"/>
              <a:gd name="T33" fmla="*/ 6964 h 7307"/>
              <a:gd name="T34" fmla="*/ 0 w 4843"/>
              <a:gd name="T35" fmla="*/ 6949 h 7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43" h="7307">
                <a:moveTo>
                  <a:pt x="0" y="6949"/>
                </a:moveTo>
                <a:lnTo>
                  <a:pt x="0" y="290"/>
                </a:lnTo>
                <a:lnTo>
                  <a:pt x="0" y="290"/>
                </a:lnTo>
                <a:cubicBezTo>
                  <a:pt x="0" y="130"/>
                  <a:pt x="130" y="0"/>
                  <a:pt x="290" y="0"/>
                </a:cubicBezTo>
                <a:lnTo>
                  <a:pt x="4553" y="0"/>
                </a:lnTo>
                <a:lnTo>
                  <a:pt x="4553" y="0"/>
                </a:lnTo>
                <a:cubicBezTo>
                  <a:pt x="4713" y="0"/>
                  <a:pt x="4842" y="130"/>
                  <a:pt x="4842" y="290"/>
                </a:cubicBezTo>
                <a:lnTo>
                  <a:pt x="4842" y="6949"/>
                </a:lnTo>
                <a:lnTo>
                  <a:pt x="4842" y="6949"/>
                </a:lnTo>
                <a:cubicBezTo>
                  <a:pt x="4842" y="6949"/>
                  <a:pt x="4819" y="6152"/>
                  <a:pt x="3930" y="6047"/>
                </a:cubicBezTo>
                <a:lnTo>
                  <a:pt x="3930" y="6047"/>
                </a:lnTo>
                <a:cubicBezTo>
                  <a:pt x="3925" y="6046"/>
                  <a:pt x="3934" y="6047"/>
                  <a:pt x="3930" y="6047"/>
                </a:cubicBezTo>
                <a:lnTo>
                  <a:pt x="3930" y="6047"/>
                </a:lnTo>
                <a:cubicBezTo>
                  <a:pt x="3790" y="6002"/>
                  <a:pt x="2940" y="5773"/>
                  <a:pt x="1462" y="6892"/>
                </a:cubicBezTo>
                <a:lnTo>
                  <a:pt x="1462" y="6892"/>
                </a:lnTo>
                <a:cubicBezTo>
                  <a:pt x="1389" y="6920"/>
                  <a:pt x="1319" y="6943"/>
                  <a:pt x="1252" y="6964"/>
                </a:cubicBezTo>
                <a:lnTo>
                  <a:pt x="1252" y="6964"/>
                </a:lnTo>
                <a:cubicBezTo>
                  <a:pt x="336" y="7306"/>
                  <a:pt x="0" y="6949"/>
                  <a:pt x="0" y="6949"/>
                </a:cubicBezTo>
              </a:path>
            </a:pathLst>
          </a:custGeom>
          <a:solidFill>
            <a:schemeClr val="accent1"/>
          </a:solidFill>
          <a:ln>
            <a:noFill/>
          </a:ln>
          <a:effectLst/>
        </p:spPr>
        <p:txBody>
          <a:bodyPr wrap="none" anchor="ctr"/>
          <a:lstStyle/>
          <a:p>
            <a:endParaRPr lang="en-US" sz="3266"/>
          </a:p>
        </p:txBody>
      </p:sp>
      <p:sp>
        <p:nvSpPr>
          <p:cNvPr id="5" name="Freeform 17">
            <a:extLst>
              <a:ext uri="{FF2B5EF4-FFF2-40B4-BE49-F238E27FC236}">
                <a16:creationId xmlns:a16="http://schemas.microsoft.com/office/drawing/2014/main" id="{6FB24EA2-CB96-F8C0-D430-395E2E96D86B}"/>
              </a:ext>
            </a:extLst>
          </p:cNvPr>
          <p:cNvSpPr>
            <a:spLocks noChangeArrowheads="1"/>
          </p:cNvSpPr>
          <p:nvPr userDrawn="1"/>
        </p:nvSpPr>
        <p:spPr bwMode="auto">
          <a:xfrm>
            <a:off x="2857708" y="4668797"/>
            <a:ext cx="489234" cy="583318"/>
          </a:xfrm>
          <a:custGeom>
            <a:avLst/>
            <a:gdLst>
              <a:gd name="T0" fmla="*/ 0 w 917"/>
              <a:gd name="T1" fmla="*/ 181 h 1093"/>
              <a:gd name="T2" fmla="*/ 0 w 917"/>
              <a:gd name="T3" fmla="*/ 181 h 1093"/>
              <a:gd name="T4" fmla="*/ 912 w 917"/>
              <a:gd name="T5" fmla="*/ 1092 h 1093"/>
              <a:gd name="T6" fmla="*/ 912 w 917"/>
              <a:gd name="T7" fmla="*/ 355 h 1093"/>
              <a:gd name="T8" fmla="*/ 912 w 917"/>
              <a:gd name="T9" fmla="*/ 355 h 1093"/>
              <a:gd name="T10" fmla="*/ 0 w 917"/>
              <a:gd name="T11" fmla="*/ 181 h 1093"/>
            </a:gdLst>
            <a:ahLst/>
            <a:cxnLst>
              <a:cxn ang="0">
                <a:pos x="T0" y="T1"/>
              </a:cxn>
              <a:cxn ang="0">
                <a:pos x="T2" y="T3"/>
              </a:cxn>
              <a:cxn ang="0">
                <a:pos x="T4" y="T5"/>
              </a:cxn>
              <a:cxn ang="0">
                <a:pos x="T6" y="T7"/>
              </a:cxn>
              <a:cxn ang="0">
                <a:pos x="T8" y="T9"/>
              </a:cxn>
              <a:cxn ang="0">
                <a:pos x="T10" y="T11"/>
              </a:cxn>
            </a:cxnLst>
            <a:rect l="0" t="0" r="r" b="b"/>
            <a:pathLst>
              <a:path w="917" h="1093">
                <a:moveTo>
                  <a:pt x="0" y="181"/>
                </a:moveTo>
                <a:lnTo>
                  <a:pt x="0" y="181"/>
                </a:lnTo>
                <a:cubicBezTo>
                  <a:pt x="0" y="181"/>
                  <a:pt x="916" y="588"/>
                  <a:pt x="912" y="1092"/>
                </a:cubicBezTo>
                <a:lnTo>
                  <a:pt x="912" y="355"/>
                </a:lnTo>
                <a:lnTo>
                  <a:pt x="912" y="355"/>
                </a:lnTo>
                <a:cubicBezTo>
                  <a:pt x="912" y="355"/>
                  <a:pt x="456" y="0"/>
                  <a:pt x="0" y="181"/>
                </a:cubicBezTo>
              </a:path>
            </a:pathLst>
          </a:custGeom>
          <a:solidFill>
            <a:schemeClr val="accent1">
              <a:lumMod val="75000"/>
            </a:schemeClr>
          </a:solidFill>
          <a:ln>
            <a:noFill/>
          </a:ln>
          <a:effectLst/>
        </p:spPr>
        <p:txBody>
          <a:bodyPr wrap="none" anchor="ctr"/>
          <a:lstStyle/>
          <a:p>
            <a:endParaRPr lang="en-US" sz="3266"/>
          </a:p>
        </p:txBody>
      </p:sp>
      <p:sp>
        <p:nvSpPr>
          <p:cNvPr id="6" name="Freeform 18">
            <a:extLst>
              <a:ext uri="{FF2B5EF4-FFF2-40B4-BE49-F238E27FC236}">
                <a16:creationId xmlns:a16="http://schemas.microsoft.com/office/drawing/2014/main" id="{AE06EB22-D927-ECFB-6D3B-2E54FD41B1F4}"/>
              </a:ext>
            </a:extLst>
          </p:cNvPr>
          <p:cNvSpPr>
            <a:spLocks noChangeArrowheads="1"/>
          </p:cNvSpPr>
          <p:nvPr userDrawn="1"/>
        </p:nvSpPr>
        <p:spPr bwMode="auto">
          <a:xfrm>
            <a:off x="762000" y="5228773"/>
            <a:ext cx="710331" cy="470418"/>
          </a:xfrm>
          <a:custGeom>
            <a:avLst/>
            <a:gdLst>
              <a:gd name="T0" fmla="*/ 0 w 1333"/>
              <a:gd name="T1" fmla="*/ 61 h 883"/>
              <a:gd name="T2" fmla="*/ 0 w 1333"/>
              <a:gd name="T3" fmla="*/ 61 h 883"/>
              <a:gd name="T4" fmla="*/ 1332 w 1333"/>
              <a:gd name="T5" fmla="*/ 0 h 883"/>
              <a:gd name="T6" fmla="*/ 1332 w 1333"/>
              <a:gd name="T7" fmla="*/ 0 h 883"/>
              <a:gd name="T8" fmla="*/ 0 w 1333"/>
              <a:gd name="T9" fmla="*/ 882 h 883"/>
              <a:gd name="T10" fmla="*/ 0 w 1333"/>
              <a:gd name="T11" fmla="*/ 61 h 883"/>
            </a:gdLst>
            <a:ahLst/>
            <a:cxnLst>
              <a:cxn ang="0">
                <a:pos x="T0" y="T1"/>
              </a:cxn>
              <a:cxn ang="0">
                <a:pos x="T2" y="T3"/>
              </a:cxn>
              <a:cxn ang="0">
                <a:pos x="T4" y="T5"/>
              </a:cxn>
              <a:cxn ang="0">
                <a:pos x="T6" y="T7"/>
              </a:cxn>
              <a:cxn ang="0">
                <a:pos x="T8" y="T9"/>
              </a:cxn>
              <a:cxn ang="0">
                <a:pos x="T10" y="T11"/>
              </a:cxn>
            </a:cxnLst>
            <a:rect l="0" t="0" r="r" b="b"/>
            <a:pathLst>
              <a:path w="1333" h="883">
                <a:moveTo>
                  <a:pt x="0" y="61"/>
                </a:moveTo>
                <a:lnTo>
                  <a:pt x="0" y="61"/>
                </a:lnTo>
                <a:cubicBezTo>
                  <a:pt x="0" y="61"/>
                  <a:pt x="389" y="350"/>
                  <a:pt x="1332" y="0"/>
                </a:cubicBezTo>
                <a:lnTo>
                  <a:pt x="1332" y="0"/>
                </a:lnTo>
                <a:cubicBezTo>
                  <a:pt x="1332" y="0"/>
                  <a:pt x="873" y="790"/>
                  <a:pt x="0" y="882"/>
                </a:cubicBezTo>
                <a:lnTo>
                  <a:pt x="0" y="61"/>
                </a:lnTo>
              </a:path>
            </a:pathLst>
          </a:custGeom>
          <a:solidFill>
            <a:schemeClr val="accent1">
              <a:lumMod val="75000"/>
            </a:schemeClr>
          </a:solidFill>
          <a:ln>
            <a:noFill/>
          </a:ln>
          <a:effectLst/>
        </p:spPr>
        <p:txBody>
          <a:bodyPr wrap="none" anchor="ctr"/>
          <a:lstStyle/>
          <a:p>
            <a:endParaRPr lang="en-US" sz="3266"/>
          </a:p>
        </p:txBody>
      </p:sp>
      <p:sp>
        <p:nvSpPr>
          <p:cNvPr id="7" name="Freeform 19">
            <a:extLst>
              <a:ext uri="{FF2B5EF4-FFF2-40B4-BE49-F238E27FC236}">
                <a16:creationId xmlns:a16="http://schemas.microsoft.com/office/drawing/2014/main" id="{5561E507-E4C5-3291-6609-05ED4150603F}"/>
              </a:ext>
            </a:extLst>
          </p:cNvPr>
          <p:cNvSpPr>
            <a:spLocks noChangeArrowheads="1"/>
          </p:cNvSpPr>
          <p:nvPr userDrawn="1"/>
        </p:nvSpPr>
        <p:spPr bwMode="auto">
          <a:xfrm>
            <a:off x="762000" y="5165266"/>
            <a:ext cx="623303" cy="442193"/>
          </a:xfrm>
          <a:custGeom>
            <a:avLst/>
            <a:gdLst>
              <a:gd name="T0" fmla="*/ 0 w 1168"/>
              <a:gd name="T1" fmla="*/ 0 h 829"/>
              <a:gd name="T2" fmla="*/ 0 w 1168"/>
              <a:gd name="T3" fmla="*/ 0 h 829"/>
              <a:gd name="T4" fmla="*/ 1167 w 1168"/>
              <a:gd name="T5" fmla="*/ 174 h 829"/>
              <a:gd name="T6" fmla="*/ 1167 w 1168"/>
              <a:gd name="T7" fmla="*/ 174 h 829"/>
              <a:gd name="T8" fmla="*/ 0 w 1168"/>
              <a:gd name="T9" fmla="*/ 828 h 829"/>
              <a:gd name="T10" fmla="*/ 0 w 1168"/>
              <a:gd name="T11" fmla="*/ 0 h 829"/>
            </a:gdLst>
            <a:ahLst/>
            <a:cxnLst>
              <a:cxn ang="0">
                <a:pos x="T0" y="T1"/>
              </a:cxn>
              <a:cxn ang="0">
                <a:pos x="T2" y="T3"/>
              </a:cxn>
              <a:cxn ang="0">
                <a:pos x="T4" y="T5"/>
              </a:cxn>
              <a:cxn ang="0">
                <a:pos x="T6" y="T7"/>
              </a:cxn>
              <a:cxn ang="0">
                <a:pos x="T8" y="T9"/>
              </a:cxn>
              <a:cxn ang="0">
                <a:pos x="T10" y="T11"/>
              </a:cxn>
            </a:cxnLst>
            <a:rect l="0" t="0" r="r" b="b"/>
            <a:pathLst>
              <a:path w="1168" h="829">
                <a:moveTo>
                  <a:pt x="0" y="0"/>
                </a:moveTo>
                <a:lnTo>
                  <a:pt x="0" y="0"/>
                </a:lnTo>
                <a:cubicBezTo>
                  <a:pt x="0" y="0"/>
                  <a:pt x="227" y="365"/>
                  <a:pt x="1167" y="174"/>
                </a:cubicBezTo>
                <a:lnTo>
                  <a:pt x="1167" y="174"/>
                </a:lnTo>
                <a:cubicBezTo>
                  <a:pt x="1167" y="174"/>
                  <a:pt x="666" y="783"/>
                  <a:pt x="0" y="828"/>
                </a:cubicBezTo>
                <a:lnTo>
                  <a:pt x="0" y="0"/>
                </a:lnTo>
              </a:path>
            </a:pathLst>
          </a:custGeom>
          <a:solidFill>
            <a:schemeClr val="accent1">
              <a:lumMod val="50000"/>
            </a:schemeClr>
          </a:solidFill>
          <a:ln>
            <a:noFill/>
          </a:ln>
          <a:effectLst/>
        </p:spPr>
        <p:txBody>
          <a:bodyPr wrap="none" anchor="ctr"/>
          <a:lstStyle/>
          <a:p>
            <a:endParaRPr lang="en-US" sz="3266"/>
          </a:p>
        </p:txBody>
      </p:sp>
      <p:sp>
        <p:nvSpPr>
          <p:cNvPr id="8" name="Freeform 20">
            <a:extLst>
              <a:ext uri="{FF2B5EF4-FFF2-40B4-BE49-F238E27FC236}">
                <a16:creationId xmlns:a16="http://schemas.microsoft.com/office/drawing/2014/main" id="{D8BD3D8B-3C92-B3AC-965F-A2CBF57A7B35}"/>
              </a:ext>
            </a:extLst>
          </p:cNvPr>
          <p:cNvSpPr>
            <a:spLocks noChangeArrowheads="1"/>
          </p:cNvSpPr>
          <p:nvPr userDrawn="1"/>
        </p:nvSpPr>
        <p:spPr bwMode="auto">
          <a:xfrm>
            <a:off x="1333556" y="4325393"/>
            <a:ext cx="1526506" cy="1077256"/>
          </a:xfrm>
          <a:custGeom>
            <a:avLst/>
            <a:gdLst>
              <a:gd name="T0" fmla="*/ 0 w 2861"/>
              <a:gd name="T1" fmla="*/ 2018 h 2019"/>
              <a:gd name="T2" fmla="*/ 0 w 2861"/>
              <a:gd name="T3" fmla="*/ 2018 h 2019"/>
              <a:gd name="T4" fmla="*/ 183 w 2861"/>
              <a:gd name="T5" fmla="*/ 1774 h 2019"/>
              <a:gd name="T6" fmla="*/ 183 w 2861"/>
              <a:gd name="T7" fmla="*/ 1774 h 2019"/>
              <a:gd name="T8" fmla="*/ 2853 w 2861"/>
              <a:gd name="T9" fmla="*/ 821 h 2019"/>
              <a:gd name="T10" fmla="*/ 2853 w 2861"/>
              <a:gd name="T11" fmla="*/ 821 h 2019"/>
              <a:gd name="T12" fmla="*/ 2860 w 2861"/>
              <a:gd name="T13" fmla="*/ 827 h 2019"/>
              <a:gd name="T14" fmla="*/ 2860 w 2861"/>
              <a:gd name="T15" fmla="*/ 827 h 2019"/>
              <a:gd name="T16" fmla="*/ 2840 w 2861"/>
              <a:gd name="T17" fmla="*/ 820 h 2019"/>
              <a:gd name="T18" fmla="*/ 2840 w 2861"/>
              <a:gd name="T19" fmla="*/ 820 h 2019"/>
              <a:gd name="T20" fmla="*/ 393 w 2861"/>
              <a:gd name="T21" fmla="*/ 1702 h 2019"/>
              <a:gd name="T22" fmla="*/ 393 w 2861"/>
              <a:gd name="T23" fmla="*/ 1702 h 2019"/>
              <a:gd name="T24" fmla="*/ 0 w 2861"/>
              <a:gd name="T25" fmla="*/ 2018 h 2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61" h="2019">
                <a:moveTo>
                  <a:pt x="0" y="2018"/>
                </a:moveTo>
                <a:lnTo>
                  <a:pt x="0" y="2018"/>
                </a:lnTo>
                <a:cubicBezTo>
                  <a:pt x="5" y="2012"/>
                  <a:pt x="70" y="1916"/>
                  <a:pt x="183" y="1774"/>
                </a:cubicBezTo>
                <a:lnTo>
                  <a:pt x="183" y="1774"/>
                </a:lnTo>
                <a:cubicBezTo>
                  <a:pt x="622" y="1224"/>
                  <a:pt x="1781" y="0"/>
                  <a:pt x="2853" y="821"/>
                </a:cubicBezTo>
                <a:lnTo>
                  <a:pt x="2853" y="821"/>
                </a:lnTo>
                <a:cubicBezTo>
                  <a:pt x="2855" y="823"/>
                  <a:pt x="2858" y="825"/>
                  <a:pt x="2860" y="827"/>
                </a:cubicBezTo>
                <a:lnTo>
                  <a:pt x="2860" y="827"/>
                </a:lnTo>
                <a:cubicBezTo>
                  <a:pt x="2858" y="827"/>
                  <a:pt x="2852" y="824"/>
                  <a:pt x="2840" y="820"/>
                </a:cubicBezTo>
                <a:lnTo>
                  <a:pt x="2840" y="820"/>
                </a:lnTo>
                <a:cubicBezTo>
                  <a:pt x="2700" y="775"/>
                  <a:pt x="1871" y="584"/>
                  <a:pt x="393" y="1702"/>
                </a:cubicBezTo>
                <a:lnTo>
                  <a:pt x="393" y="1702"/>
                </a:lnTo>
                <a:cubicBezTo>
                  <a:pt x="267" y="1798"/>
                  <a:pt x="136" y="1903"/>
                  <a:pt x="0" y="2018"/>
                </a:cubicBezTo>
              </a:path>
            </a:pathLst>
          </a:custGeom>
          <a:solidFill>
            <a:schemeClr val="accent1">
              <a:lumMod val="50000"/>
            </a:schemeClr>
          </a:solidFill>
          <a:ln>
            <a:noFill/>
          </a:ln>
          <a:effectLst/>
        </p:spPr>
        <p:txBody>
          <a:bodyPr wrap="none" anchor="ctr"/>
          <a:lstStyle/>
          <a:p>
            <a:endParaRPr lang="en-US" sz="3266"/>
          </a:p>
        </p:txBody>
      </p:sp>
      <p:sp>
        <p:nvSpPr>
          <p:cNvPr id="9" name="Freeform 21">
            <a:extLst>
              <a:ext uri="{FF2B5EF4-FFF2-40B4-BE49-F238E27FC236}">
                <a16:creationId xmlns:a16="http://schemas.microsoft.com/office/drawing/2014/main" id="{836B0892-9405-5194-AD1C-AA7A92B1CB65}"/>
              </a:ext>
            </a:extLst>
          </p:cNvPr>
          <p:cNvSpPr>
            <a:spLocks noChangeArrowheads="1"/>
          </p:cNvSpPr>
          <p:nvPr userDrawn="1"/>
        </p:nvSpPr>
        <p:spPr bwMode="auto">
          <a:xfrm>
            <a:off x="1312389" y="5628778"/>
            <a:ext cx="1566490" cy="372277"/>
          </a:xfrm>
          <a:prstGeom prst="roundRect">
            <a:avLst>
              <a:gd name="adj" fmla="val 50000"/>
            </a:avLst>
          </a:prstGeom>
          <a:solidFill>
            <a:schemeClr val="accent1"/>
          </a:solidFill>
          <a:ln>
            <a:noFill/>
          </a:ln>
          <a:effectLst/>
        </p:spPr>
        <p:txBody>
          <a:bodyPr wrap="none" anchor="ctr"/>
          <a:lstStyle/>
          <a:p>
            <a:endParaRPr lang="en-US" sz="3266"/>
          </a:p>
        </p:txBody>
      </p:sp>
      <p:sp>
        <p:nvSpPr>
          <p:cNvPr id="22" name="Freeform 15">
            <a:extLst>
              <a:ext uri="{FF2B5EF4-FFF2-40B4-BE49-F238E27FC236}">
                <a16:creationId xmlns:a16="http://schemas.microsoft.com/office/drawing/2014/main" id="{72B8BFCD-BCBD-83B9-FFBC-2C35DB4805FA}"/>
              </a:ext>
            </a:extLst>
          </p:cNvPr>
          <p:cNvSpPr>
            <a:spLocks noChangeArrowheads="1"/>
          </p:cNvSpPr>
          <p:nvPr userDrawn="1"/>
        </p:nvSpPr>
        <p:spPr bwMode="auto">
          <a:xfrm>
            <a:off x="3456353" y="1543051"/>
            <a:ext cx="2582592" cy="4673599"/>
          </a:xfrm>
          <a:custGeom>
            <a:avLst/>
            <a:gdLst>
              <a:gd name="T0" fmla="*/ 4842 w 4843"/>
              <a:gd name="T1" fmla="*/ 290 h 8763"/>
              <a:gd name="T2" fmla="*/ 4842 w 4843"/>
              <a:gd name="T3" fmla="*/ 8472 h 8763"/>
              <a:gd name="T4" fmla="*/ 4842 w 4843"/>
              <a:gd name="T5" fmla="*/ 8472 h 8763"/>
              <a:gd name="T6" fmla="*/ 4553 w 4843"/>
              <a:gd name="T7" fmla="*/ 8762 h 8763"/>
              <a:gd name="T8" fmla="*/ 290 w 4843"/>
              <a:gd name="T9" fmla="*/ 8762 h 8763"/>
              <a:gd name="T10" fmla="*/ 290 w 4843"/>
              <a:gd name="T11" fmla="*/ 8762 h 8763"/>
              <a:gd name="T12" fmla="*/ 0 w 4843"/>
              <a:gd name="T13" fmla="*/ 8472 h 8763"/>
              <a:gd name="T14" fmla="*/ 0 w 4843"/>
              <a:gd name="T15" fmla="*/ 290 h 8763"/>
              <a:gd name="T16" fmla="*/ 0 w 4843"/>
              <a:gd name="T17" fmla="*/ 290 h 8763"/>
              <a:gd name="T18" fmla="*/ 290 w 4843"/>
              <a:gd name="T19" fmla="*/ 0 h 8763"/>
              <a:gd name="T20" fmla="*/ 4553 w 4843"/>
              <a:gd name="T21" fmla="*/ 0 h 8763"/>
              <a:gd name="T22" fmla="*/ 4553 w 4843"/>
              <a:gd name="T23" fmla="*/ 0 h 8763"/>
              <a:gd name="T24" fmla="*/ 4842 w 4843"/>
              <a:gd name="T25" fmla="*/ 290 h 8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43" h="8763">
                <a:moveTo>
                  <a:pt x="4842" y="290"/>
                </a:moveTo>
                <a:lnTo>
                  <a:pt x="4842" y="8472"/>
                </a:lnTo>
                <a:lnTo>
                  <a:pt x="4842" y="8472"/>
                </a:lnTo>
                <a:cubicBezTo>
                  <a:pt x="4842" y="8633"/>
                  <a:pt x="4713" y="8762"/>
                  <a:pt x="4553" y="8762"/>
                </a:cubicBezTo>
                <a:lnTo>
                  <a:pt x="290" y="8762"/>
                </a:lnTo>
                <a:lnTo>
                  <a:pt x="290" y="8762"/>
                </a:lnTo>
                <a:cubicBezTo>
                  <a:pt x="130" y="8762"/>
                  <a:pt x="0" y="8633"/>
                  <a:pt x="0" y="8472"/>
                </a:cubicBezTo>
                <a:lnTo>
                  <a:pt x="0" y="290"/>
                </a:lnTo>
                <a:lnTo>
                  <a:pt x="0" y="290"/>
                </a:lnTo>
                <a:cubicBezTo>
                  <a:pt x="0" y="130"/>
                  <a:pt x="130" y="0"/>
                  <a:pt x="290" y="0"/>
                </a:cubicBezTo>
                <a:lnTo>
                  <a:pt x="4553" y="0"/>
                </a:lnTo>
                <a:lnTo>
                  <a:pt x="4553" y="0"/>
                </a:lnTo>
                <a:cubicBezTo>
                  <a:pt x="4713" y="0"/>
                  <a:pt x="4842" y="130"/>
                  <a:pt x="4842" y="290"/>
                </a:cubicBezTo>
              </a:path>
            </a:pathLst>
          </a:custGeom>
          <a:solidFill>
            <a:schemeClr val="accent2">
              <a:alpha val="5000"/>
            </a:schemeClr>
          </a:solidFill>
          <a:ln>
            <a:noFill/>
          </a:ln>
          <a:effectLst/>
        </p:spPr>
        <p:txBody>
          <a:bodyPr wrap="none" anchor="ctr"/>
          <a:lstStyle/>
          <a:p>
            <a:endParaRPr lang="en-US" sz="3266"/>
          </a:p>
        </p:txBody>
      </p:sp>
      <p:sp>
        <p:nvSpPr>
          <p:cNvPr id="23" name="Freeform 16">
            <a:extLst>
              <a:ext uri="{FF2B5EF4-FFF2-40B4-BE49-F238E27FC236}">
                <a16:creationId xmlns:a16="http://schemas.microsoft.com/office/drawing/2014/main" id="{134AA0D5-5FDD-BE7C-1ACC-87A189A74C17}"/>
              </a:ext>
            </a:extLst>
          </p:cNvPr>
          <p:cNvSpPr>
            <a:spLocks noChangeArrowheads="1"/>
          </p:cNvSpPr>
          <p:nvPr userDrawn="1"/>
        </p:nvSpPr>
        <p:spPr bwMode="auto">
          <a:xfrm>
            <a:off x="3456353" y="1543050"/>
            <a:ext cx="2582592" cy="3897410"/>
          </a:xfrm>
          <a:custGeom>
            <a:avLst/>
            <a:gdLst>
              <a:gd name="T0" fmla="*/ 0 w 4843"/>
              <a:gd name="T1" fmla="*/ 6949 h 7307"/>
              <a:gd name="T2" fmla="*/ 0 w 4843"/>
              <a:gd name="T3" fmla="*/ 290 h 7307"/>
              <a:gd name="T4" fmla="*/ 0 w 4843"/>
              <a:gd name="T5" fmla="*/ 290 h 7307"/>
              <a:gd name="T6" fmla="*/ 290 w 4843"/>
              <a:gd name="T7" fmla="*/ 0 h 7307"/>
              <a:gd name="T8" fmla="*/ 4553 w 4843"/>
              <a:gd name="T9" fmla="*/ 0 h 7307"/>
              <a:gd name="T10" fmla="*/ 4553 w 4843"/>
              <a:gd name="T11" fmla="*/ 0 h 7307"/>
              <a:gd name="T12" fmla="*/ 4842 w 4843"/>
              <a:gd name="T13" fmla="*/ 290 h 7307"/>
              <a:gd name="T14" fmla="*/ 4842 w 4843"/>
              <a:gd name="T15" fmla="*/ 6949 h 7307"/>
              <a:gd name="T16" fmla="*/ 4842 w 4843"/>
              <a:gd name="T17" fmla="*/ 6949 h 7307"/>
              <a:gd name="T18" fmla="*/ 3930 w 4843"/>
              <a:gd name="T19" fmla="*/ 6047 h 7307"/>
              <a:gd name="T20" fmla="*/ 3930 w 4843"/>
              <a:gd name="T21" fmla="*/ 6047 h 7307"/>
              <a:gd name="T22" fmla="*/ 3930 w 4843"/>
              <a:gd name="T23" fmla="*/ 6047 h 7307"/>
              <a:gd name="T24" fmla="*/ 3930 w 4843"/>
              <a:gd name="T25" fmla="*/ 6047 h 7307"/>
              <a:gd name="T26" fmla="*/ 1462 w 4843"/>
              <a:gd name="T27" fmla="*/ 6892 h 7307"/>
              <a:gd name="T28" fmla="*/ 1462 w 4843"/>
              <a:gd name="T29" fmla="*/ 6892 h 7307"/>
              <a:gd name="T30" fmla="*/ 1252 w 4843"/>
              <a:gd name="T31" fmla="*/ 6964 h 7307"/>
              <a:gd name="T32" fmla="*/ 1252 w 4843"/>
              <a:gd name="T33" fmla="*/ 6964 h 7307"/>
              <a:gd name="T34" fmla="*/ 0 w 4843"/>
              <a:gd name="T35" fmla="*/ 6949 h 7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43" h="7307">
                <a:moveTo>
                  <a:pt x="0" y="6949"/>
                </a:moveTo>
                <a:lnTo>
                  <a:pt x="0" y="290"/>
                </a:lnTo>
                <a:lnTo>
                  <a:pt x="0" y="290"/>
                </a:lnTo>
                <a:cubicBezTo>
                  <a:pt x="0" y="130"/>
                  <a:pt x="130" y="0"/>
                  <a:pt x="290" y="0"/>
                </a:cubicBezTo>
                <a:lnTo>
                  <a:pt x="4553" y="0"/>
                </a:lnTo>
                <a:lnTo>
                  <a:pt x="4553" y="0"/>
                </a:lnTo>
                <a:cubicBezTo>
                  <a:pt x="4713" y="0"/>
                  <a:pt x="4842" y="130"/>
                  <a:pt x="4842" y="290"/>
                </a:cubicBezTo>
                <a:lnTo>
                  <a:pt x="4842" y="6949"/>
                </a:lnTo>
                <a:lnTo>
                  <a:pt x="4842" y="6949"/>
                </a:lnTo>
                <a:cubicBezTo>
                  <a:pt x="4842" y="6949"/>
                  <a:pt x="4819" y="6152"/>
                  <a:pt x="3930" y="6047"/>
                </a:cubicBezTo>
                <a:lnTo>
                  <a:pt x="3930" y="6047"/>
                </a:lnTo>
                <a:cubicBezTo>
                  <a:pt x="3925" y="6046"/>
                  <a:pt x="3934" y="6047"/>
                  <a:pt x="3930" y="6047"/>
                </a:cubicBezTo>
                <a:lnTo>
                  <a:pt x="3930" y="6047"/>
                </a:lnTo>
                <a:cubicBezTo>
                  <a:pt x="3790" y="6002"/>
                  <a:pt x="2940" y="5773"/>
                  <a:pt x="1462" y="6892"/>
                </a:cubicBezTo>
                <a:lnTo>
                  <a:pt x="1462" y="6892"/>
                </a:lnTo>
                <a:cubicBezTo>
                  <a:pt x="1389" y="6920"/>
                  <a:pt x="1319" y="6943"/>
                  <a:pt x="1252" y="6964"/>
                </a:cubicBezTo>
                <a:lnTo>
                  <a:pt x="1252" y="6964"/>
                </a:lnTo>
                <a:cubicBezTo>
                  <a:pt x="336" y="7306"/>
                  <a:pt x="0" y="6949"/>
                  <a:pt x="0" y="6949"/>
                </a:cubicBezTo>
              </a:path>
            </a:pathLst>
          </a:custGeom>
          <a:solidFill>
            <a:schemeClr val="accent2"/>
          </a:solidFill>
          <a:ln>
            <a:noFill/>
          </a:ln>
          <a:effectLst/>
        </p:spPr>
        <p:txBody>
          <a:bodyPr wrap="none" anchor="ctr"/>
          <a:lstStyle/>
          <a:p>
            <a:endParaRPr lang="en-US" sz="3266"/>
          </a:p>
        </p:txBody>
      </p:sp>
      <p:sp>
        <p:nvSpPr>
          <p:cNvPr id="24" name="Freeform 17">
            <a:extLst>
              <a:ext uri="{FF2B5EF4-FFF2-40B4-BE49-F238E27FC236}">
                <a16:creationId xmlns:a16="http://schemas.microsoft.com/office/drawing/2014/main" id="{B29C1323-A681-E249-A5E4-C22580DE99B1}"/>
              </a:ext>
            </a:extLst>
          </p:cNvPr>
          <p:cNvSpPr>
            <a:spLocks noChangeArrowheads="1"/>
          </p:cNvSpPr>
          <p:nvPr userDrawn="1"/>
        </p:nvSpPr>
        <p:spPr bwMode="auto">
          <a:xfrm>
            <a:off x="5552061" y="4668797"/>
            <a:ext cx="489234" cy="583318"/>
          </a:xfrm>
          <a:custGeom>
            <a:avLst/>
            <a:gdLst>
              <a:gd name="T0" fmla="*/ 0 w 917"/>
              <a:gd name="T1" fmla="*/ 181 h 1093"/>
              <a:gd name="T2" fmla="*/ 0 w 917"/>
              <a:gd name="T3" fmla="*/ 181 h 1093"/>
              <a:gd name="T4" fmla="*/ 912 w 917"/>
              <a:gd name="T5" fmla="*/ 1092 h 1093"/>
              <a:gd name="T6" fmla="*/ 912 w 917"/>
              <a:gd name="T7" fmla="*/ 355 h 1093"/>
              <a:gd name="T8" fmla="*/ 912 w 917"/>
              <a:gd name="T9" fmla="*/ 355 h 1093"/>
              <a:gd name="T10" fmla="*/ 0 w 917"/>
              <a:gd name="T11" fmla="*/ 181 h 1093"/>
            </a:gdLst>
            <a:ahLst/>
            <a:cxnLst>
              <a:cxn ang="0">
                <a:pos x="T0" y="T1"/>
              </a:cxn>
              <a:cxn ang="0">
                <a:pos x="T2" y="T3"/>
              </a:cxn>
              <a:cxn ang="0">
                <a:pos x="T4" y="T5"/>
              </a:cxn>
              <a:cxn ang="0">
                <a:pos x="T6" y="T7"/>
              </a:cxn>
              <a:cxn ang="0">
                <a:pos x="T8" y="T9"/>
              </a:cxn>
              <a:cxn ang="0">
                <a:pos x="T10" y="T11"/>
              </a:cxn>
            </a:cxnLst>
            <a:rect l="0" t="0" r="r" b="b"/>
            <a:pathLst>
              <a:path w="917" h="1093">
                <a:moveTo>
                  <a:pt x="0" y="181"/>
                </a:moveTo>
                <a:lnTo>
                  <a:pt x="0" y="181"/>
                </a:lnTo>
                <a:cubicBezTo>
                  <a:pt x="0" y="181"/>
                  <a:pt x="916" y="588"/>
                  <a:pt x="912" y="1092"/>
                </a:cubicBezTo>
                <a:lnTo>
                  <a:pt x="912" y="355"/>
                </a:lnTo>
                <a:lnTo>
                  <a:pt x="912" y="355"/>
                </a:lnTo>
                <a:cubicBezTo>
                  <a:pt x="912" y="355"/>
                  <a:pt x="456" y="0"/>
                  <a:pt x="0" y="181"/>
                </a:cubicBezTo>
              </a:path>
            </a:pathLst>
          </a:custGeom>
          <a:solidFill>
            <a:schemeClr val="accent2">
              <a:lumMod val="75000"/>
            </a:schemeClr>
          </a:solidFill>
          <a:ln>
            <a:noFill/>
          </a:ln>
          <a:effectLst/>
        </p:spPr>
        <p:txBody>
          <a:bodyPr wrap="none" anchor="ctr"/>
          <a:lstStyle/>
          <a:p>
            <a:endParaRPr lang="en-US" sz="3266"/>
          </a:p>
        </p:txBody>
      </p:sp>
      <p:sp>
        <p:nvSpPr>
          <p:cNvPr id="25" name="Freeform 18">
            <a:extLst>
              <a:ext uri="{FF2B5EF4-FFF2-40B4-BE49-F238E27FC236}">
                <a16:creationId xmlns:a16="http://schemas.microsoft.com/office/drawing/2014/main" id="{4EB2C702-3B08-BAEF-E360-3BFA4C705384}"/>
              </a:ext>
            </a:extLst>
          </p:cNvPr>
          <p:cNvSpPr>
            <a:spLocks noChangeArrowheads="1"/>
          </p:cNvSpPr>
          <p:nvPr userDrawn="1"/>
        </p:nvSpPr>
        <p:spPr bwMode="auto">
          <a:xfrm>
            <a:off x="3456353" y="5228773"/>
            <a:ext cx="710331" cy="470418"/>
          </a:xfrm>
          <a:custGeom>
            <a:avLst/>
            <a:gdLst>
              <a:gd name="T0" fmla="*/ 0 w 1333"/>
              <a:gd name="T1" fmla="*/ 61 h 883"/>
              <a:gd name="T2" fmla="*/ 0 w 1333"/>
              <a:gd name="T3" fmla="*/ 61 h 883"/>
              <a:gd name="T4" fmla="*/ 1332 w 1333"/>
              <a:gd name="T5" fmla="*/ 0 h 883"/>
              <a:gd name="T6" fmla="*/ 1332 w 1333"/>
              <a:gd name="T7" fmla="*/ 0 h 883"/>
              <a:gd name="T8" fmla="*/ 0 w 1333"/>
              <a:gd name="T9" fmla="*/ 882 h 883"/>
              <a:gd name="T10" fmla="*/ 0 w 1333"/>
              <a:gd name="T11" fmla="*/ 61 h 883"/>
            </a:gdLst>
            <a:ahLst/>
            <a:cxnLst>
              <a:cxn ang="0">
                <a:pos x="T0" y="T1"/>
              </a:cxn>
              <a:cxn ang="0">
                <a:pos x="T2" y="T3"/>
              </a:cxn>
              <a:cxn ang="0">
                <a:pos x="T4" y="T5"/>
              </a:cxn>
              <a:cxn ang="0">
                <a:pos x="T6" y="T7"/>
              </a:cxn>
              <a:cxn ang="0">
                <a:pos x="T8" y="T9"/>
              </a:cxn>
              <a:cxn ang="0">
                <a:pos x="T10" y="T11"/>
              </a:cxn>
            </a:cxnLst>
            <a:rect l="0" t="0" r="r" b="b"/>
            <a:pathLst>
              <a:path w="1333" h="883">
                <a:moveTo>
                  <a:pt x="0" y="61"/>
                </a:moveTo>
                <a:lnTo>
                  <a:pt x="0" y="61"/>
                </a:lnTo>
                <a:cubicBezTo>
                  <a:pt x="0" y="61"/>
                  <a:pt x="389" y="350"/>
                  <a:pt x="1332" y="0"/>
                </a:cubicBezTo>
                <a:lnTo>
                  <a:pt x="1332" y="0"/>
                </a:lnTo>
                <a:cubicBezTo>
                  <a:pt x="1332" y="0"/>
                  <a:pt x="873" y="790"/>
                  <a:pt x="0" y="882"/>
                </a:cubicBezTo>
                <a:lnTo>
                  <a:pt x="0" y="61"/>
                </a:lnTo>
              </a:path>
            </a:pathLst>
          </a:custGeom>
          <a:solidFill>
            <a:schemeClr val="accent2">
              <a:lumMod val="75000"/>
            </a:schemeClr>
          </a:solidFill>
          <a:ln>
            <a:noFill/>
          </a:ln>
          <a:effectLst/>
        </p:spPr>
        <p:txBody>
          <a:bodyPr wrap="none" anchor="ctr"/>
          <a:lstStyle/>
          <a:p>
            <a:endParaRPr lang="en-US" sz="3266"/>
          </a:p>
        </p:txBody>
      </p:sp>
      <p:sp>
        <p:nvSpPr>
          <p:cNvPr id="26" name="Freeform 19">
            <a:extLst>
              <a:ext uri="{FF2B5EF4-FFF2-40B4-BE49-F238E27FC236}">
                <a16:creationId xmlns:a16="http://schemas.microsoft.com/office/drawing/2014/main" id="{0BC0E89F-2274-E5F0-BD8C-0CAF60856AD1}"/>
              </a:ext>
            </a:extLst>
          </p:cNvPr>
          <p:cNvSpPr>
            <a:spLocks noChangeArrowheads="1"/>
          </p:cNvSpPr>
          <p:nvPr userDrawn="1"/>
        </p:nvSpPr>
        <p:spPr bwMode="auto">
          <a:xfrm>
            <a:off x="3456353" y="5165266"/>
            <a:ext cx="623303" cy="442193"/>
          </a:xfrm>
          <a:custGeom>
            <a:avLst/>
            <a:gdLst>
              <a:gd name="T0" fmla="*/ 0 w 1168"/>
              <a:gd name="T1" fmla="*/ 0 h 829"/>
              <a:gd name="T2" fmla="*/ 0 w 1168"/>
              <a:gd name="T3" fmla="*/ 0 h 829"/>
              <a:gd name="T4" fmla="*/ 1167 w 1168"/>
              <a:gd name="T5" fmla="*/ 174 h 829"/>
              <a:gd name="T6" fmla="*/ 1167 w 1168"/>
              <a:gd name="T7" fmla="*/ 174 h 829"/>
              <a:gd name="T8" fmla="*/ 0 w 1168"/>
              <a:gd name="T9" fmla="*/ 828 h 829"/>
              <a:gd name="T10" fmla="*/ 0 w 1168"/>
              <a:gd name="T11" fmla="*/ 0 h 829"/>
            </a:gdLst>
            <a:ahLst/>
            <a:cxnLst>
              <a:cxn ang="0">
                <a:pos x="T0" y="T1"/>
              </a:cxn>
              <a:cxn ang="0">
                <a:pos x="T2" y="T3"/>
              </a:cxn>
              <a:cxn ang="0">
                <a:pos x="T4" y="T5"/>
              </a:cxn>
              <a:cxn ang="0">
                <a:pos x="T6" y="T7"/>
              </a:cxn>
              <a:cxn ang="0">
                <a:pos x="T8" y="T9"/>
              </a:cxn>
              <a:cxn ang="0">
                <a:pos x="T10" y="T11"/>
              </a:cxn>
            </a:cxnLst>
            <a:rect l="0" t="0" r="r" b="b"/>
            <a:pathLst>
              <a:path w="1168" h="829">
                <a:moveTo>
                  <a:pt x="0" y="0"/>
                </a:moveTo>
                <a:lnTo>
                  <a:pt x="0" y="0"/>
                </a:lnTo>
                <a:cubicBezTo>
                  <a:pt x="0" y="0"/>
                  <a:pt x="227" y="365"/>
                  <a:pt x="1167" y="174"/>
                </a:cubicBezTo>
                <a:lnTo>
                  <a:pt x="1167" y="174"/>
                </a:lnTo>
                <a:cubicBezTo>
                  <a:pt x="1167" y="174"/>
                  <a:pt x="666" y="783"/>
                  <a:pt x="0" y="828"/>
                </a:cubicBezTo>
                <a:lnTo>
                  <a:pt x="0" y="0"/>
                </a:lnTo>
              </a:path>
            </a:pathLst>
          </a:custGeom>
          <a:solidFill>
            <a:schemeClr val="accent2">
              <a:lumMod val="50000"/>
            </a:schemeClr>
          </a:solidFill>
          <a:ln>
            <a:noFill/>
          </a:ln>
          <a:effectLst/>
        </p:spPr>
        <p:txBody>
          <a:bodyPr wrap="none" anchor="ctr"/>
          <a:lstStyle/>
          <a:p>
            <a:endParaRPr lang="en-US" sz="3266"/>
          </a:p>
        </p:txBody>
      </p:sp>
      <p:sp>
        <p:nvSpPr>
          <p:cNvPr id="33" name="Freeform 20">
            <a:extLst>
              <a:ext uri="{FF2B5EF4-FFF2-40B4-BE49-F238E27FC236}">
                <a16:creationId xmlns:a16="http://schemas.microsoft.com/office/drawing/2014/main" id="{D35C4541-6FE4-75B9-6CD3-BFA235C85C0E}"/>
              </a:ext>
            </a:extLst>
          </p:cNvPr>
          <p:cNvSpPr>
            <a:spLocks noChangeArrowheads="1"/>
          </p:cNvSpPr>
          <p:nvPr userDrawn="1"/>
        </p:nvSpPr>
        <p:spPr bwMode="auto">
          <a:xfrm>
            <a:off x="4027909" y="4325393"/>
            <a:ext cx="1526506" cy="1077256"/>
          </a:xfrm>
          <a:custGeom>
            <a:avLst/>
            <a:gdLst>
              <a:gd name="T0" fmla="*/ 0 w 2861"/>
              <a:gd name="T1" fmla="*/ 2018 h 2019"/>
              <a:gd name="T2" fmla="*/ 0 w 2861"/>
              <a:gd name="T3" fmla="*/ 2018 h 2019"/>
              <a:gd name="T4" fmla="*/ 183 w 2861"/>
              <a:gd name="T5" fmla="*/ 1774 h 2019"/>
              <a:gd name="T6" fmla="*/ 183 w 2861"/>
              <a:gd name="T7" fmla="*/ 1774 h 2019"/>
              <a:gd name="T8" fmla="*/ 2853 w 2861"/>
              <a:gd name="T9" fmla="*/ 821 h 2019"/>
              <a:gd name="T10" fmla="*/ 2853 w 2861"/>
              <a:gd name="T11" fmla="*/ 821 h 2019"/>
              <a:gd name="T12" fmla="*/ 2860 w 2861"/>
              <a:gd name="T13" fmla="*/ 827 h 2019"/>
              <a:gd name="T14" fmla="*/ 2860 w 2861"/>
              <a:gd name="T15" fmla="*/ 827 h 2019"/>
              <a:gd name="T16" fmla="*/ 2840 w 2861"/>
              <a:gd name="T17" fmla="*/ 820 h 2019"/>
              <a:gd name="T18" fmla="*/ 2840 w 2861"/>
              <a:gd name="T19" fmla="*/ 820 h 2019"/>
              <a:gd name="T20" fmla="*/ 393 w 2861"/>
              <a:gd name="T21" fmla="*/ 1702 h 2019"/>
              <a:gd name="T22" fmla="*/ 393 w 2861"/>
              <a:gd name="T23" fmla="*/ 1702 h 2019"/>
              <a:gd name="T24" fmla="*/ 0 w 2861"/>
              <a:gd name="T25" fmla="*/ 2018 h 2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61" h="2019">
                <a:moveTo>
                  <a:pt x="0" y="2018"/>
                </a:moveTo>
                <a:lnTo>
                  <a:pt x="0" y="2018"/>
                </a:lnTo>
                <a:cubicBezTo>
                  <a:pt x="5" y="2012"/>
                  <a:pt x="70" y="1916"/>
                  <a:pt x="183" y="1774"/>
                </a:cubicBezTo>
                <a:lnTo>
                  <a:pt x="183" y="1774"/>
                </a:lnTo>
                <a:cubicBezTo>
                  <a:pt x="622" y="1224"/>
                  <a:pt x="1781" y="0"/>
                  <a:pt x="2853" y="821"/>
                </a:cubicBezTo>
                <a:lnTo>
                  <a:pt x="2853" y="821"/>
                </a:lnTo>
                <a:cubicBezTo>
                  <a:pt x="2855" y="823"/>
                  <a:pt x="2858" y="825"/>
                  <a:pt x="2860" y="827"/>
                </a:cubicBezTo>
                <a:lnTo>
                  <a:pt x="2860" y="827"/>
                </a:lnTo>
                <a:cubicBezTo>
                  <a:pt x="2858" y="827"/>
                  <a:pt x="2852" y="824"/>
                  <a:pt x="2840" y="820"/>
                </a:cubicBezTo>
                <a:lnTo>
                  <a:pt x="2840" y="820"/>
                </a:lnTo>
                <a:cubicBezTo>
                  <a:pt x="2700" y="775"/>
                  <a:pt x="1871" y="584"/>
                  <a:pt x="393" y="1702"/>
                </a:cubicBezTo>
                <a:lnTo>
                  <a:pt x="393" y="1702"/>
                </a:lnTo>
                <a:cubicBezTo>
                  <a:pt x="267" y="1798"/>
                  <a:pt x="136" y="1903"/>
                  <a:pt x="0" y="2018"/>
                </a:cubicBezTo>
              </a:path>
            </a:pathLst>
          </a:custGeom>
          <a:solidFill>
            <a:schemeClr val="accent2">
              <a:lumMod val="50000"/>
            </a:schemeClr>
          </a:solidFill>
          <a:ln>
            <a:noFill/>
          </a:ln>
          <a:effectLst/>
        </p:spPr>
        <p:txBody>
          <a:bodyPr wrap="none" anchor="ctr"/>
          <a:lstStyle/>
          <a:p>
            <a:endParaRPr lang="en-US" sz="3266"/>
          </a:p>
        </p:txBody>
      </p:sp>
      <p:sp>
        <p:nvSpPr>
          <p:cNvPr id="34" name="Freeform 21">
            <a:extLst>
              <a:ext uri="{FF2B5EF4-FFF2-40B4-BE49-F238E27FC236}">
                <a16:creationId xmlns:a16="http://schemas.microsoft.com/office/drawing/2014/main" id="{1D388A29-0CBC-0C1D-A344-73759D9FCA0F}"/>
              </a:ext>
            </a:extLst>
          </p:cNvPr>
          <p:cNvSpPr>
            <a:spLocks noChangeArrowheads="1"/>
          </p:cNvSpPr>
          <p:nvPr userDrawn="1"/>
        </p:nvSpPr>
        <p:spPr bwMode="auto">
          <a:xfrm>
            <a:off x="4006742" y="5628778"/>
            <a:ext cx="1566490" cy="372277"/>
          </a:xfrm>
          <a:prstGeom prst="roundRect">
            <a:avLst>
              <a:gd name="adj" fmla="val 50000"/>
            </a:avLst>
          </a:prstGeom>
          <a:solidFill>
            <a:schemeClr val="accent2"/>
          </a:solidFill>
          <a:ln>
            <a:noFill/>
          </a:ln>
          <a:effectLst/>
        </p:spPr>
        <p:txBody>
          <a:bodyPr wrap="none" anchor="ctr"/>
          <a:lstStyle/>
          <a:p>
            <a:endParaRPr lang="en-US" sz="3266"/>
          </a:p>
        </p:txBody>
      </p:sp>
      <p:sp>
        <p:nvSpPr>
          <p:cNvPr id="43" name="Freeform 15">
            <a:extLst>
              <a:ext uri="{FF2B5EF4-FFF2-40B4-BE49-F238E27FC236}">
                <a16:creationId xmlns:a16="http://schemas.microsoft.com/office/drawing/2014/main" id="{0E406203-528F-FDAF-A731-EE62B37D9278}"/>
              </a:ext>
            </a:extLst>
          </p:cNvPr>
          <p:cNvSpPr>
            <a:spLocks noChangeArrowheads="1"/>
          </p:cNvSpPr>
          <p:nvPr userDrawn="1"/>
        </p:nvSpPr>
        <p:spPr bwMode="auto">
          <a:xfrm>
            <a:off x="6150705" y="1543051"/>
            <a:ext cx="2582592" cy="4673599"/>
          </a:xfrm>
          <a:custGeom>
            <a:avLst/>
            <a:gdLst>
              <a:gd name="T0" fmla="*/ 4842 w 4843"/>
              <a:gd name="T1" fmla="*/ 290 h 8763"/>
              <a:gd name="T2" fmla="*/ 4842 w 4843"/>
              <a:gd name="T3" fmla="*/ 8472 h 8763"/>
              <a:gd name="T4" fmla="*/ 4842 w 4843"/>
              <a:gd name="T5" fmla="*/ 8472 h 8763"/>
              <a:gd name="T6" fmla="*/ 4553 w 4843"/>
              <a:gd name="T7" fmla="*/ 8762 h 8763"/>
              <a:gd name="T8" fmla="*/ 290 w 4843"/>
              <a:gd name="T9" fmla="*/ 8762 h 8763"/>
              <a:gd name="T10" fmla="*/ 290 w 4843"/>
              <a:gd name="T11" fmla="*/ 8762 h 8763"/>
              <a:gd name="T12" fmla="*/ 0 w 4843"/>
              <a:gd name="T13" fmla="*/ 8472 h 8763"/>
              <a:gd name="T14" fmla="*/ 0 w 4843"/>
              <a:gd name="T15" fmla="*/ 290 h 8763"/>
              <a:gd name="T16" fmla="*/ 0 w 4843"/>
              <a:gd name="T17" fmla="*/ 290 h 8763"/>
              <a:gd name="T18" fmla="*/ 290 w 4843"/>
              <a:gd name="T19" fmla="*/ 0 h 8763"/>
              <a:gd name="T20" fmla="*/ 4553 w 4843"/>
              <a:gd name="T21" fmla="*/ 0 h 8763"/>
              <a:gd name="T22" fmla="*/ 4553 w 4843"/>
              <a:gd name="T23" fmla="*/ 0 h 8763"/>
              <a:gd name="T24" fmla="*/ 4842 w 4843"/>
              <a:gd name="T25" fmla="*/ 290 h 8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43" h="8763">
                <a:moveTo>
                  <a:pt x="4842" y="290"/>
                </a:moveTo>
                <a:lnTo>
                  <a:pt x="4842" y="8472"/>
                </a:lnTo>
                <a:lnTo>
                  <a:pt x="4842" y="8472"/>
                </a:lnTo>
                <a:cubicBezTo>
                  <a:pt x="4842" y="8633"/>
                  <a:pt x="4713" y="8762"/>
                  <a:pt x="4553" y="8762"/>
                </a:cubicBezTo>
                <a:lnTo>
                  <a:pt x="290" y="8762"/>
                </a:lnTo>
                <a:lnTo>
                  <a:pt x="290" y="8762"/>
                </a:lnTo>
                <a:cubicBezTo>
                  <a:pt x="130" y="8762"/>
                  <a:pt x="0" y="8633"/>
                  <a:pt x="0" y="8472"/>
                </a:cubicBezTo>
                <a:lnTo>
                  <a:pt x="0" y="290"/>
                </a:lnTo>
                <a:lnTo>
                  <a:pt x="0" y="290"/>
                </a:lnTo>
                <a:cubicBezTo>
                  <a:pt x="0" y="130"/>
                  <a:pt x="130" y="0"/>
                  <a:pt x="290" y="0"/>
                </a:cubicBezTo>
                <a:lnTo>
                  <a:pt x="4553" y="0"/>
                </a:lnTo>
                <a:lnTo>
                  <a:pt x="4553" y="0"/>
                </a:lnTo>
                <a:cubicBezTo>
                  <a:pt x="4713" y="0"/>
                  <a:pt x="4842" y="130"/>
                  <a:pt x="4842" y="290"/>
                </a:cubicBezTo>
              </a:path>
            </a:pathLst>
          </a:custGeom>
          <a:solidFill>
            <a:schemeClr val="accent3">
              <a:alpha val="5000"/>
            </a:schemeClr>
          </a:solidFill>
          <a:ln>
            <a:noFill/>
          </a:ln>
          <a:effectLst/>
        </p:spPr>
        <p:txBody>
          <a:bodyPr wrap="none" anchor="ctr"/>
          <a:lstStyle/>
          <a:p>
            <a:endParaRPr lang="en-US" sz="3266"/>
          </a:p>
        </p:txBody>
      </p:sp>
      <p:sp>
        <p:nvSpPr>
          <p:cNvPr id="44" name="Freeform 16">
            <a:extLst>
              <a:ext uri="{FF2B5EF4-FFF2-40B4-BE49-F238E27FC236}">
                <a16:creationId xmlns:a16="http://schemas.microsoft.com/office/drawing/2014/main" id="{3F148455-2694-056C-95AC-ADDD68D458A6}"/>
              </a:ext>
            </a:extLst>
          </p:cNvPr>
          <p:cNvSpPr>
            <a:spLocks noChangeArrowheads="1"/>
          </p:cNvSpPr>
          <p:nvPr userDrawn="1"/>
        </p:nvSpPr>
        <p:spPr bwMode="auto">
          <a:xfrm>
            <a:off x="6150705" y="1543050"/>
            <a:ext cx="2582592" cy="3897410"/>
          </a:xfrm>
          <a:custGeom>
            <a:avLst/>
            <a:gdLst>
              <a:gd name="T0" fmla="*/ 0 w 4843"/>
              <a:gd name="T1" fmla="*/ 6949 h 7307"/>
              <a:gd name="T2" fmla="*/ 0 w 4843"/>
              <a:gd name="T3" fmla="*/ 290 h 7307"/>
              <a:gd name="T4" fmla="*/ 0 w 4843"/>
              <a:gd name="T5" fmla="*/ 290 h 7307"/>
              <a:gd name="T6" fmla="*/ 290 w 4843"/>
              <a:gd name="T7" fmla="*/ 0 h 7307"/>
              <a:gd name="T8" fmla="*/ 4553 w 4843"/>
              <a:gd name="T9" fmla="*/ 0 h 7307"/>
              <a:gd name="T10" fmla="*/ 4553 w 4843"/>
              <a:gd name="T11" fmla="*/ 0 h 7307"/>
              <a:gd name="T12" fmla="*/ 4842 w 4843"/>
              <a:gd name="T13" fmla="*/ 290 h 7307"/>
              <a:gd name="T14" fmla="*/ 4842 w 4843"/>
              <a:gd name="T15" fmla="*/ 6949 h 7307"/>
              <a:gd name="T16" fmla="*/ 4842 w 4843"/>
              <a:gd name="T17" fmla="*/ 6949 h 7307"/>
              <a:gd name="T18" fmla="*/ 3930 w 4843"/>
              <a:gd name="T19" fmla="*/ 6047 h 7307"/>
              <a:gd name="T20" fmla="*/ 3930 w 4843"/>
              <a:gd name="T21" fmla="*/ 6047 h 7307"/>
              <a:gd name="T22" fmla="*/ 3930 w 4843"/>
              <a:gd name="T23" fmla="*/ 6047 h 7307"/>
              <a:gd name="T24" fmla="*/ 3930 w 4843"/>
              <a:gd name="T25" fmla="*/ 6047 h 7307"/>
              <a:gd name="T26" fmla="*/ 1462 w 4843"/>
              <a:gd name="T27" fmla="*/ 6892 h 7307"/>
              <a:gd name="T28" fmla="*/ 1462 w 4843"/>
              <a:gd name="T29" fmla="*/ 6892 h 7307"/>
              <a:gd name="T30" fmla="*/ 1252 w 4843"/>
              <a:gd name="T31" fmla="*/ 6964 h 7307"/>
              <a:gd name="T32" fmla="*/ 1252 w 4843"/>
              <a:gd name="T33" fmla="*/ 6964 h 7307"/>
              <a:gd name="T34" fmla="*/ 0 w 4843"/>
              <a:gd name="T35" fmla="*/ 6949 h 7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43" h="7307">
                <a:moveTo>
                  <a:pt x="0" y="6949"/>
                </a:moveTo>
                <a:lnTo>
                  <a:pt x="0" y="290"/>
                </a:lnTo>
                <a:lnTo>
                  <a:pt x="0" y="290"/>
                </a:lnTo>
                <a:cubicBezTo>
                  <a:pt x="0" y="130"/>
                  <a:pt x="130" y="0"/>
                  <a:pt x="290" y="0"/>
                </a:cubicBezTo>
                <a:lnTo>
                  <a:pt x="4553" y="0"/>
                </a:lnTo>
                <a:lnTo>
                  <a:pt x="4553" y="0"/>
                </a:lnTo>
                <a:cubicBezTo>
                  <a:pt x="4713" y="0"/>
                  <a:pt x="4842" y="130"/>
                  <a:pt x="4842" y="290"/>
                </a:cubicBezTo>
                <a:lnTo>
                  <a:pt x="4842" y="6949"/>
                </a:lnTo>
                <a:lnTo>
                  <a:pt x="4842" y="6949"/>
                </a:lnTo>
                <a:cubicBezTo>
                  <a:pt x="4842" y="6949"/>
                  <a:pt x="4819" y="6152"/>
                  <a:pt x="3930" y="6047"/>
                </a:cubicBezTo>
                <a:lnTo>
                  <a:pt x="3930" y="6047"/>
                </a:lnTo>
                <a:cubicBezTo>
                  <a:pt x="3925" y="6046"/>
                  <a:pt x="3934" y="6047"/>
                  <a:pt x="3930" y="6047"/>
                </a:cubicBezTo>
                <a:lnTo>
                  <a:pt x="3930" y="6047"/>
                </a:lnTo>
                <a:cubicBezTo>
                  <a:pt x="3790" y="6002"/>
                  <a:pt x="2940" y="5773"/>
                  <a:pt x="1462" y="6892"/>
                </a:cubicBezTo>
                <a:lnTo>
                  <a:pt x="1462" y="6892"/>
                </a:lnTo>
                <a:cubicBezTo>
                  <a:pt x="1389" y="6920"/>
                  <a:pt x="1319" y="6943"/>
                  <a:pt x="1252" y="6964"/>
                </a:cubicBezTo>
                <a:lnTo>
                  <a:pt x="1252" y="6964"/>
                </a:lnTo>
                <a:cubicBezTo>
                  <a:pt x="336" y="7306"/>
                  <a:pt x="0" y="6949"/>
                  <a:pt x="0" y="6949"/>
                </a:cubicBezTo>
              </a:path>
            </a:pathLst>
          </a:custGeom>
          <a:solidFill>
            <a:schemeClr val="accent3"/>
          </a:solidFill>
          <a:ln>
            <a:noFill/>
          </a:ln>
          <a:effectLst/>
        </p:spPr>
        <p:txBody>
          <a:bodyPr wrap="none" anchor="ctr"/>
          <a:lstStyle/>
          <a:p>
            <a:endParaRPr lang="en-US" sz="3266"/>
          </a:p>
        </p:txBody>
      </p:sp>
      <p:sp>
        <p:nvSpPr>
          <p:cNvPr id="45" name="Freeform 17">
            <a:extLst>
              <a:ext uri="{FF2B5EF4-FFF2-40B4-BE49-F238E27FC236}">
                <a16:creationId xmlns:a16="http://schemas.microsoft.com/office/drawing/2014/main" id="{8878C2DA-F9EF-7651-6713-F6F766B7FE2C}"/>
              </a:ext>
            </a:extLst>
          </p:cNvPr>
          <p:cNvSpPr>
            <a:spLocks noChangeArrowheads="1"/>
          </p:cNvSpPr>
          <p:nvPr userDrawn="1"/>
        </p:nvSpPr>
        <p:spPr bwMode="auto">
          <a:xfrm>
            <a:off x="8246413" y="4668797"/>
            <a:ext cx="489234" cy="583318"/>
          </a:xfrm>
          <a:custGeom>
            <a:avLst/>
            <a:gdLst>
              <a:gd name="T0" fmla="*/ 0 w 917"/>
              <a:gd name="T1" fmla="*/ 181 h 1093"/>
              <a:gd name="T2" fmla="*/ 0 w 917"/>
              <a:gd name="T3" fmla="*/ 181 h 1093"/>
              <a:gd name="T4" fmla="*/ 912 w 917"/>
              <a:gd name="T5" fmla="*/ 1092 h 1093"/>
              <a:gd name="T6" fmla="*/ 912 w 917"/>
              <a:gd name="T7" fmla="*/ 355 h 1093"/>
              <a:gd name="T8" fmla="*/ 912 w 917"/>
              <a:gd name="T9" fmla="*/ 355 h 1093"/>
              <a:gd name="T10" fmla="*/ 0 w 917"/>
              <a:gd name="T11" fmla="*/ 181 h 1093"/>
            </a:gdLst>
            <a:ahLst/>
            <a:cxnLst>
              <a:cxn ang="0">
                <a:pos x="T0" y="T1"/>
              </a:cxn>
              <a:cxn ang="0">
                <a:pos x="T2" y="T3"/>
              </a:cxn>
              <a:cxn ang="0">
                <a:pos x="T4" y="T5"/>
              </a:cxn>
              <a:cxn ang="0">
                <a:pos x="T6" y="T7"/>
              </a:cxn>
              <a:cxn ang="0">
                <a:pos x="T8" y="T9"/>
              </a:cxn>
              <a:cxn ang="0">
                <a:pos x="T10" y="T11"/>
              </a:cxn>
            </a:cxnLst>
            <a:rect l="0" t="0" r="r" b="b"/>
            <a:pathLst>
              <a:path w="917" h="1093">
                <a:moveTo>
                  <a:pt x="0" y="181"/>
                </a:moveTo>
                <a:lnTo>
                  <a:pt x="0" y="181"/>
                </a:lnTo>
                <a:cubicBezTo>
                  <a:pt x="0" y="181"/>
                  <a:pt x="916" y="588"/>
                  <a:pt x="912" y="1092"/>
                </a:cubicBezTo>
                <a:lnTo>
                  <a:pt x="912" y="355"/>
                </a:lnTo>
                <a:lnTo>
                  <a:pt x="912" y="355"/>
                </a:lnTo>
                <a:cubicBezTo>
                  <a:pt x="912" y="355"/>
                  <a:pt x="456" y="0"/>
                  <a:pt x="0" y="181"/>
                </a:cubicBezTo>
              </a:path>
            </a:pathLst>
          </a:custGeom>
          <a:solidFill>
            <a:schemeClr val="accent3">
              <a:lumMod val="75000"/>
            </a:schemeClr>
          </a:solidFill>
          <a:ln>
            <a:noFill/>
          </a:ln>
          <a:effectLst/>
        </p:spPr>
        <p:txBody>
          <a:bodyPr wrap="none" anchor="ctr"/>
          <a:lstStyle/>
          <a:p>
            <a:endParaRPr lang="en-US" sz="3266"/>
          </a:p>
        </p:txBody>
      </p:sp>
      <p:sp>
        <p:nvSpPr>
          <p:cNvPr id="46" name="Freeform 18">
            <a:extLst>
              <a:ext uri="{FF2B5EF4-FFF2-40B4-BE49-F238E27FC236}">
                <a16:creationId xmlns:a16="http://schemas.microsoft.com/office/drawing/2014/main" id="{6AD04981-EFF0-4ED8-CDD1-47DCF459724B}"/>
              </a:ext>
            </a:extLst>
          </p:cNvPr>
          <p:cNvSpPr>
            <a:spLocks noChangeArrowheads="1"/>
          </p:cNvSpPr>
          <p:nvPr userDrawn="1"/>
        </p:nvSpPr>
        <p:spPr bwMode="auto">
          <a:xfrm>
            <a:off x="6150705" y="5228773"/>
            <a:ext cx="710331" cy="470418"/>
          </a:xfrm>
          <a:custGeom>
            <a:avLst/>
            <a:gdLst>
              <a:gd name="T0" fmla="*/ 0 w 1333"/>
              <a:gd name="T1" fmla="*/ 61 h 883"/>
              <a:gd name="T2" fmla="*/ 0 w 1333"/>
              <a:gd name="T3" fmla="*/ 61 h 883"/>
              <a:gd name="T4" fmla="*/ 1332 w 1333"/>
              <a:gd name="T5" fmla="*/ 0 h 883"/>
              <a:gd name="T6" fmla="*/ 1332 w 1333"/>
              <a:gd name="T7" fmla="*/ 0 h 883"/>
              <a:gd name="T8" fmla="*/ 0 w 1333"/>
              <a:gd name="T9" fmla="*/ 882 h 883"/>
              <a:gd name="T10" fmla="*/ 0 w 1333"/>
              <a:gd name="T11" fmla="*/ 61 h 883"/>
            </a:gdLst>
            <a:ahLst/>
            <a:cxnLst>
              <a:cxn ang="0">
                <a:pos x="T0" y="T1"/>
              </a:cxn>
              <a:cxn ang="0">
                <a:pos x="T2" y="T3"/>
              </a:cxn>
              <a:cxn ang="0">
                <a:pos x="T4" y="T5"/>
              </a:cxn>
              <a:cxn ang="0">
                <a:pos x="T6" y="T7"/>
              </a:cxn>
              <a:cxn ang="0">
                <a:pos x="T8" y="T9"/>
              </a:cxn>
              <a:cxn ang="0">
                <a:pos x="T10" y="T11"/>
              </a:cxn>
            </a:cxnLst>
            <a:rect l="0" t="0" r="r" b="b"/>
            <a:pathLst>
              <a:path w="1333" h="883">
                <a:moveTo>
                  <a:pt x="0" y="61"/>
                </a:moveTo>
                <a:lnTo>
                  <a:pt x="0" y="61"/>
                </a:lnTo>
                <a:cubicBezTo>
                  <a:pt x="0" y="61"/>
                  <a:pt x="389" y="350"/>
                  <a:pt x="1332" y="0"/>
                </a:cubicBezTo>
                <a:lnTo>
                  <a:pt x="1332" y="0"/>
                </a:lnTo>
                <a:cubicBezTo>
                  <a:pt x="1332" y="0"/>
                  <a:pt x="873" y="790"/>
                  <a:pt x="0" y="882"/>
                </a:cubicBezTo>
                <a:lnTo>
                  <a:pt x="0" y="61"/>
                </a:lnTo>
              </a:path>
            </a:pathLst>
          </a:custGeom>
          <a:solidFill>
            <a:schemeClr val="accent3">
              <a:lumMod val="75000"/>
            </a:schemeClr>
          </a:solidFill>
          <a:ln>
            <a:noFill/>
          </a:ln>
          <a:effectLst/>
        </p:spPr>
        <p:txBody>
          <a:bodyPr wrap="none" anchor="ctr"/>
          <a:lstStyle/>
          <a:p>
            <a:endParaRPr lang="en-US" sz="3266"/>
          </a:p>
        </p:txBody>
      </p:sp>
      <p:sp>
        <p:nvSpPr>
          <p:cNvPr id="47" name="Freeform 19">
            <a:extLst>
              <a:ext uri="{FF2B5EF4-FFF2-40B4-BE49-F238E27FC236}">
                <a16:creationId xmlns:a16="http://schemas.microsoft.com/office/drawing/2014/main" id="{AEBE2D51-E6CC-7E98-42B3-BA2CB90F380A}"/>
              </a:ext>
            </a:extLst>
          </p:cNvPr>
          <p:cNvSpPr>
            <a:spLocks noChangeArrowheads="1"/>
          </p:cNvSpPr>
          <p:nvPr userDrawn="1"/>
        </p:nvSpPr>
        <p:spPr bwMode="auto">
          <a:xfrm>
            <a:off x="6150705" y="5165266"/>
            <a:ext cx="623303" cy="442193"/>
          </a:xfrm>
          <a:custGeom>
            <a:avLst/>
            <a:gdLst>
              <a:gd name="T0" fmla="*/ 0 w 1168"/>
              <a:gd name="T1" fmla="*/ 0 h 829"/>
              <a:gd name="T2" fmla="*/ 0 w 1168"/>
              <a:gd name="T3" fmla="*/ 0 h 829"/>
              <a:gd name="T4" fmla="*/ 1167 w 1168"/>
              <a:gd name="T5" fmla="*/ 174 h 829"/>
              <a:gd name="T6" fmla="*/ 1167 w 1168"/>
              <a:gd name="T7" fmla="*/ 174 h 829"/>
              <a:gd name="T8" fmla="*/ 0 w 1168"/>
              <a:gd name="T9" fmla="*/ 828 h 829"/>
              <a:gd name="T10" fmla="*/ 0 w 1168"/>
              <a:gd name="T11" fmla="*/ 0 h 829"/>
            </a:gdLst>
            <a:ahLst/>
            <a:cxnLst>
              <a:cxn ang="0">
                <a:pos x="T0" y="T1"/>
              </a:cxn>
              <a:cxn ang="0">
                <a:pos x="T2" y="T3"/>
              </a:cxn>
              <a:cxn ang="0">
                <a:pos x="T4" y="T5"/>
              </a:cxn>
              <a:cxn ang="0">
                <a:pos x="T6" y="T7"/>
              </a:cxn>
              <a:cxn ang="0">
                <a:pos x="T8" y="T9"/>
              </a:cxn>
              <a:cxn ang="0">
                <a:pos x="T10" y="T11"/>
              </a:cxn>
            </a:cxnLst>
            <a:rect l="0" t="0" r="r" b="b"/>
            <a:pathLst>
              <a:path w="1168" h="829">
                <a:moveTo>
                  <a:pt x="0" y="0"/>
                </a:moveTo>
                <a:lnTo>
                  <a:pt x="0" y="0"/>
                </a:lnTo>
                <a:cubicBezTo>
                  <a:pt x="0" y="0"/>
                  <a:pt x="227" y="365"/>
                  <a:pt x="1167" y="174"/>
                </a:cubicBezTo>
                <a:lnTo>
                  <a:pt x="1167" y="174"/>
                </a:lnTo>
                <a:cubicBezTo>
                  <a:pt x="1167" y="174"/>
                  <a:pt x="666" y="783"/>
                  <a:pt x="0" y="828"/>
                </a:cubicBezTo>
                <a:lnTo>
                  <a:pt x="0" y="0"/>
                </a:lnTo>
              </a:path>
            </a:pathLst>
          </a:custGeom>
          <a:solidFill>
            <a:schemeClr val="accent3">
              <a:lumMod val="50000"/>
            </a:schemeClr>
          </a:solidFill>
          <a:ln>
            <a:noFill/>
          </a:ln>
          <a:effectLst/>
        </p:spPr>
        <p:txBody>
          <a:bodyPr wrap="none" anchor="ctr"/>
          <a:lstStyle/>
          <a:p>
            <a:endParaRPr lang="en-US" sz="3266"/>
          </a:p>
        </p:txBody>
      </p:sp>
      <p:sp>
        <p:nvSpPr>
          <p:cNvPr id="48" name="Freeform 20">
            <a:extLst>
              <a:ext uri="{FF2B5EF4-FFF2-40B4-BE49-F238E27FC236}">
                <a16:creationId xmlns:a16="http://schemas.microsoft.com/office/drawing/2014/main" id="{CD0D2365-2812-DAEA-70FD-A978D5AACA72}"/>
              </a:ext>
            </a:extLst>
          </p:cNvPr>
          <p:cNvSpPr>
            <a:spLocks noChangeArrowheads="1"/>
          </p:cNvSpPr>
          <p:nvPr userDrawn="1"/>
        </p:nvSpPr>
        <p:spPr bwMode="auto">
          <a:xfrm>
            <a:off x="6722261" y="4325393"/>
            <a:ext cx="1526506" cy="1077256"/>
          </a:xfrm>
          <a:custGeom>
            <a:avLst/>
            <a:gdLst>
              <a:gd name="T0" fmla="*/ 0 w 2861"/>
              <a:gd name="T1" fmla="*/ 2018 h 2019"/>
              <a:gd name="T2" fmla="*/ 0 w 2861"/>
              <a:gd name="T3" fmla="*/ 2018 h 2019"/>
              <a:gd name="T4" fmla="*/ 183 w 2861"/>
              <a:gd name="T5" fmla="*/ 1774 h 2019"/>
              <a:gd name="T6" fmla="*/ 183 w 2861"/>
              <a:gd name="T7" fmla="*/ 1774 h 2019"/>
              <a:gd name="T8" fmla="*/ 2853 w 2861"/>
              <a:gd name="T9" fmla="*/ 821 h 2019"/>
              <a:gd name="T10" fmla="*/ 2853 w 2861"/>
              <a:gd name="T11" fmla="*/ 821 h 2019"/>
              <a:gd name="T12" fmla="*/ 2860 w 2861"/>
              <a:gd name="T13" fmla="*/ 827 h 2019"/>
              <a:gd name="T14" fmla="*/ 2860 w 2861"/>
              <a:gd name="T15" fmla="*/ 827 h 2019"/>
              <a:gd name="T16" fmla="*/ 2840 w 2861"/>
              <a:gd name="T17" fmla="*/ 820 h 2019"/>
              <a:gd name="T18" fmla="*/ 2840 w 2861"/>
              <a:gd name="T19" fmla="*/ 820 h 2019"/>
              <a:gd name="T20" fmla="*/ 393 w 2861"/>
              <a:gd name="T21" fmla="*/ 1702 h 2019"/>
              <a:gd name="T22" fmla="*/ 393 w 2861"/>
              <a:gd name="T23" fmla="*/ 1702 h 2019"/>
              <a:gd name="T24" fmla="*/ 0 w 2861"/>
              <a:gd name="T25" fmla="*/ 2018 h 2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61" h="2019">
                <a:moveTo>
                  <a:pt x="0" y="2018"/>
                </a:moveTo>
                <a:lnTo>
                  <a:pt x="0" y="2018"/>
                </a:lnTo>
                <a:cubicBezTo>
                  <a:pt x="5" y="2012"/>
                  <a:pt x="70" y="1916"/>
                  <a:pt x="183" y="1774"/>
                </a:cubicBezTo>
                <a:lnTo>
                  <a:pt x="183" y="1774"/>
                </a:lnTo>
                <a:cubicBezTo>
                  <a:pt x="622" y="1224"/>
                  <a:pt x="1781" y="0"/>
                  <a:pt x="2853" y="821"/>
                </a:cubicBezTo>
                <a:lnTo>
                  <a:pt x="2853" y="821"/>
                </a:lnTo>
                <a:cubicBezTo>
                  <a:pt x="2855" y="823"/>
                  <a:pt x="2858" y="825"/>
                  <a:pt x="2860" y="827"/>
                </a:cubicBezTo>
                <a:lnTo>
                  <a:pt x="2860" y="827"/>
                </a:lnTo>
                <a:cubicBezTo>
                  <a:pt x="2858" y="827"/>
                  <a:pt x="2852" y="824"/>
                  <a:pt x="2840" y="820"/>
                </a:cubicBezTo>
                <a:lnTo>
                  <a:pt x="2840" y="820"/>
                </a:lnTo>
                <a:cubicBezTo>
                  <a:pt x="2700" y="775"/>
                  <a:pt x="1871" y="584"/>
                  <a:pt x="393" y="1702"/>
                </a:cubicBezTo>
                <a:lnTo>
                  <a:pt x="393" y="1702"/>
                </a:lnTo>
                <a:cubicBezTo>
                  <a:pt x="267" y="1798"/>
                  <a:pt x="136" y="1903"/>
                  <a:pt x="0" y="2018"/>
                </a:cubicBezTo>
              </a:path>
            </a:pathLst>
          </a:custGeom>
          <a:solidFill>
            <a:schemeClr val="accent3">
              <a:lumMod val="50000"/>
            </a:schemeClr>
          </a:solidFill>
          <a:ln>
            <a:noFill/>
          </a:ln>
          <a:effectLst/>
        </p:spPr>
        <p:txBody>
          <a:bodyPr wrap="none" anchor="ctr"/>
          <a:lstStyle/>
          <a:p>
            <a:endParaRPr lang="en-US" sz="3266"/>
          </a:p>
        </p:txBody>
      </p:sp>
      <p:sp>
        <p:nvSpPr>
          <p:cNvPr id="49" name="Freeform 21">
            <a:extLst>
              <a:ext uri="{FF2B5EF4-FFF2-40B4-BE49-F238E27FC236}">
                <a16:creationId xmlns:a16="http://schemas.microsoft.com/office/drawing/2014/main" id="{09812CB5-C4EA-75F9-C46A-453B81943F6F}"/>
              </a:ext>
            </a:extLst>
          </p:cNvPr>
          <p:cNvSpPr>
            <a:spLocks noChangeArrowheads="1"/>
          </p:cNvSpPr>
          <p:nvPr userDrawn="1"/>
        </p:nvSpPr>
        <p:spPr bwMode="auto">
          <a:xfrm>
            <a:off x="6701094" y="5628778"/>
            <a:ext cx="1566490" cy="372277"/>
          </a:xfrm>
          <a:prstGeom prst="roundRect">
            <a:avLst>
              <a:gd name="adj" fmla="val 50000"/>
            </a:avLst>
          </a:prstGeom>
          <a:solidFill>
            <a:schemeClr val="accent3"/>
          </a:solidFill>
          <a:ln>
            <a:noFill/>
          </a:ln>
          <a:effectLst/>
        </p:spPr>
        <p:txBody>
          <a:bodyPr wrap="none" anchor="ctr"/>
          <a:lstStyle/>
          <a:p>
            <a:endParaRPr lang="en-US" sz="3266"/>
          </a:p>
        </p:txBody>
      </p:sp>
      <p:sp>
        <p:nvSpPr>
          <p:cNvPr id="98" name="Freeform 15">
            <a:extLst>
              <a:ext uri="{FF2B5EF4-FFF2-40B4-BE49-F238E27FC236}">
                <a16:creationId xmlns:a16="http://schemas.microsoft.com/office/drawing/2014/main" id="{DFC96353-2AF1-E442-3821-76C7B7B66FA1}"/>
              </a:ext>
            </a:extLst>
          </p:cNvPr>
          <p:cNvSpPr>
            <a:spLocks noChangeArrowheads="1"/>
          </p:cNvSpPr>
          <p:nvPr userDrawn="1"/>
        </p:nvSpPr>
        <p:spPr bwMode="auto">
          <a:xfrm>
            <a:off x="8845058" y="1543051"/>
            <a:ext cx="2582592" cy="4673599"/>
          </a:xfrm>
          <a:custGeom>
            <a:avLst/>
            <a:gdLst>
              <a:gd name="T0" fmla="*/ 4842 w 4843"/>
              <a:gd name="T1" fmla="*/ 290 h 8763"/>
              <a:gd name="T2" fmla="*/ 4842 w 4843"/>
              <a:gd name="T3" fmla="*/ 8472 h 8763"/>
              <a:gd name="T4" fmla="*/ 4842 w 4843"/>
              <a:gd name="T5" fmla="*/ 8472 h 8763"/>
              <a:gd name="T6" fmla="*/ 4553 w 4843"/>
              <a:gd name="T7" fmla="*/ 8762 h 8763"/>
              <a:gd name="T8" fmla="*/ 290 w 4843"/>
              <a:gd name="T9" fmla="*/ 8762 h 8763"/>
              <a:gd name="T10" fmla="*/ 290 w 4843"/>
              <a:gd name="T11" fmla="*/ 8762 h 8763"/>
              <a:gd name="T12" fmla="*/ 0 w 4843"/>
              <a:gd name="T13" fmla="*/ 8472 h 8763"/>
              <a:gd name="T14" fmla="*/ 0 w 4843"/>
              <a:gd name="T15" fmla="*/ 290 h 8763"/>
              <a:gd name="T16" fmla="*/ 0 w 4843"/>
              <a:gd name="T17" fmla="*/ 290 h 8763"/>
              <a:gd name="T18" fmla="*/ 290 w 4843"/>
              <a:gd name="T19" fmla="*/ 0 h 8763"/>
              <a:gd name="T20" fmla="*/ 4553 w 4843"/>
              <a:gd name="T21" fmla="*/ 0 h 8763"/>
              <a:gd name="T22" fmla="*/ 4553 w 4843"/>
              <a:gd name="T23" fmla="*/ 0 h 8763"/>
              <a:gd name="T24" fmla="*/ 4842 w 4843"/>
              <a:gd name="T25" fmla="*/ 290 h 8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43" h="8763">
                <a:moveTo>
                  <a:pt x="4842" y="290"/>
                </a:moveTo>
                <a:lnTo>
                  <a:pt x="4842" y="8472"/>
                </a:lnTo>
                <a:lnTo>
                  <a:pt x="4842" y="8472"/>
                </a:lnTo>
                <a:cubicBezTo>
                  <a:pt x="4842" y="8633"/>
                  <a:pt x="4713" y="8762"/>
                  <a:pt x="4553" y="8762"/>
                </a:cubicBezTo>
                <a:lnTo>
                  <a:pt x="290" y="8762"/>
                </a:lnTo>
                <a:lnTo>
                  <a:pt x="290" y="8762"/>
                </a:lnTo>
                <a:cubicBezTo>
                  <a:pt x="130" y="8762"/>
                  <a:pt x="0" y="8633"/>
                  <a:pt x="0" y="8472"/>
                </a:cubicBezTo>
                <a:lnTo>
                  <a:pt x="0" y="290"/>
                </a:lnTo>
                <a:lnTo>
                  <a:pt x="0" y="290"/>
                </a:lnTo>
                <a:cubicBezTo>
                  <a:pt x="0" y="130"/>
                  <a:pt x="130" y="0"/>
                  <a:pt x="290" y="0"/>
                </a:cubicBezTo>
                <a:lnTo>
                  <a:pt x="4553" y="0"/>
                </a:lnTo>
                <a:lnTo>
                  <a:pt x="4553" y="0"/>
                </a:lnTo>
                <a:cubicBezTo>
                  <a:pt x="4713" y="0"/>
                  <a:pt x="4842" y="130"/>
                  <a:pt x="4842" y="290"/>
                </a:cubicBezTo>
              </a:path>
            </a:pathLst>
          </a:custGeom>
          <a:solidFill>
            <a:schemeClr val="accent4">
              <a:alpha val="5000"/>
            </a:schemeClr>
          </a:solidFill>
          <a:ln>
            <a:noFill/>
          </a:ln>
          <a:effectLst/>
        </p:spPr>
        <p:txBody>
          <a:bodyPr wrap="none" anchor="ctr"/>
          <a:lstStyle/>
          <a:p>
            <a:endParaRPr lang="en-US" sz="3266"/>
          </a:p>
        </p:txBody>
      </p:sp>
      <p:sp>
        <p:nvSpPr>
          <p:cNvPr id="99" name="Freeform 16">
            <a:extLst>
              <a:ext uri="{FF2B5EF4-FFF2-40B4-BE49-F238E27FC236}">
                <a16:creationId xmlns:a16="http://schemas.microsoft.com/office/drawing/2014/main" id="{FAC14881-960C-F63D-3E91-8109E2920EC7}"/>
              </a:ext>
            </a:extLst>
          </p:cNvPr>
          <p:cNvSpPr>
            <a:spLocks noChangeArrowheads="1"/>
          </p:cNvSpPr>
          <p:nvPr userDrawn="1"/>
        </p:nvSpPr>
        <p:spPr bwMode="auto">
          <a:xfrm>
            <a:off x="8845058" y="1543050"/>
            <a:ext cx="2582592" cy="3897410"/>
          </a:xfrm>
          <a:custGeom>
            <a:avLst/>
            <a:gdLst>
              <a:gd name="T0" fmla="*/ 0 w 4843"/>
              <a:gd name="T1" fmla="*/ 6949 h 7307"/>
              <a:gd name="T2" fmla="*/ 0 w 4843"/>
              <a:gd name="T3" fmla="*/ 290 h 7307"/>
              <a:gd name="T4" fmla="*/ 0 w 4843"/>
              <a:gd name="T5" fmla="*/ 290 h 7307"/>
              <a:gd name="T6" fmla="*/ 290 w 4843"/>
              <a:gd name="T7" fmla="*/ 0 h 7307"/>
              <a:gd name="T8" fmla="*/ 4553 w 4843"/>
              <a:gd name="T9" fmla="*/ 0 h 7307"/>
              <a:gd name="T10" fmla="*/ 4553 w 4843"/>
              <a:gd name="T11" fmla="*/ 0 h 7307"/>
              <a:gd name="T12" fmla="*/ 4842 w 4843"/>
              <a:gd name="T13" fmla="*/ 290 h 7307"/>
              <a:gd name="T14" fmla="*/ 4842 w 4843"/>
              <a:gd name="T15" fmla="*/ 6949 h 7307"/>
              <a:gd name="T16" fmla="*/ 4842 w 4843"/>
              <a:gd name="T17" fmla="*/ 6949 h 7307"/>
              <a:gd name="T18" fmla="*/ 3930 w 4843"/>
              <a:gd name="T19" fmla="*/ 6047 h 7307"/>
              <a:gd name="T20" fmla="*/ 3930 w 4843"/>
              <a:gd name="T21" fmla="*/ 6047 h 7307"/>
              <a:gd name="T22" fmla="*/ 3930 w 4843"/>
              <a:gd name="T23" fmla="*/ 6047 h 7307"/>
              <a:gd name="T24" fmla="*/ 3930 w 4843"/>
              <a:gd name="T25" fmla="*/ 6047 h 7307"/>
              <a:gd name="T26" fmla="*/ 1462 w 4843"/>
              <a:gd name="T27" fmla="*/ 6892 h 7307"/>
              <a:gd name="T28" fmla="*/ 1462 w 4843"/>
              <a:gd name="T29" fmla="*/ 6892 h 7307"/>
              <a:gd name="T30" fmla="*/ 1252 w 4843"/>
              <a:gd name="T31" fmla="*/ 6964 h 7307"/>
              <a:gd name="T32" fmla="*/ 1252 w 4843"/>
              <a:gd name="T33" fmla="*/ 6964 h 7307"/>
              <a:gd name="T34" fmla="*/ 0 w 4843"/>
              <a:gd name="T35" fmla="*/ 6949 h 7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43" h="7307">
                <a:moveTo>
                  <a:pt x="0" y="6949"/>
                </a:moveTo>
                <a:lnTo>
                  <a:pt x="0" y="290"/>
                </a:lnTo>
                <a:lnTo>
                  <a:pt x="0" y="290"/>
                </a:lnTo>
                <a:cubicBezTo>
                  <a:pt x="0" y="130"/>
                  <a:pt x="130" y="0"/>
                  <a:pt x="290" y="0"/>
                </a:cubicBezTo>
                <a:lnTo>
                  <a:pt x="4553" y="0"/>
                </a:lnTo>
                <a:lnTo>
                  <a:pt x="4553" y="0"/>
                </a:lnTo>
                <a:cubicBezTo>
                  <a:pt x="4713" y="0"/>
                  <a:pt x="4842" y="130"/>
                  <a:pt x="4842" y="290"/>
                </a:cubicBezTo>
                <a:lnTo>
                  <a:pt x="4842" y="6949"/>
                </a:lnTo>
                <a:lnTo>
                  <a:pt x="4842" y="6949"/>
                </a:lnTo>
                <a:cubicBezTo>
                  <a:pt x="4842" y="6949"/>
                  <a:pt x="4819" y="6152"/>
                  <a:pt x="3930" y="6047"/>
                </a:cubicBezTo>
                <a:lnTo>
                  <a:pt x="3930" y="6047"/>
                </a:lnTo>
                <a:cubicBezTo>
                  <a:pt x="3925" y="6046"/>
                  <a:pt x="3934" y="6047"/>
                  <a:pt x="3930" y="6047"/>
                </a:cubicBezTo>
                <a:lnTo>
                  <a:pt x="3930" y="6047"/>
                </a:lnTo>
                <a:cubicBezTo>
                  <a:pt x="3790" y="6002"/>
                  <a:pt x="2940" y="5773"/>
                  <a:pt x="1462" y="6892"/>
                </a:cubicBezTo>
                <a:lnTo>
                  <a:pt x="1462" y="6892"/>
                </a:lnTo>
                <a:cubicBezTo>
                  <a:pt x="1389" y="6920"/>
                  <a:pt x="1319" y="6943"/>
                  <a:pt x="1252" y="6964"/>
                </a:cubicBezTo>
                <a:lnTo>
                  <a:pt x="1252" y="6964"/>
                </a:lnTo>
                <a:cubicBezTo>
                  <a:pt x="336" y="7306"/>
                  <a:pt x="0" y="6949"/>
                  <a:pt x="0" y="6949"/>
                </a:cubicBezTo>
              </a:path>
            </a:pathLst>
          </a:custGeom>
          <a:solidFill>
            <a:srgbClr val="04617B"/>
          </a:solidFill>
          <a:ln>
            <a:noFill/>
          </a:ln>
          <a:effectLst/>
        </p:spPr>
        <p:txBody>
          <a:bodyPr wrap="none" anchor="ctr"/>
          <a:lstStyle/>
          <a:p>
            <a:endParaRPr lang="en-US" sz="3266"/>
          </a:p>
        </p:txBody>
      </p:sp>
      <p:sp>
        <p:nvSpPr>
          <p:cNvPr id="100" name="Freeform 17">
            <a:extLst>
              <a:ext uri="{FF2B5EF4-FFF2-40B4-BE49-F238E27FC236}">
                <a16:creationId xmlns:a16="http://schemas.microsoft.com/office/drawing/2014/main" id="{617F14CF-0802-A1E3-B8A9-80920DBA057D}"/>
              </a:ext>
            </a:extLst>
          </p:cNvPr>
          <p:cNvSpPr>
            <a:spLocks noChangeArrowheads="1"/>
          </p:cNvSpPr>
          <p:nvPr userDrawn="1"/>
        </p:nvSpPr>
        <p:spPr bwMode="auto">
          <a:xfrm>
            <a:off x="10940766" y="4668797"/>
            <a:ext cx="489234" cy="583318"/>
          </a:xfrm>
          <a:custGeom>
            <a:avLst/>
            <a:gdLst>
              <a:gd name="T0" fmla="*/ 0 w 917"/>
              <a:gd name="T1" fmla="*/ 181 h 1093"/>
              <a:gd name="T2" fmla="*/ 0 w 917"/>
              <a:gd name="T3" fmla="*/ 181 h 1093"/>
              <a:gd name="T4" fmla="*/ 912 w 917"/>
              <a:gd name="T5" fmla="*/ 1092 h 1093"/>
              <a:gd name="T6" fmla="*/ 912 w 917"/>
              <a:gd name="T7" fmla="*/ 355 h 1093"/>
              <a:gd name="T8" fmla="*/ 912 w 917"/>
              <a:gd name="T9" fmla="*/ 355 h 1093"/>
              <a:gd name="T10" fmla="*/ 0 w 917"/>
              <a:gd name="T11" fmla="*/ 181 h 1093"/>
            </a:gdLst>
            <a:ahLst/>
            <a:cxnLst>
              <a:cxn ang="0">
                <a:pos x="T0" y="T1"/>
              </a:cxn>
              <a:cxn ang="0">
                <a:pos x="T2" y="T3"/>
              </a:cxn>
              <a:cxn ang="0">
                <a:pos x="T4" y="T5"/>
              </a:cxn>
              <a:cxn ang="0">
                <a:pos x="T6" y="T7"/>
              </a:cxn>
              <a:cxn ang="0">
                <a:pos x="T8" y="T9"/>
              </a:cxn>
              <a:cxn ang="0">
                <a:pos x="T10" y="T11"/>
              </a:cxn>
            </a:cxnLst>
            <a:rect l="0" t="0" r="r" b="b"/>
            <a:pathLst>
              <a:path w="917" h="1093">
                <a:moveTo>
                  <a:pt x="0" y="181"/>
                </a:moveTo>
                <a:lnTo>
                  <a:pt x="0" y="181"/>
                </a:lnTo>
                <a:cubicBezTo>
                  <a:pt x="0" y="181"/>
                  <a:pt x="916" y="588"/>
                  <a:pt x="912" y="1092"/>
                </a:cubicBezTo>
                <a:lnTo>
                  <a:pt x="912" y="355"/>
                </a:lnTo>
                <a:lnTo>
                  <a:pt x="912" y="355"/>
                </a:lnTo>
                <a:cubicBezTo>
                  <a:pt x="912" y="355"/>
                  <a:pt x="456" y="0"/>
                  <a:pt x="0" y="181"/>
                </a:cubicBezTo>
              </a:path>
            </a:pathLst>
          </a:custGeom>
          <a:solidFill>
            <a:srgbClr val="3EB1C8"/>
          </a:solidFill>
          <a:ln>
            <a:noFill/>
          </a:ln>
          <a:effectLst/>
        </p:spPr>
        <p:txBody>
          <a:bodyPr wrap="none" anchor="ctr"/>
          <a:lstStyle/>
          <a:p>
            <a:endParaRPr lang="en-US" sz="3266"/>
          </a:p>
        </p:txBody>
      </p:sp>
      <p:sp>
        <p:nvSpPr>
          <p:cNvPr id="101" name="Freeform 18">
            <a:extLst>
              <a:ext uri="{FF2B5EF4-FFF2-40B4-BE49-F238E27FC236}">
                <a16:creationId xmlns:a16="http://schemas.microsoft.com/office/drawing/2014/main" id="{78063060-D1F1-C017-9B87-75B9868BE3D9}"/>
              </a:ext>
            </a:extLst>
          </p:cNvPr>
          <p:cNvSpPr>
            <a:spLocks noChangeArrowheads="1"/>
          </p:cNvSpPr>
          <p:nvPr userDrawn="1"/>
        </p:nvSpPr>
        <p:spPr bwMode="auto">
          <a:xfrm>
            <a:off x="8845058" y="5228773"/>
            <a:ext cx="710331" cy="470418"/>
          </a:xfrm>
          <a:custGeom>
            <a:avLst/>
            <a:gdLst>
              <a:gd name="T0" fmla="*/ 0 w 1333"/>
              <a:gd name="T1" fmla="*/ 61 h 883"/>
              <a:gd name="T2" fmla="*/ 0 w 1333"/>
              <a:gd name="T3" fmla="*/ 61 h 883"/>
              <a:gd name="T4" fmla="*/ 1332 w 1333"/>
              <a:gd name="T5" fmla="*/ 0 h 883"/>
              <a:gd name="T6" fmla="*/ 1332 w 1333"/>
              <a:gd name="T7" fmla="*/ 0 h 883"/>
              <a:gd name="T8" fmla="*/ 0 w 1333"/>
              <a:gd name="T9" fmla="*/ 882 h 883"/>
              <a:gd name="T10" fmla="*/ 0 w 1333"/>
              <a:gd name="T11" fmla="*/ 61 h 883"/>
            </a:gdLst>
            <a:ahLst/>
            <a:cxnLst>
              <a:cxn ang="0">
                <a:pos x="T0" y="T1"/>
              </a:cxn>
              <a:cxn ang="0">
                <a:pos x="T2" y="T3"/>
              </a:cxn>
              <a:cxn ang="0">
                <a:pos x="T4" y="T5"/>
              </a:cxn>
              <a:cxn ang="0">
                <a:pos x="T6" y="T7"/>
              </a:cxn>
              <a:cxn ang="0">
                <a:pos x="T8" y="T9"/>
              </a:cxn>
              <a:cxn ang="0">
                <a:pos x="T10" y="T11"/>
              </a:cxn>
            </a:cxnLst>
            <a:rect l="0" t="0" r="r" b="b"/>
            <a:pathLst>
              <a:path w="1333" h="883">
                <a:moveTo>
                  <a:pt x="0" y="61"/>
                </a:moveTo>
                <a:lnTo>
                  <a:pt x="0" y="61"/>
                </a:lnTo>
                <a:cubicBezTo>
                  <a:pt x="0" y="61"/>
                  <a:pt x="389" y="350"/>
                  <a:pt x="1332" y="0"/>
                </a:cubicBezTo>
                <a:lnTo>
                  <a:pt x="1332" y="0"/>
                </a:lnTo>
                <a:cubicBezTo>
                  <a:pt x="1332" y="0"/>
                  <a:pt x="873" y="790"/>
                  <a:pt x="0" y="882"/>
                </a:cubicBezTo>
                <a:lnTo>
                  <a:pt x="0" y="61"/>
                </a:lnTo>
              </a:path>
            </a:pathLst>
          </a:custGeom>
          <a:solidFill>
            <a:srgbClr val="04617B"/>
          </a:solidFill>
          <a:ln>
            <a:noFill/>
          </a:ln>
          <a:effectLst/>
        </p:spPr>
        <p:txBody>
          <a:bodyPr wrap="none" anchor="ctr"/>
          <a:lstStyle/>
          <a:p>
            <a:endParaRPr lang="en-US" sz="3266"/>
          </a:p>
        </p:txBody>
      </p:sp>
      <p:sp>
        <p:nvSpPr>
          <p:cNvPr id="102" name="Freeform 19">
            <a:extLst>
              <a:ext uri="{FF2B5EF4-FFF2-40B4-BE49-F238E27FC236}">
                <a16:creationId xmlns:a16="http://schemas.microsoft.com/office/drawing/2014/main" id="{B11B0463-A994-ABAC-129B-856AF7DB817D}"/>
              </a:ext>
            </a:extLst>
          </p:cNvPr>
          <p:cNvSpPr>
            <a:spLocks noChangeArrowheads="1"/>
          </p:cNvSpPr>
          <p:nvPr userDrawn="1"/>
        </p:nvSpPr>
        <p:spPr bwMode="auto">
          <a:xfrm>
            <a:off x="8845058" y="5165266"/>
            <a:ext cx="623303" cy="442193"/>
          </a:xfrm>
          <a:custGeom>
            <a:avLst/>
            <a:gdLst>
              <a:gd name="T0" fmla="*/ 0 w 1168"/>
              <a:gd name="T1" fmla="*/ 0 h 829"/>
              <a:gd name="T2" fmla="*/ 0 w 1168"/>
              <a:gd name="T3" fmla="*/ 0 h 829"/>
              <a:gd name="T4" fmla="*/ 1167 w 1168"/>
              <a:gd name="T5" fmla="*/ 174 h 829"/>
              <a:gd name="T6" fmla="*/ 1167 w 1168"/>
              <a:gd name="T7" fmla="*/ 174 h 829"/>
              <a:gd name="T8" fmla="*/ 0 w 1168"/>
              <a:gd name="T9" fmla="*/ 828 h 829"/>
              <a:gd name="T10" fmla="*/ 0 w 1168"/>
              <a:gd name="T11" fmla="*/ 0 h 829"/>
            </a:gdLst>
            <a:ahLst/>
            <a:cxnLst>
              <a:cxn ang="0">
                <a:pos x="T0" y="T1"/>
              </a:cxn>
              <a:cxn ang="0">
                <a:pos x="T2" y="T3"/>
              </a:cxn>
              <a:cxn ang="0">
                <a:pos x="T4" y="T5"/>
              </a:cxn>
              <a:cxn ang="0">
                <a:pos x="T6" y="T7"/>
              </a:cxn>
              <a:cxn ang="0">
                <a:pos x="T8" y="T9"/>
              </a:cxn>
              <a:cxn ang="0">
                <a:pos x="T10" y="T11"/>
              </a:cxn>
            </a:cxnLst>
            <a:rect l="0" t="0" r="r" b="b"/>
            <a:pathLst>
              <a:path w="1168" h="829">
                <a:moveTo>
                  <a:pt x="0" y="0"/>
                </a:moveTo>
                <a:lnTo>
                  <a:pt x="0" y="0"/>
                </a:lnTo>
                <a:cubicBezTo>
                  <a:pt x="0" y="0"/>
                  <a:pt x="227" y="365"/>
                  <a:pt x="1167" y="174"/>
                </a:cubicBezTo>
                <a:lnTo>
                  <a:pt x="1167" y="174"/>
                </a:lnTo>
                <a:cubicBezTo>
                  <a:pt x="1167" y="174"/>
                  <a:pt x="666" y="783"/>
                  <a:pt x="0" y="828"/>
                </a:cubicBezTo>
                <a:lnTo>
                  <a:pt x="0" y="0"/>
                </a:lnTo>
              </a:path>
            </a:pathLst>
          </a:custGeom>
          <a:solidFill>
            <a:srgbClr val="3EB1C8"/>
          </a:solidFill>
          <a:ln>
            <a:noFill/>
          </a:ln>
          <a:effectLst/>
        </p:spPr>
        <p:txBody>
          <a:bodyPr wrap="none" anchor="ctr"/>
          <a:lstStyle/>
          <a:p>
            <a:endParaRPr lang="en-US" sz="3266"/>
          </a:p>
        </p:txBody>
      </p:sp>
      <p:sp>
        <p:nvSpPr>
          <p:cNvPr id="103" name="Freeform 20">
            <a:extLst>
              <a:ext uri="{FF2B5EF4-FFF2-40B4-BE49-F238E27FC236}">
                <a16:creationId xmlns:a16="http://schemas.microsoft.com/office/drawing/2014/main" id="{11CC69BB-B80A-D574-2C60-1F25FD7366BA}"/>
              </a:ext>
            </a:extLst>
          </p:cNvPr>
          <p:cNvSpPr>
            <a:spLocks noChangeArrowheads="1"/>
          </p:cNvSpPr>
          <p:nvPr userDrawn="1"/>
        </p:nvSpPr>
        <p:spPr bwMode="auto">
          <a:xfrm>
            <a:off x="9416614" y="4325393"/>
            <a:ext cx="1526506" cy="1077256"/>
          </a:xfrm>
          <a:custGeom>
            <a:avLst/>
            <a:gdLst>
              <a:gd name="T0" fmla="*/ 0 w 2861"/>
              <a:gd name="T1" fmla="*/ 2018 h 2019"/>
              <a:gd name="T2" fmla="*/ 0 w 2861"/>
              <a:gd name="T3" fmla="*/ 2018 h 2019"/>
              <a:gd name="T4" fmla="*/ 183 w 2861"/>
              <a:gd name="T5" fmla="*/ 1774 h 2019"/>
              <a:gd name="T6" fmla="*/ 183 w 2861"/>
              <a:gd name="T7" fmla="*/ 1774 h 2019"/>
              <a:gd name="T8" fmla="*/ 2853 w 2861"/>
              <a:gd name="T9" fmla="*/ 821 h 2019"/>
              <a:gd name="T10" fmla="*/ 2853 w 2861"/>
              <a:gd name="T11" fmla="*/ 821 h 2019"/>
              <a:gd name="T12" fmla="*/ 2860 w 2861"/>
              <a:gd name="T13" fmla="*/ 827 h 2019"/>
              <a:gd name="T14" fmla="*/ 2860 w 2861"/>
              <a:gd name="T15" fmla="*/ 827 h 2019"/>
              <a:gd name="T16" fmla="*/ 2840 w 2861"/>
              <a:gd name="T17" fmla="*/ 820 h 2019"/>
              <a:gd name="T18" fmla="*/ 2840 w 2861"/>
              <a:gd name="T19" fmla="*/ 820 h 2019"/>
              <a:gd name="T20" fmla="*/ 393 w 2861"/>
              <a:gd name="T21" fmla="*/ 1702 h 2019"/>
              <a:gd name="T22" fmla="*/ 393 w 2861"/>
              <a:gd name="T23" fmla="*/ 1702 h 2019"/>
              <a:gd name="T24" fmla="*/ 0 w 2861"/>
              <a:gd name="T25" fmla="*/ 2018 h 2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61" h="2019">
                <a:moveTo>
                  <a:pt x="0" y="2018"/>
                </a:moveTo>
                <a:lnTo>
                  <a:pt x="0" y="2018"/>
                </a:lnTo>
                <a:cubicBezTo>
                  <a:pt x="5" y="2012"/>
                  <a:pt x="70" y="1916"/>
                  <a:pt x="183" y="1774"/>
                </a:cubicBezTo>
                <a:lnTo>
                  <a:pt x="183" y="1774"/>
                </a:lnTo>
                <a:cubicBezTo>
                  <a:pt x="622" y="1224"/>
                  <a:pt x="1781" y="0"/>
                  <a:pt x="2853" y="821"/>
                </a:cubicBezTo>
                <a:lnTo>
                  <a:pt x="2853" y="821"/>
                </a:lnTo>
                <a:cubicBezTo>
                  <a:pt x="2855" y="823"/>
                  <a:pt x="2858" y="825"/>
                  <a:pt x="2860" y="827"/>
                </a:cubicBezTo>
                <a:lnTo>
                  <a:pt x="2860" y="827"/>
                </a:lnTo>
                <a:cubicBezTo>
                  <a:pt x="2858" y="827"/>
                  <a:pt x="2852" y="824"/>
                  <a:pt x="2840" y="820"/>
                </a:cubicBezTo>
                <a:lnTo>
                  <a:pt x="2840" y="820"/>
                </a:lnTo>
                <a:cubicBezTo>
                  <a:pt x="2700" y="775"/>
                  <a:pt x="1871" y="584"/>
                  <a:pt x="393" y="1702"/>
                </a:cubicBezTo>
                <a:lnTo>
                  <a:pt x="393" y="1702"/>
                </a:lnTo>
                <a:cubicBezTo>
                  <a:pt x="267" y="1798"/>
                  <a:pt x="136" y="1903"/>
                  <a:pt x="0" y="2018"/>
                </a:cubicBezTo>
              </a:path>
            </a:pathLst>
          </a:custGeom>
          <a:solidFill>
            <a:srgbClr val="3EB1C8"/>
          </a:solidFill>
          <a:ln>
            <a:noFill/>
          </a:ln>
          <a:effectLst/>
        </p:spPr>
        <p:txBody>
          <a:bodyPr wrap="none" anchor="ctr"/>
          <a:lstStyle/>
          <a:p>
            <a:endParaRPr lang="en-US" sz="3266"/>
          </a:p>
        </p:txBody>
      </p:sp>
      <p:sp>
        <p:nvSpPr>
          <p:cNvPr id="104" name="Freeform 21">
            <a:extLst>
              <a:ext uri="{FF2B5EF4-FFF2-40B4-BE49-F238E27FC236}">
                <a16:creationId xmlns:a16="http://schemas.microsoft.com/office/drawing/2014/main" id="{DCF2808A-A054-ED76-290C-BA9316A833FF}"/>
              </a:ext>
            </a:extLst>
          </p:cNvPr>
          <p:cNvSpPr>
            <a:spLocks noChangeArrowheads="1"/>
          </p:cNvSpPr>
          <p:nvPr userDrawn="1"/>
        </p:nvSpPr>
        <p:spPr bwMode="auto">
          <a:xfrm>
            <a:off x="9395447" y="5628778"/>
            <a:ext cx="1566490" cy="372277"/>
          </a:xfrm>
          <a:prstGeom prst="roundRect">
            <a:avLst>
              <a:gd name="adj" fmla="val 50000"/>
            </a:avLst>
          </a:prstGeom>
          <a:solidFill>
            <a:srgbClr val="04617B"/>
          </a:solidFill>
          <a:ln>
            <a:noFill/>
          </a:ln>
          <a:effectLst/>
        </p:spPr>
        <p:txBody>
          <a:bodyPr wrap="none" anchor="ctr"/>
          <a:lstStyle/>
          <a:p>
            <a:endParaRPr lang="en-US" sz="3266"/>
          </a:p>
        </p:txBody>
      </p:sp>
      <p:sp>
        <p:nvSpPr>
          <p:cNvPr id="113" name="Title 1">
            <a:extLst>
              <a:ext uri="{FF2B5EF4-FFF2-40B4-BE49-F238E27FC236}">
                <a16:creationId xmlns:a16="http://schemas.microsoft.com/office/drawing/2014/main" id="{3772E5B3-BED4-AC9C-9F71-4426724D8536}"/>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
        <p:nvSpPr>
          <p:cNvPr id="115" name="Text Placeholder 35">
            <a:extLst>
              <a:ext uri="{FF2B5EF4-FFF2-40B4-BE49-F238E27FC236}">
                <a16:creationId xmlns:a16="http://schemas.microsoft.com/office/drawing/2014/main" id="{17C6026E-DC1A-1028-D155-CB6E4D8086A4}"/>
              </a:ext>
            </a:extLst>
          </p:cNvPr>
          <p:cNvSpPr>
            <a:spLocks noGrp="1"/>
          </p:cNvSpPr>
          <p:nvPr>
            <p:ph type="body" sz="quarter" idx="24" hasCustomPrompt="1"/>
          </p:nvPr>
        </p:nvSpPr>
        <p:spPr>
          <a:xfrm>
            <a:off x="1329235" y="5655696"/>
            <a:ext cx="1528473" cy="331694"/>
          </a:xfrm>
        </p:spPr>
        <p:txBody>
          <a:bodyPr anchor="b">
            <a:noAutofit/>
          </a:bodyPr>
          <a:lstStyle>
            <a:lvl1pPr marL="0" indent="0" algn="ctr">
              <a:buNone/>
              <a:defRPr sz="1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EXT</a:t>
            </a:r>
          </a:p>
        </p:txBody>
      </p:sp>
      <p:sp>
        <p:nvSpPr>
          <p:cNvPr id="116" name="Text Placeholder 2">
            <a:extLst>
              <a:ext uri="{FF2B5EF4-FFF2-40B4-BE49-F238E27FC236}">
                <a16:creationId xmlns:a16="http://schemas.microsoft.com/office/drawing/2014/main" id="{4A5FE1E8-6FC0-1043-7965-7D5A403E3483}"/>
              </a:ext>
            </a:extLst>
          </p:cNvPr>
          <p:cNvSpPr>
            <a:spLocks noGrp="1"/>
          </p:cNvSpPr>
          <p:nvPr>
            <p:ph type="body" idx="57" hasCustomPrompt="1"/>
          </p:nvPr>
        </p:nvSpPr>
        <p:spPr>
          <a:xfrm>
            <a:off x="780543" y="2647535"/>
            <a:ext cx="2564049" cy="1949370"/>
          </a:xfrm>
        </p:spPr>
        <p:txBody>
          <a:bodyPr anchor="ctr">
            <a:normAutofit/>
          </a:bodyPr>
          <a:lstStyle>
            <a:lvl1pPr marL="0" indent="0" algn="ctr">
              <a:lnSpc>
                <a:spcPct val="150000"/>
              </a:lnSpc>
              <a:buNone/>
              <a:defRPr sz="9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a:p>
            <a:pPr lvl="0"/>
            <a:r>
              <a:rPr lang="en-US"/>
              <a:t>Point 2</a:t>
            </a:r>
          </a:p>
          <a:p>
            <a:pPr lvl="0"/>
            <a:r>
              <a:rPr lang="en-US"/>
              <a:t>Point 3</a:t>
            </a:r>
          </a:p>
          <a:p>
            <a:pPr lvl="0"/>
            <a:r>
              <a:rPr lang="en-US"/>
              <a:t>Point 4</a:t>
            </a:r>
          </a:p>
        </p:txBody>
      </p:sp>
      <p:sp>
        <p:nvSpPr>
          <p:cNvPr id="117" name="Text Placeholder 35">
            <a:extLst>
              <a:ext uri="{FF2B5EF4-FFF2-40B4-BE49-F238E27FC236}">
                <a16:creationId xmlns:a16="http://schemas.microsoft.com/office/drawing/2014/main" id="{918072B3-3506-46BD-0D0D-CD16BBBE0CC0}"/>
              </a:ext>
            </a:extLst>
          </p:cNvPr>
          <p:cNvSpPr>
            <a:spLocks noGrp="1"/>
          </p:cNvSpPr>
          <p:nvPr>
            <p:ph type="body" sz="quarter" idx="19" hasCustomPrompt="1"/>
          </p:nvPr>
        </p:nvSpPr>
        <p:spPr>
          <a:xfrm>
            <a:off x="1301004" y="2152233"/>
            <a:ext cx="1504584" cy="495301"/>
          </a:xfrm>
        </p:spPr>
        <p:txBody>
          <a:bodyPr anchor="ctr">
            <a:noAutofit/>
          </a:bodyPr>
          <a:lstStyle>
            <a:lvl1pPr marL="0" indent="0" algn="ctr">
              <a:lnSpc>
                <a:spcPct val="100000"/>
              </a:lnSpc>
              <a:buNone/>
              <a:defRPr sz="22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9.99</a:t>
            </a:r>
          </a:p>
        </p:txBody>
      </p:sp>
      <p:sp>
        <p:nvSpPr>
          <p:cNvPr id="119" name="Text Placeholder 35">
            <a:extLst>
              <a:ext uri="{FF2B5EF4-FFF2-40B4-BE49-F238E27FC236}">
                <a16:creationId xmlns:a16="http://schemas.microsoft.com/office/drawing/2014/main" id="{3D580FE4-5FFA-5B99-6B8F-77C522556B24}"/>
              </a:ext>
            </a:extLst>
          </p:cNvPr>
          <p:cNvSpPr>
            <a:spLocks noGrp="1"/>
          </p:cNvSpPr>
          <p:nvPr>
            <p:ph type="body" sz="quarter" idx="58" hasCustomPrompt="1"/>
          </p:nvPr>
        </p:nvSpPr>
        <p:spPr>
          <a:xfrm>
            <a:off x="1329235" y="1769497"/>
            <a:ext cx="1528473" cy="331694"/>
          </a:xfrm>
        </p:spPr>
        <p:txBody>
          <a:bodyPr anchor="b">
            <a:noAutofit/>
          </a:bodyPr>
          <a:lstStyle>
            <a:lvl1pPr marL="0" indent="0" algn="ctr">
              <a:buNone/>
              <a:defRPr sz="1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ER</a:t>
            </a:r>
          </a:p>
        </p:txBody>
      </p:sp>
      <p:sp>
        <p:nvSpPr>
          <p:cNvPr id="120" name="Text Placeholder 35">
            <a:extLst>
              <a:ext uri="{FF2B5EF4-FFF2-40B4-BE49-F238E27FC236}">
                <a16:creationId xmlns:a16="http://schemas.microsoft.com/office/drawing/2014/main" id="{17B785BC-B809-657C-BF10-972534A2E067}"/>
              </a:ext>
            </a:extLst>
          </p:cNvPr>
          <p:cNvSpPr>
            <a:spLocks noGrp="1"/>
          </p:cNvSpPr>
          <p:nvPr>
            <p:ph type="body" sz="quarter" idx="59" hasCustomPrompt="1"/>
          </p:nvPr>
        </p:nvSpPr>
        <p:spPr>
          <a:xfrm>
            <a:off x="4012800" y="5655696"/>
            <a:ext cx="1528473" cy="331694"/>
          </a:xfrm>
        </p:spPr>
        <p:txBody>
          <a:bodyPr anchor="b">
            <a:noAutofit/>
          </a:bodyPr>
          <a:lstStyle>
            <a:lvl1pPr marL="0" indent="0" algn="ctr">
              <a:buNone/>
              <a:defRPr sz="1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EXT</a:t>
            </a:r>
          </a:p>
        </p:txBody>
      </p:sp>
      <p:sp>
        <p:nvSpPr>
          <p:cNvPr id="121" name="Text Placeholder 2">
            <a:extLst>
              <a:ext uri="{FF2B5EF4-FFF2-40B4-BE49-F238E27FC236}">
                <a16:creationId xmlns:a16="http://schemas.microsoft.com/office/drawing/2014/main" id="{DB31B2ED-22E8-DD4A-6E95-3AE0E74BF354}"/>
              </a:ext>
            </a:extLst>
          </p:cNvPr>
          <p:cNvSpPr>
            <a:spLocks noGrp="1"/>
          </p:cNvSpPr>
          <p:nvPr>
            <p:ph type="body" idx="60" hasCustomPrompt="1"/>
          </p:nvPr>
        </p:nvSpPr>
        <p:spPr>
          <a:xfrm>
            <a:off x="3464108" y="2647535"/>
            <a:ext cx="2564049" cy="1949370"/>
          </a:xfrm>
        </p:spPr>
        <p:txBody>
          <a:bodyPr anchor="ctr">
            <a:normAutofit/>
          </a:bodyPr>
          <a:lstStyle>
            <a:lvl1pPr marL="0" indent="0" algn="ctr">
              <a:lnSpc>
                <a:spcPct val="150000"/>
              </a:lnSpc>
              <a:buNone/>
              <a:defRPr sz="9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a:p>
            <a:pPr lvl="0"/>
            <a:r>
              <a:rPr lang="en-US"/>
              <a:t>Point 2</a:t>
            </a:r>
          </a:p>
          <a:p>
            <a:pPr lvl="0"/>
            <a:r>
              <a:rPr lang="en-US"/>
              <a:t>Point 3</a:t>
            </a:r>
          </a:p>
          <a:p>
            <a:pPr lvl="0"/>
            <a:r>
              <a:rPr lang="en-US"/>
              <a:t>Point 4</a:t>
            </a:r>
          </a:p>
        </p:txBody>
      </p:sp>
      <p:sp>
        <p:nvSpPr>
          <p:cNvPr id="122" name="Text Placeholder 35">
            <a:extLst>
              <a:ext uri="{FF2B5EF4-FFF2-40B4-BE49-F238E27FC236}">
                <a16:creationId xmlns:a16="http://schemas.microsoft.com/office/drawing/2014/main" id="{55F64631-3693-123D-EAC3-C94BCD1C51C1}"/>
              </a:ext>
            </a:extLst>
          </p:cNvPr>
          <p:cNvSpPr>
            <a:spLocks noGrp="1"/>
          </p:cNvSpPr>
          <p:nvPr>
            <p:ph type="body" sz="quarter" idx="61" hasCustomPrompt="1"/>
          </p:nvPr>
        </p:nvSpPr>
        <p:spPr>
          <a:xfrm>
            <a:off x="3984569" y="2152233"/>
            <a:ext cx="1504584" cy="495301"/>
          </a:xfrm>
        </p:spPr>
        <p:txBody>
          <a:bodyPr anchor="ctr">
            <a:noAutofit/>
          </a:bodyPr>
          <a:lstStyle>
            <a:lvl1pPr marL="0" indent="0" algn="ctr">
              <a:lnSpc>
                <a:spcPct val="100000"/>
              </a:lnSpc>
              <a:buNone/>
              <a:defRPr sz="22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9.99</a:t>
            </a:r>
          </a:p>
        </p:txBody>
      </p:sp>
      <p:sp>
        <p:nvSpPr>
          <p:cNvPr id="123" name="Text Placeholder 35">
            <a:extLst>
              <a:ext uri="{FF2B5EF4-FFF2-40B4-BE49-F238E27FC236}">
                <a16:creationId xmlns:a16="http://schemas.microsoft.com/office/drawing/2014/main" id="{6131A6D3-E7F5-97E4-7DC5-514C398E0A16}"/>
              </a:ext>
            </a:extLst>
          </p:cNvPr>
          <p:cNvSpPr>
            <a:spLocks noGrp="1"/>
          </p:cNvSpPr>
          <p:nvPr>
            <p:ph type="body" sz="quarter" idx="62" hasCustomPrompt="1"/>
          </p:nvPr>
        </p:nvSpPr>
        <p:spPr>
          <a:xfrm>
            <a:off x="4012800" y="1769497"/>
            <a:ext cx="1528473" cy="331694"/>
          </a:xfrm>
        </p:spPr>
        <p:txBody>
          <a:bodyPr anchor="b">
            <a:noAutofit/>
          </a:bodyPr>
          <a:lstStyle>
            <a:lvl1pPr marL="0" indent="0" algn="ctr">
              <a:buNone/>
              <a:defRPr sz="1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ER</a:t>
            </a:r>
          </a:p>
        </p:txBody>
      </p:sp>
      <p:sp>
        <p:nvSpPr>
          <p:cNvPr id="124" name="Text Placeholder 35">
            <a:extLst>
              <a:ext uri="{FF2B5EF4-FFF2-40B4-BE49-F238E27FC236}">
                <a16:creationId xmlns:a16="http://schemas.microsoft.com/office/drawing/2014/main" id="{CE03136C-50AC-7F69-9B5C-894C723EA8E2}"/>
              </a:ext>
            </a:extLst>
          </p:cNvPr>
          <p:cNvSpPr>
            <a:spLocks noGrp="1"/>
          </p:cNvSpPr>
          <p:nvPr>
            <p:ph type="body" sz="quarter" idx="63" hasCustomPrompt="1"/>
          </p:nvPr>
        </p:nvSpPr>
        <p:spPr>
          <a:xfrm>
            <a:off x="6716244" y="5655696"/>
            <a:ext cx="1528473" cy="331694"/>
          </a:xfrm>
        </p:spPr>
        <p:txBody>
          <a:bodyPr anchor="b">
            <a:noAutofit/>
          </a:bodyPr>
          <a:lstStyle>
            <a:lvl1pPr marL="0" indent="0" algn="ctr">
              <a:buNone/>
              <a:defRPr sz="1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EXT</a:t>
            </a:r>
          </a:p>
        </p:txBody>
      </p:sp>
      <p:sp>
        <p:nvSpPr>
          <p:cNvPr id="125" name="Text Placeholder 2">
            <a:extLst>
              <a:ext uri="{FF2B5EF4-FFF2-40B4-BE49-F238E27FC236}">
                <a16:creationId xmlns:a16="http://schemas.microsoft.com/office/drawing/2014/main" id="{96205617-B32E-53BE-B1D5-2DA314CBC0DC}"/>
              </a:ext>
            </a:extLst>
          </p:cNvPr>
          <p:cNvSpPr>
            <a:spLocks noGrp="1"/>
          </p:cNvSpPr>
          <p:nvPr>
            <p:ph type="body" idx="64" hasCustomPrompt="1"/>
          </p:nvPr>
        </p:nvSpPr>
        <p:spPr>
          <a:xfrm>
            <a:off x="6167552" y="2647535"/>
            <a:ext cx="2564049" cy="1949370"/>
          </a:xfrm>
        </p:spPr>
        <p:txBody>
          <a:bodyPr anchor="ctr">
            <a:normAutofit/>
          </a:bodyPr>
          <a:lstStyle>
            <a:lvl1pPr marL="0" indent="0" algn="ctr">
              <a:lnSpc>
                <a:spcPct val="150000"/>
              </a:lnSpc>
              <a:buNone/>
              <a:defRPr sz="9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a:p>
            <a:pPr lvl="0"/>
            <a:r>
              <a:rPr lang="en-US"/>
              <a:t>Point 2</a:t>
            </a:r>
          </a:p>
          <a:p>
            <a:pPr lvl="0"/>
            <a:r>
              <a:rPr lang="en-US"/>
              <a:t>Point 3</a:t>
            </a:r>
          </a:p>
          <a:p>
            <a:pPr lvl="0"/>
            <a:r>
              <a:rPr lang="en-US"/>
              <a:t>Point 4</a:t>
            </a:r>
          </a:p>
        </p:txBody>
      </p:sp>
      <p:sp>
        <p:nvSpPr>
          <p:cNvPr id="126" name="Text Placeholder 35">
            <a:extLst>
              <a:ext uri="{FF2B5EF4-FFF2-40B4-BE49-F238E27FC236}">
                <a16:creationId xmlns:a16="http://schemas.microsoft.com/office/drawing/2014/main" id="{31913B8D-C7A6-7253-462C-AB726CD82681}"/>
              </a:ext>
            </a:extLst>
          </p:cNvPr>
          <p:cNvSpPr>
            <a:spLocks noGrp="1"/>
          </p:cNvSpPr>
          <p:nvPr>
            <p:ph type="body" sz="quarter" idx="65" hasCustomPrompt="1"/>
          </p:nvPr>
        </p:nvSpPr>
        <p:spPr>
          <a:xfrm>
            <a:off x="6688013" y="2152233"/>
            <a:ext cx="1504584" cy="495301"/>
          </a:xfrm>
        </p:spPr>
        <p:txBody>
          <a:bodyPr anchor="ctr">
            <a:noAutofit/>
          </a:bodyPr>
          <a:lstStyle>
            <a:lvl1pPr marL="0" indent="0" algn="ctr">
              <a:lnSpc>
                <a:spcPct val="100000"/>
              </a:lnSpc>
              <a:buNone/>
              <a:defRPr sz="22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9.99</a:t>
            </a:r>
          </a:p>
        </p:txBody>
      </p:sp>
      <p:sp>
        <p:nvSpPr>
          <p:cNvPr id="127" name="Text Placeholder 35">
            <a:extLst>
              <a:ext uri="{FF2B5EF4-FFF2-40B4-BE49-F238E27FC236}">
                <a16:creationId xmlns:a16="http://schemas.microsoft.com/office/drawing/2014/main" id="{922B47F0-93F0-A23B-7BD8-F4C0EFDAF4BB}"/>
              </a:ext>
            </a:extLst>
          </p:cNvPr>
          <p:cNvSpPr>
            <a:spLocks noGrp="1"/>
          </p:cNvSpPr>
          <p:nvPr>
            <p:ph type="body" sz="quarter" idx="66" hasCustomPrompt="1"/>
          </p:nvPr>
        </p:nvSpPr>
        <p:spPr>
          <a:xfrm>
            <a:off x="6716244" y="1769497"/>
            <a:ext cx="1528473" cy="331694"/>
          </a:xfrm>
        </p:spPr>
        <p:txBody>
          <a:bodyPr anchor="b">
            <a:noAutofit/>
          </a:bodyPr>
          <a:lstStyle>
            <a:lvl1pPr marL="0" indent="0" algn="ctr">
              <a:buNone/>
              <a:defRPr sz="1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ER</a:t>
            </a:r>
          </a:p>
        </p:txBody>
      </p:sp>
      <p:sp>
        <p:nvSpPr>
          <p:cNvPr id="128" name="Text Placeholder 35">
            <a:extLst>
              <a:ext uri="{FF2B5EF4-FFF2-40B4-BE49-F238E27FC236}">
                <a16:creationId xmlns:a16="http://schemas.microsoft.com/office/drawing/2014/main" id="{AED7B26C-CA5C-E033-DFF5-C7FA15D86842}"/>
              </a:ext>
            </a:extLst>
          </p:cNvPr>
          <p:cNvSpPr>
            <a:spLocks noGrp="1"/>
          </p:cNvSpPr>
          <p:nvPr>
            <p:ph type="body" sz="quarter" idx="67" hasCustomPrompt="1"/>
          </p:nvPr>
        </p:nvSpPr>
        <p:spPr>
          <a:xfrm>
            <a:off x="9409748" y="5655696"/>
            <a:ext cx="1528473" cy="331694"/>
          </a:xfrm>
        </p:spPr>
        <p:txBody>
          <a:bodyPr anchor="b">
            <a:noAutofit/>
          </a:bodyPr>
          <a:lstStyle>
            <a:lvl1pPr marL="0" indent="0" algn="ctr">
              <a:buNone/>
              <a:defRPr sz="1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EXT</a:t>
            </a:r>
          </a:p>
        </p:txBody>
      </p:sp>
      <p:sp>
        <p:nvSpPr>
          <p:cNvPr id="129" name="Text Placeholder 2">
            <a:extLst>
              <a:ext uri="{FF2B5EF4-FFF2-40B4-BE49-F238E27FC236}">
                <a16:creationId xmlns:a16="http://schemas.microsoft.com/office/drawing/2014/main" id="{EB2F4980-74B8-8612-0633-372B9B3D596C}"/>
              </a:ext>
            </a:extLst>
          </p:cNvPr>
          <p:cNvSpPr>
            <a:spLocks noGrp="1"/>
          </p:cNvSpPr>
          <p:nvPr>
            <p:ph type="body" idx="68" hasCustomPrompt="1"/>
          </p:nvPr>
        </p:nvSpPr>
        <p:spPr>
          <a:xfrm>
            <a:off x="8861056" y="2647535"/>
            <a:ext cx="2564049" cy="1949370"/>
          </a:xfrm>
        </p:spPr>
        <p:txBody>
          <a:bodyPr anchor="ctr">
            <a:normAutofit/>
          </a:bodyPr>
          <a:lstStyle>
            <a:lvl1pPr marL="0" indent="0" algn="ctr">
              <a:lnSpc>
                <a:spcPct val="150000"/>
              </a:lnSpc>
              <a:buNone/>
              <a:defRPr sz="9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oint 1</a:t>
            </a:r>
          </a:p>
          <a:p>
            <a:pPr lvl="0"/>
            <a:r>
              <a:rPr lang="en-US"/>
              <a:t>Point 2</a:t>
            </a:r>
          </a:p>
          <a:p>
            <a:pPr lvl="0"/>
            <a:r>
              <a:rPr lang="en-US"/>
              <a:t>Point 3</a:t>
            </a:r>
          </a:p>
          <a:p>
            <a:pPr lvl="0"/>
            <a:r>
              <a:rPr lang="en-US"/>
              <a:t>Point 4</a:t>
            </a:r>
          </a:p>
        </p:txBody>
      </p:sp>
      <p:sp>
        <p:nvSpPr>
          <p:cNvPr id="130" name="Text Placeholder 35">
            <a:extLst>
              <a:ext uri="{FF2B5EF4-FFF2-40B4-BE49-F238E27FC236}">
                <a16:creationId xmlns:a16="http://schemas.microsoft.com/office/drawing/2014/main" id="{4704C7E5-2D07-0092-CD2B-304CB9E5E84A}"/>
              </a:ext>
            </a:extLst>
          </p:cNvPr>
          <p:cNvSpPr>
            <a:spLocks noGrp="1"/>
          </p:cNvSpPr>
          <p:nvPr>
            <p:ph type="body" sz="quarter" idx="69" hasCustomPrompt="1"/>
          </p:nvPr>
        </p:nvSpPr>
        <p:spPr>
          <a:xfrm>
            <a:off x="9381517" y="2152233"/>
            <a:ext cx="1504584" cy="495301"/>
          </a:xfrm>
        </p:spPr>
        <p:txBody>
          <a:bodyPr anchor="ctr">
            <a:noAutofit/>
          </a:bodyPr>
          <a:lstStyle>
            <a:lvl1pPr marL="0" indent="0" algn="ctr">
              <a:lnSpc>
                <a:spcPct val="100000"/>
              </a:lnSpc>
              <a:buNone/>
              <a:defRPr sz="22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9.99</a:t>
            </a:r>
          </a:p>
        </p:txBody>
      </p:sp>
      <p:sp>
        <p:nvSpPr>
          <p:cNvPr id="131" name="Text Placeholder 35">
            <a:extLst>
              <a:ext uri="{FF2B5EF4-FFF2-40B4-BE49-F238E27FC236}">
                <a16:creationId xmlns:a16="http://schemas.microsoft.com/office/drawing/2014/main" id="{3C5278AC-98F8-060A-3C2D-AF81C4465054}"/>
              </a:ext>
            </a:extLst>
          </p:cNvPr>
          <p:cNvSpPr>
            <a:spLocks noGrp="1"/>
          </p:cNvSpPr>
          <p:nvPr>
            <p:ph type="body" sz="quarter" idx="70" hasCustomPrompt="1"/>
          </p:nvPr>
        </p:nvSpPr>
        <p:spPr>
          <a:xfrm>
            <a:off x="9409748" y="1769497"/>
            <a:ext cx="1528473" cy="331694"/>
          </a:xfrm>
        </p:spPr>
        <p:txBody>
          <a:bodyPr anchor="b">
            <a:noAutofit/>
          </a:bodyPr>
          <a:lstStyle>
            <a:lvl1pPr marL="0" indent="0" algn="ctr">
              <a:buNone/>
              <a:defRPr sz="1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ER</a:t>
            </a:r>
          </a:p>
        </p:txBody>
      </p:sp>
    </p:spTree>
    <p:extLst>
      <p:ext uri="{BB962C8B-B14F-4D97-AF65-F5344CB8AC3E}">
        <p14:creationId xmlns:p14="http://schemas.microsoft.com/office/powerpoint/2010/main" val="20631389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E934DBE4-8A51-8322-1C4F-48EE7CE3CF04}"/>
              </a:ext>
            </a:extLst>
          </p:cNvPr>
          <p:cNvSpPr>
            <a:spLocks noChangeArrowheads="1"/>
          </p:cNvSpPr>
          <p:nvPr userDrawn="1"/>
        </p:nvSpPr>
        <p:spPr bwMode="auto">
          <a:xfrm>
            <a:off x="10625487" y="2357746"/>
            <a:ext cx="32962" cy="1063016"/>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3265"/>
          </a:p>
        </p:txBody>
      </p:sp>
      <p:sp>
        <p:nvSpPr>
          <p:cNvPr id="4" name="Freeform 3">
            <a:extLst>
              <a:ext uri="{FF2B5EF4-FFF2-40B4-BE49-F238E27FC236}">
                <a16:creationId xmlns:a16="http://schemas.microsoft.com/office/drawing/2014/main" id="{FC2FE9FD-40DB-D07D-A6F4-B761FACB4CCA}"/>
              </a:ext>
            </a:extLst>
          </p:cNvPr>
          <p:cNvSpPr>
            <a:spLocks noChangeArrowheads="1"/>
          </p:cNvSpPr>
          <p:nvPr userDrawn="1"/>
        </p:nvSpPr>
        <p:spPr bwMode="auto">
          <a:xfrm>
            <a:off x="10334327" y="2050102"/>
            <a:ext cx="618031" cy="618033"/>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3265"/>
          </a:p>
        </p:txBody>
      </p:sp>
      <p:sp>
        <p:nvSpPr>
          <p:cNvPr id="5" name="Freeform 5">
            <a:extLst>
              <a:ext uri="{FF2B5EF4-FFF2-40B4-BE49-F238E27FC236}">
                <a16:creationId xmlns:a16="http://schemas.microsoft.com/office/drawing/2014/main" id="{388E6603-860D-9E3B-ECD0-1C4AC187B61F}"/>
              </a:ext>
            </a:extLst>
          </p:cNvPr>
          <p:cNvSpPr>
            <a:spLocks noChangeArrowheads="1"/>
          </p:cNvSpPr>
          <p:nvPr userDrawn="1"/>
        </p:nvSpPr>
        <p:spPr bwMode="auto">
          <a:xfrm>
            <a:off x="6593172" y="4709015"/>
            <a:ext cx="32962" cy="1063016"/>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3265"/>
          </a:p>
        </p:txBody>
      </p:sp>
      <p:sp>
        <p:nvSpPr>
          <p:cNvPr id="6" name="Freeform 6">
            <a:extLst>
              <a:ext uri="{FF2B5EF4-FFF2-40B4-BE49-F238E27FC236}">
                <a16:creationId xmlns:a16="http://schemas.microsoft.com/office/drawing/2014/main" id="{461850A8-7E6A-B22C-FDAF-D28B5DD881F6}"/>
              </a:ext>
            </a:extLst>
          </p:cNvPr>
          <p:cNvSpPr>
            <a:spLocks noChangeArrowheads="1"/>
          </p:cNvSpPr>
          <p:nvPr userDrawn="1"/>
        </p:nvSpPr>
        <p:spPr bwMode="auto">
          <a:xfrm>
            <a:off x="6299262" y="4401370"/>
            <a:ext cx="618033" cy="618033"/>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3265"/>
          </a:p>
        </p:txBody>
      </p:sp>
      <p:sp>
        <p:nvSpPr>
          <p:cNvPr id="7" name="Freeform 8">
            <a:extLst>
              <a:ext uri="{FF2B5EF4-FFF2-40B4-BE49-F238E27FC236}">
                <a16:creationId xmlns:a16="http://schemas.microsoft.com/office/drawing/2014/main" id="{5BA2EB10-1416-9691-0175-10F6D706EF60}"/>
              </a:ext>
            </a:extLst>
          </p:cNvPr>
          <p:cNvSpPr>
            <a:spLocks noChangeArrowheads="1"/>
          </p:cNvSpPr>
          <p:nvPr userDrawn="1"/>
        </p:nvSpPr>
        <p:spPr bwMode="auto">
          <a:xfrm>
            <a:off x="8823581" y="3810807"/>
            <a:ext cx="32962" cy="1063014"/>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3265"/>
          </a:p>
        </p:txBody>
      </p:sp>
      <p:sp>
        <p:nvSpPr>
          <p:cNvPr id="8" name="Freeform 9">
            <a:extLst>
              <a:ext uri="{FF2B5EF4-FFF2-40B4-BE49-F238E27FC236}">
                <a16:creationId xmlns:a16="http://schemas.microsoft.com/office/drawing/2014/main" id="{B93AE10E-5D59-DAD7-F04A-0BDB8D00A427}"/>
              </a:ext>
            </a:extLst>
          </p:cNvPr>
          <p:cNvSpPr>
            <a:spLocks noChangeArrowheads="1"/>
          </p:cNvSpPr>
          <p:nvPr userDrawn="1"/>
        </p:nvSpPr>
        <p:spPr bwMode="auto">
          <a:xfrm>
            <a:off x="8529673" y="3500419"/>
            <a:ext cx="620779" cy="620779"/>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3265"/>
          </a:p>
        </p:txBody>
      </p:sp>
      <p:sp>
        <p:nvSpPr>
          <p:cNvPr id="9" name="Freeform 76">
            <a:extLst>
              <a:ext uri="{FF2B5EF4-FFF2-40B4-BE49-F238E27FC236}">
                <a16:creationId xmlns:a16="http://schemas.microsoft.com/office/drawing/2014/main" id="{E26B414F-D769-A252-0391-70ADB1F51353}"/>
              </a:ext>
            </a:extLst>
          </p:cNvPr>
          <p:cNvSpPr>
            <a:spLocks noChangeArrowheads="1"/>
          </p:cNvSpPr>
          <p:nvPr userDrawn="1"/>
        </p:nvSpPr>
        <p:spPr bwMode="auto">
          <a:xfrm>
            <a:off x="9282297" y="1337405"/>
            <a:ext cx="615285" cy="480693"/>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3265"/>
          </a:p>
        </p:txBody>
      </p:sp>
      <p:sp>
        <p:nvSpPr>
          <p:cNvPr id="10" name="Freeform 76">
            <a:extLst>
              <a:ext uri="{FF2B5EF4-FFF2-40B4-BE49-F238E27FC236}">
                <a16:creationId xmlns:a16="http://schemas.microsoft.com/office/drawing/2014/main" id="{DEE33661-A7C6-12C6-3419-FAF7BEE1B2FF}"/>
              </a:ext>
            </a:extLst>
          </p:cNvPr>
          <p:cNvSpPr>
            <a:spLocks noChangeArrowheads="1"/>
          </p:cNvSpPr>
          <p:nvPr userDrawn="1"/>
        </p:nvSpPr>
        <p:spPr bwMode="auto">
          <a:xfrm>
            <a:off x="9282297" y="1337405"/>
            <a:ext cx="615285" cy="480693"/>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3265"/>
          </a:p>
        </p:txBody>
      </p:sp>
      <p:sp>
        <p:nvSpPr>
          <p:cNvPr id="11" name="Freeform 77">
            <a:extLst>
              <a:ext uri="{FF2B5EF4-FFF2-40B4-BE49-F238E27FC236}">
                <a16:creationId xmlns:a16="http://schemas.microsoft.com/office/drawing/2014/main" id="{6E628D0F-3E0E-37D1-CFB7-62BD7A023D41}"/>
              </a:ext>
            </a:extLst>
          </p:cNvPr>
          <p:cNvSpPr>
            <a:spLocks noChangeArrowheads="1"/>
          </p:cNvSpPr>
          <p:nvPr userDrawn="1"/>
        </p:nvSpPr>
        <p:spPr bwMode="auto">
          <a:xfrm>
            <a:off x="9070793" y="1202811"/>
            <a:ext cx="30214" cy="900954"/>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3265"/>
          </a:p>
        </p:txBody>
      </p:sp>
      <p:sp>
        <p:nvSpPr>
          <p:cNvPr id="12" name="Freeform 78">
            <a:extLst>
              <a:ext uri="{FF2B5EF4-FFF2-40B4-BE49-F238E27FC236}">
                <a16:creationId xmlns:a16="http://schemas.microsoft.com/office/drawing/2014/main" id="{53CD9F38-BC34-9B19-EDBA-DECB603AA489}"/>
              </a:ext>
            </a:extLst>
          </p:cNvPr>
          <p:cNvSpPr>
            <a:spLocks noChangeArrowheads="1"/>
          </p:cNvSpPr>
          <p:nvPr userDrawn="1"/>
        </p:nvSpPr>
        <p:spPr bwMode="auto">
          <a:xfrm>
            <a:off x="9103757" y="1263241"/>
            <a:ext cx="332363" cy="436742"/>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3265"/>
          </a:p>
        </p:txBody>
      </p:sp>
      <p:sp>
        <p:nvSpPr>
          <p:cNvPr id="13" name="Freeform 79">
            <a:extLst>
              <a:ext uri="{FF2B5EF4-FFF2-40B4-BE49-F238E27FC236}">
                <a16:creationId xmlns:a16="http://schemas.microsoft.com/office/drawing/2014/main" id="{47319B09-6658-5056-2B2F-6C54CF969875}"/>
              </a:ext>
            </a:extLst>
          </p:cNvPr>
          <p:cNvSpPr>
            <a:spLocks noChangeArrowheads="1"/>
          </p:cNvSpPr>
          <p:nvPr userDrawn="1"/>
        </p:nvSpPr>
        <p:spPr bwMode="auto">
          <a:xfrm>
            <a:off x="9282298" y="1697236"/>
            <a:ext cx="151076" cy="120860"/>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3265"/>
          </a:p>
        </p:txBody>
      </p:sp>
      <p:sp>
        <p:nvSpPr>
          <p:cNvPr id="14" name="Freeform 79">
            <a:extLst>
              <a:ext uri="{FF2B5EF4-FFF2-40B4-BE49-F238E27FC236}">
                <a16:creationId xmlns:a16="http://schemas.microsoft.com/office/drawing/2014/main" id="{B7F1DE00-5616-A9C2-5395-7816F00CC63E}"/>
              </a:ext>
            </a:extLst>
          </p:cNvPr>
          <p:cNvSpPr>
            <a:spLocks noChangeArrowheads="1"/>
          </p:cNvSpPr>
          <p:nvPr userDrawn="1"/>
        </p:nvSpPr>
        <p:spPr bwMode="auto">
          <a:xfrm>
            <a:off x="9282298" y="1697236"/>
            <a:ext cx="151076" cy="120860"/>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3265"/>
          </a:p>
        </p:txBody>
      </p:sp>
      <p:sp>
        <p:nvSpPr>
          <p:cNvPr id="15" name="Freeform 80">
            <a:extLst>
              <a:ext uri="{FF2B5EF4-FFF2-40B4-BE49-F238E27FC236}">
                <a16:creationId xmlns:a16="http://schemas.microsoft.com/office/drawing/2014/main" id="{BC25995C-D0EF-E88B-DD4C-75AC946713C8}"/>
              </a:ext>
            </a:extLst>
          </p:cNvPr>
          <p:cNvSpPr>
            <a:spLocks noChangeArrowheads="1"/>
          </p:cNvSpPr>
          <p:nvPr userDrawn="1"/>
        </p:nvSpPr>
        <p:spPr bwMode="auto">
          <a:xfrm>
            <a:off x="8895001" y="2094391"/>
            <a:ext cx="387296" cy="39687"/>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3265"/>
          </a:p>
        </p:txBody>
      </p:sp>
      <p:sp>
        <p:nvSpPr>
          <p:cNvPr id="16" name="Freeform 15">
            <a:extLst>
              <a:ext uri="{FF2B5EF4-FFF2-40B4-BE49-F238E27FC236}">
                <a16:creationId xmlns:a16="http://schemas.microsoft.com/office/drawing/2014/main" id="{AB594921-010F-C820-D39E-B9EC2DB19FEE}"/>
              </a:ext>
            </a:extLst>
          </p:cNvPr>
          <p:cNvSpPr>
            <a:spLocks noChangeArrowheads="1"/>
          </p:cNvSpPr>
          <p:nvPr userDrawn="1"/>
        </p:nvSpPr>
        <p:spPr bwMode="auto">
          <a:xfrm>
            <a:off x="3209104" y="2135255"/>
            <a:ext cx="8224436" cy="4721142"/>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3265">
              <a:latin typeface="Lato Light" panose="020F0502020204030203" pitchFamily="34" charset="0"/>
            </a:endParaRPr>
          </a:p>
        </p:txBody>
      </p:sp>
      <p:sp>
        <p:nvSpPr>
          <p:cNvPr id="17" name="Freeform 16">
            <a:extLst>
              <a:ext uri="{FF2B5EF4-FFF2-40B4-BE49-F238E27FC236}">
                <a16:creationId xmlns:a16="http://schemas.microsoft.com/office/drawing/2014/main" id="{351AA5E6-9C32-0CA0-67F8-82CDB40E90C6}"/>
              </a:ext>
            </a:extLst>
          </p:cNvPr>
          <p:cNvSpPr>
            <a:spLocks noChangeArrowheads="1"/>
          </p:cNvSpPr>
          <p:nvPr userDrawn="1"/>
        </p:nvSpPr>
        <p:spPr bwMode="auto">
          <a:xfrm>
            <a:off x="6628882" y="2140745"/>
            <a:ext cx="4119592" cy="4715653"/>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3265">
              <a:latin typeface="Lato Light" panose="020F0502020204030203" pitchFamily="34" charset="0"/>
            </a:endParaRPr>
          </a:p>
        </p:txBody>
      </p:sp>
      <p:sp>
        <p:nvSpPr>
          <p:cNvPr id="26" name="Oval 25">
            <a:extLst>
              <a:ext uri="{FF2B5EF4-FFF2-40B4-BE49-F238E27FC236}">
                <a16:creationId xmlns:a16="http://schemas.microsoft.com/office/drawing/2014/main" id="{9FC366FE-12C1-5B43-7423-1D81487A8219}"/>
              </a:ext>
            </a:extLst>
          </p:cNvPr>
          <p:cNvSpPr/>
          <p:nvPr userDrawn="1"/>
        </p:nvSpPr>
        <p:spPr>
          <a:xfrm>
            <a:off x="4862305" y="1538784"/>
            <a:ext cx="136770" cy="136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Oval 26">
            <a:extLst>
              <a:ext uri="{FF2B5EF4-FFF2-40B4-BE49-F238E27FC236}">
                <a16:creationId xmlns:a16="http://schemas.microsoft.com/office/drawing/2014/main" id="{F5D01E6D-7F60-68EE-E204-2BCD8E859ED2}"/>
              </a:ext>
            </a:extLst>
          </p:cNvPr>
          <p:cNvSpPr/>
          <p:nvPr userDrawn="1"/>
        </p:nvSpPr>
        <p:spPr>
          <a:xfrm>
            <a:off x="4862305" y="2849503"/>
            <a:ext cx="136770" cy="13677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8" name="Oval 27">
            <a:extLst>
              <a:ext uri="{FF2B5EF4-FFF2-40B4-BE49-F238E27FC236}">
                <a16:creationId xmlns:a16="http://schemas.microsoft.com/office/drawing/2014/main" id="{EBA0118D-F720-1E00-89AC-AFE8D1B38248}"/>
              </a:ext>
            </a:extLst>
          </p:cNvPr>
          <p:cNvSpPr/>
          <p:nvPr userDrawn="1"/>
        </p:nvSpPr>
        <p:spPr>
          <a:xfrm>
            <a:off x="4862305" y="4160222"/>
            <a:ext cx="136770" cy="13677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9" name="Oval 28">
            <a:extLst>
              <a:ext uri="{FF2B5EF4-FFF2-40B4-BE49-F238E27FC236}">
                <a16:creationId xmlns:a16="http://schemas.microsoft.com/office/drawing/2014/main" id="{86CA27A3-5766-F250-D70A-15EA5EB1B74B}"/>
              </a:ext>
            </a:extLst>
          </p:cNvPr>
          <p:cNvSpPr/>
          <p:nvPr userDrawn="1"/>
        </p:nvSpPr>
        <p:spPr>
          <a:xfrm>
            <a:off x="4862305" y="5470942"/>
            <a:ext cx="136770" cy="13677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0" name="Freeform 1043">
            <a:extLst>
              <a:ext uri="{FF2B5EF4-FFF2-40B4-BE49-F238E27FC236}">
                <a16:creationId xmlns:a16="http://schemas.microsoft.com/office/drawing/2014/main" id="{38DAD0D0-5891-7635-5B39-D22380E77C5C}"/>
              </a:ext>
            </a:extLst>
          </p:cNvPr>
          <p:cNvSpPr>
            <a:spLocks noChangeAspect="1" noChangeArrowheads="1"/>
          </p:cNvSpPr>
          <p:nvPr userDrawn="1"/>
        </p:nvSpPr>
        <p:spPr bwMode="auto">
          <a:xfrm>
            <a:off x="8690729" y="3661933"/>
            <a:ext cx="298666" cy="297750"/>
          </a:xfrm>
          <a:custGeom>
            <a:avLst/>
            <a:gdLst>
              <a:gd name="T0" fmla="*/ 8707233 w 285392"/>
              <a:gd name="T1" fmla="*/ 120119261 h 283805"/>
              <a:gd name="T2" fmla="*/ 29325211 w 285392"/>
              <a:gd name="T3" fmla="*/ 93833658 h 283805"/>
              <a:gd name="T4" fmla="*/ 1831833 w 285392"/>
              <a:gd name="T5" fmla="*/ 90078391 h 283805"/>
              <a:gd name="T6" fmla="*/ 37878854 w 285392"/>
              <a:gd name="T7" fmla="*/ 91956180 h 283805"/>
              <a:gd name="T8" fmla="*/ 32991136 w 285392"/>
              <a:gd name="T9" fmla="*/ 93833658 h 283805"/>
              <a:gd name="T10" fmla="*/ 31158697 w 285392"/>
              <a:gd name="T11" fmla="*/ 123874713 h 283805"/>
              <a:gd name="T12" fmla="*/ 4886724 w 285392"/>
              <a:gd name="T13" fmla="*/ 121997236 h 283805"/>
              <a:gd name="T14" fmla="*/ 1831833 w 285392"/>
              <a:gd name="T15" fmla="*/ 93833658 h 283805"/>
              <a:gd name="T16" fmla="*/ 1831833 w 285392"/>
              <a:gd name="T17" fmla="*/ 90078391 h 283805"/>
              <a:gd name="T18" fmla="*/ 92800544 w 285392"/>
              <a:gd name="T19" fmla="*/ 120088971 h 283805"/>
              <a:gd name="T20" fmla="*/ 113503367 w 285392"/>
              <a:gd name="T21" fmla="*/ 78618555 h 283805"/>
              <a:gd name="T22" fmla="*/ 86053647 w 285392"/>
              <a:gd name="T23" fmla="*/ 74834539 h 283805"/>
              <a:gd name="T24" fmla="*/ 122091277 w 285392"/>
              <a:gd name="T25" fmla="*/ 76569103 h 283805"/>
              <a:gd name="T26" fmla="*/ 117184208 w 285392"/>
              <a:gd name="T27" fmla="*/ 78618555 h 283805"/>
              <a:gd name="T28" fmla="*/ 115343507 w 285392"/>
              <a:gd name="T29" fmla="*/ 123873484 h 283805"/>
              <a:gd name="T30" fmla="*/ 89120569 w 285392"/>
              <a:gd name="T31" fmla="*/ 121981726 h 283805"/>
              <a:gd name="T32" fmla="*/ 86053647 w 285392"/>
              <a:gd name="T33" fmla="*/ 78618555 h 283805"/>
              <a:gd name="T34" fmla="*/ 86053647 w 285392"/>
              <a:gd name="T35" fmla="*/ 74834539 h 283805"/>
              <a:gd name="T36" fmla="*/ 50541167 w 285392"/>
              <a:gd name="T37" fmla="*/ 120082526 h 283805"/>
              <a:gd name="T38" fmla="*/ 71396916 w 285392"/>
              <a:gd name="T39" fmla="*/ 63381523 h 283805"/>
              <a:gd name="T40" fmla="*/ 19278434 w 285392"/>
              <a:gd name="T41" fmla="*/ 63155325 h 283805"/>
              <a:gd name="T42" fmla="*/ 19278434 w 285392"/>
              <a:gd name="T43" fmla="*/ 79274704 h 283805"/>
              <a:gd name="T44" fmla="*/ 19278434 w 285392"/>
              <a:gd name="T45" fmla="*/ 63155325 h 283805"/>
              <a:gd name="T46" fmla="*/ 78144632 w 285392"/>
              <a:gd name="T47" fmla="*/ 59590565 h 283805"/>
              <a:gd name="T48" fmla="*/ 78144632 w 285392"/>
              <a:gd name="T49" fmla="*/ 63222884 h 283805"/>
              <a:gd name="T50" fmla="*/ 75077743 w 285392"/>
              <a:gd name="T51" fmla="*/ 121978098 h 283805"/>
              <a:gd name="T52" fmla="*/ 48854251 w 285392"/>
              <a:gd name="T53" fmla="*/ 123872957 h 283805"/>
              <a:gd name="T54" fmla="*/ 47014093 w 285392"/>
              <a:gd name="T55" fmla="*/ 63222884 h 283805"/>
              <a:gd name="T56" fmla="*/ 42106458 w 285392"/>
              <a:gd name="T57" fmla="*/ 61485446 h 283805"/>
              <a:gd name="T58" fmla="*/ 19278434 w 285392"/>
              <a:gd name="T59" fmla="*/ 59590565 h 283805"/>
              <a:gd name="T60" fmla="*/ 19278434 w 285392"/>
              <a:gd name="T61" fmla="*/ 82994349 h 283805"/>
              <a:gd name="T62" fmla="*/ 19278434 w 285392"/>
              <a:gd name="T63" fmla="*/ 59590565 h 283805"/>
              <a:gd name="T64" fmla="*/ 92687089 w 285392"/>
              <a:gd name="T65" fmla="*/ 53968565 h 283805"/>
              <a:gd name="T66" fmla="*/ 113615111 w 285392"/>
              <a:gd name="T67" fmla="*/ 53968565 h 283805"/>
              <a:gd name="T68" fmla="*/ 103229073 w 285392"/>
              <a:gd name="T69" fmla="*/ 39496003 h 283805"/>
              <a:gd name="T70" fmla="*/ 103229073 w 285392"/>
              <a:gd name="T71" fmla="*/ 68441051 h 283805"/>
              <a:gd name="T72" fmla="*/ 103229073 w 285392"/>
              <a:gd name="T73" fmla="*/ 39496003 h 283805"/>
              <a:gd name="T74" fmla="*/ 77944262 w 285392"/>
              <a:gd name="T75" fmla="*/ 26940346 h 283805"/>
              <a:gd name="T76" fmla="*/ 74025646 w 285392"/>
              <a:gd name="T77" fmla="*/ 26940346 h 283805"/>
              <a:gd name="T78" fmla="*/ 46779056 w 285392"/>
              <a:gd name="T79" fmla="*/ 24944181 h 283805"/>
              <a:gd name="T80" fmla="*/ 46779056 w 285392"/>
              <a:gd name="T81" fmla="*/ 28936426 h 283805"/>
              <a:gd name="T82" fmla="*/ 46779056 w 285392"/>
              <a:gd name="T83" fmla="*/ 24944181 h 283805"/>
              <a:gd name="T84" fmla="*/ 62887936 w 285392"/>
              <a:gd name="T85" fmla="*/ 10215525 h 283805"/>
              <a:gd name="T86" fmla="*/ 69183073 w 285392"/>
              <a:gd name="T87" fmla="*/ 17020252 h 283805"/>
              <a:gd name="T88" fmla="*/ 65805060 w 285392"/>
              <a:gd name="T89" fmla="*/ 18604316 h 283805"/>
              <a:gd name="T90" fmla="*/ 55978363 w 285392"/>
              <a:gd name="T91" fmla="*/ 20186659 h 283805"/>
              <a:gd name="T92" fmla="*/ 69797559 w 285392"/>
              <a:gd name="T93" fmla="*/ 33009494 h 283805"/>
              <a:gd name="T94" fmla="*/ 62887936 w 285392"/>
              <a:gd name="T95" fmla="*/ 42981519 h 283805"/>
              <a:gd name="T96" fmla="*/ 59202993 w 285392"/>
              <a:gd name="T97" fmla="*/ 42981519 h 283805"/>
              <a:gd name="T98" fmla="*/ 52907711 w 285392"/>
              <a:gd name="T99" fmla="*/ 36015826 h 283805"/>
              <a:gd name="T100" fmla="*/ 56285354 w 285392"/>
              <a:gd name="T101" fmla="*/ 34591336 h 283805"/>
              <a:gd name="T102" fmla="*/ 66112435 w 285392"/>
              <a:gd name="T103" fmla="*/ 33009494 h 283805"/>
              <a:gd name="T104" fmla="*/ 52293370 w 285392"/>
              <a:gd name="T105" fmla="*/ 20186659 h 283805"/>
              <a:gd name="T106" fmla="*/ 59202993 w 285392"/>
              <a:gd name="T107" fmla="*/ 10215525 h 283805"/>
              <a:gd name="T108" fmla="*/ 61045167 w 285392"/>
              <a:gd name="T109" fmla="*/ 3770864 h 283805"/>
              <a:gd name="T110" fmla="*/ 61045167 w 285392"/>
              <a:gd name="T111" fmla="*/ 50118642 h 283805"/>
              <a:gd name="T112" fmla="*/ 61045167 w 285392"/>
              <a:gd name="T113" fmla="*/ 3770864 h 283805"/>
              <a:gd name="T114" fmla="*/ 87454813 w 285392"/>
              <a:gd name="T115" fmla="*/ 26866753 h 283805"/>
              <a:gd name="T116" fmla="*/ 34636116 w 285392"/>
              <a:gd name="T117" fmla="*/ 26866753 h 2838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5392" h="283805">
                <a:moveTo>
                  <a:pt x="20351" y="214978"/>
                </a:moveTo>
                <a:lnTo>
                  <a:pt x="20351" y="275201"/>
                </a:lnTo>
                <a:lnTo>
                  <a:pt x="68549" y="275201"/>
                </a:lnTo>
                <a:lnTo>
                  <a:pt x="68549" y="214978"/>
                </a:lnTo>
                <a:lnTo>
                  <a:pt x="20351" y="214978"/>
                </a:lnTo>
                <a:close/>
                <a:moveTo>
                  <a:pt x="4284" y="206375"/>
                </a:moveTo>
                <a:lnTo>
                  <a:pt x="84259" y="206375"/>
                </a:lnTo>
                <a:cubicBezTo>
                  <a:pt x="86401" y="206375"/>
                  <a:pt x="88543" y="208526"/>
                  <a:pt x="88543" y="210677"/>
                </a:cubicBezTo>
                <a:cubicBezTo>
                  <a:pt x="88543" y="213186"/>
                  <a:pt x="86401" y="214978"/>
                  <a:pt x="84259" y="214978"/>
                </a:cubicBezTo>
                <a:lnTo>
                  <a:pt x="77118" y="214978"/>
                </a:lnTo>
                <a:lnTo>
                  <a:pt x="77118" y="279503"/>
                </a:lnTo>
                <a:cubicBezTo>
                  <a:pt x="77118" y="281654"/>
                  <a:pt x="75333" y="283805"/>
                  <a:pt x="72834" y="283805"/>
                </a:cubicBezTo>
                <a:lnTo>
                  <a:pt x="15709" y="283805"/>
                </a:lnTo>
                <a:cubicBezTo>
                  <a:pt x="13567" y="283805"/>
                  <a:pt x="11425" y="281654"/>
                  <a:pt x="11425" y="279503"/>
                </a:cubicBezTo>
                <a:lnTo>
                  <a:pt x="11425" y="214978"/>
                </a:lnTo>
                <a:lnTo>
                  <a:pt x="4284" y="214978"/>
                </a:lnTo>
                <a:cubicBezTo>
                  <a:pt x="2142" y="214978"/>
                  <a:pt x="0" y="213186"/>
                  <a:pt x="0" y="210677"/>
                </a:cubicBezTo>
                <a:cubicBezTo>
                  <a:pt x="0" y="208526"/>
                  <a:pt x="2142" y="206375"/>
                  <a:pt x="4284" y="206375"/>
                </a:cubicBezTo>
                <a:close/>
                <a:moveTo>
                  <a:pt x="216924" y="180120"/>
                </a:moveTo>
                <a:lnTo>
                  <a:pt x="216924" y="275132"/>
                </a:lnTo>
                <a:lnTo>
                  <a:pt x="265317" y="275132"/>
                </a:lnTo>
                <a:lnTo>
                  <a:pt x="265317" y="180120"/>
                </a:lnTo>
                <a:lnTo>
                  <a:pt x="216924" y="180120"/>
                </a:lnTo>
                <a:close/>
                <a:moveTo>
                  <a:pt x="201152" y="171450"/>
                </a:moveTo>
                <a:lnTo>
                  <a:pt x="281090" y="171450"/>
                </a:lnTo>
                <a:cubicBezTo>
                  <a:pt x="283599" y="171450"/>
                  <a:pt x="285392" y="173256"/>
                  <a:pt x="285392" y="175424"/>
                </a:cubicBezTo>
                <a:cubicBezTo>
                  <a:pt x="285392" y="177953"/>
                  <a:pt x="283599" y="180120"/>
                  <a:pt x="281090" y="180120"/>
                </a:cubicBezTo>
                <a:lnTo>
                  <a:pt x="273921" y="180120"/>
                </a:lnTo>
                <a:lnTo>
                  <a:pt x="273921" y="279467"/>
                </a:lnTo>
                <a:cubicBezTo>
                  <a:pt x="273921" y="281634"/>
                  <a:pt x="272128" y="283802"/>
                  <a:pt x="269619" y="283802"/>
                </a:cubicBezTo>
                <a:lnTo>
                  <a:pt x="212623" y="283802"/>
                </a:lnTo>
                <a:cubicBezTo>
                  <a:pt x="210113" y="283802"/>
                  <a:pt x="208321" y="281634"/>
                  <a:pt x="208321" y="279467"/>
                </a:cubicBezTo>
                <a:lnTo>
                  <a:pt x="208321" y="180120"/>
                </a:lnTo>
                <a:lnTo>
                  <a:pt x="201152" y="180120"/>
                </a:lnTo>
                <a:cubicBezTo>
                  <a:pt x="198642" y="180120"/>
                  <a:pt x="196850" y="177953"/>
                  <a:pt x="196850" y="175424"/>
                </a:cubicBezTo>
                <a:cubicBezTo>
                  <a:pt x="196850" y="173256"/>
                  <a:pt x="198642" y="171450"/>
                  <a:pt x="201152" y="171450"/>
                </a:cubicBezTo>
                <a:close/>
                <a:moveTo>
                  <a:pt x="118141" y="145210"/>
                </a:moveTo>
                <a:lnTo>
                  <a:pt x="118141" y="275117"/>
                </a:lnTo>
                <a:lnTo>
                  <a:pt x="166892" y="275117"/>
                </a:lnTo>
                <a:lnTo>
                  <a:pt x="166892" y="145210"/>
                </a:lnTo>
                <a:lnTo>
                  <a:pt x="118141" y="145210"/>
                </a:lnTo>
                <a:close/>
                <a:moveTo>
                  <a:pt x="45062" y="144692"/>
                </a:moveTo>
                <a:cubicBezTo>
                  <a:pt x="34530" y="144692"/>
                  <a:pt x="26178" y="153215"/>
                  <a:pt x="26178" y="163513"/>
                </a:cubicBezTo>
                <a:cubicBezTo>
                  <a:pt x="26178" y="173455"/>
                  <a:pt x="34530" y="181623"/>
                  <a:pt x="45062" y="181623"/>
                </a:cubicBezTo>
                <a:cubicBezTo>
                  <a:pt x="55593" y="181623"/>
                  <a:pt x="63946" y="173455"/>
                  <a:pt x="63946" y="163513"/>
                </a:cubicBezTo>
                <a:cubicBezTo>
                  <a:pt x="63946" y="153215"/>
                  <a:pt x="55593" y="144692"/>
                  <a:pt x="45062" y="144692"/>
                </a:cubicBezTo>
                <a:close/>
                <a:moveTo>
                  <a:pt x="102727" y="136525"/>
                </a:moveTo>
                <a:lnTo>
                  <a:pt x="182665" y="136525"/>
                </a:lnTo>
                <a:cubicBezTo>
                  <a:pt x="185174" y="136525"/>
                  <a:pt x="186967" y="138334"/>
                  <a:pt x="186967" y="140867"/>
                </a:cubicBezTo>
                <a:cubicBezTo>
                  <a:pt x="186967" y="143039"/>
                  <a:pt x="185174" y="144848"/>
                  <a:pt x="182665" y="144848"/>
                </a:cubicBezTo>
                <a:lnTo>
                  <a:pt x="175496" y="144848"/>
                </a:lnTo>
                <a:lnTo>
                  <a:pt x="175496" y="279459"/>
                </a:lnTo>
                <a:cubicBezTo>
                  <a:pt x="175496" y="281630"/>
                  <a:pt x="173703" y="283801"/>
                  <a:pt x="171194" y="283801"/>
                </a:cubicBezTo>
                <a:lnTo>
                  <a:pt x="114198" y="283801"/>
                </a:lnTo>
                <a:cubicBezTo>
                  <a:pt x="111688" y="283801"/>
                  <a:pt x="109896" y="281630"/>
                  <a:pt x="109896" y="279459"/>
                </a:cubicBezTo>
                <a:lnTo>
                  <a:pt x="109896" y="144848"/>
                </a:lnTo>
                <a:lnTo>
                  <a:pt x="102727" y="144848"/>
                </a:lnTo>
                <a:cubicBezTo>
                  <a:pt x="100217" y="144848"/>
                  <a:pt x="98425" y="143039"/>
                  <a:pt x="98425" y="140867"/>
                </a:cubicBezTo>
                <a:cubicBezTo>
                  <a:pt x="98425" y="138334"/>
                  <a:pt x="100217" y="136525"/>
                  <a:pt x="102727" y="136525"/>
                </a:cubicBezTo>
                <a:close/>
                <a:moveTo>
                  <a:pt x="45062" y="136525"/>
                </a:moveTo>
                <a:cubicBezTo>
                  <a:pt x="60315" y="136525"/>
                  <a:pt x="72662" y="148598"/>
                  <a:pt x="72662" y="163513"/>
                </a:cubicBezTo>
                <a:cubicBezTo>
                  <a:pt x="72662" y="178072"/>
                  <a:pt x="60315" y="190145"/>
                  <a:pt x="45062" y="190145"/>
                </a:cubicBezTo>
                <a:cubicBezTo>
                  <a:pt x="29809" y="190145"/>
                  <a:pt x="17462" y="178072"/>
                  <a:pt x="17462" y="163513"/>
                </a:cubicBezTo>
                <a:cubicBezTo>
                  <a:pt x="17462" y="148598"/>
                  <a:pt x="29809" y="136525"/>
                  <a:pt x="45062" y="136525"/>
                </a:cubicBezTo>
                <a:close/>
                <a:moveTo>
                  <a:pt x="241300" y="99138"/>
                </a:moveTo>
                <a:cubicBezTo>
                  <a:pt x="227530" y="99138"/>
                  <a:pt x="216659" y="110310"/>
                  <a:pt x="216659" y="123645"/>
                </a:cubicBezTo>
                <a:cubicBezTo>
                  <a:pt x="216659" y="136980"/>
                  <a:pt x="227530" y="148153"/>
                  <a:pt x="241300" y="148153"/>
                </a:cubicBezTo>
                <a:cubicBezTo>
                  <a:pt x="254707" y="148153"/>
                  <a:pt x="265578" y="136980"/>
                  <a:pt x="265578" y="123645"/>
                </a:cubicBezTo>
                <a:cubicBezTo>
                  <a:pt x="265578" y="110310"/>
                  <a:pt x="254707" y="99138"/>
                  <a:pt x="241300" y="99138"/>
                </a:cubicBezTo>
                <a:close/>
                <a:moveTo>
                  <a:pt x="241300" y="90488"/>
                </a:moveTo>
                <a:cubicBezTo>
                  <a:pt x="259418" y="90488"/>
                  <a:pt x="274275" y="105265"/>
                  <a:pt x="274275" y="123645"/>
                </a:cubicBezTo>
                <a:cubicBezTo>
                  <a:pt x="274275" y="142026"/>
                  <a:pt x="259418" y="156803"/>
                  <a:pt x="241300" y="156803"/>
                </a:cubicBezTo>
                <a:cubicBezTo>
                  <a:pt x="222819" y="156803"/>
                  <a:pt x="207962" y="142026"/>
                  <a:pt x="207962" y="123645"/>
                </a:cubicBezTo>
                <a:cubicBezTo>
                  <a:pt x="207962" y="105265"/>
                  <a:pt x="222819" y="90488"/>
                  <a:pt x="241300" y="90488"/>
                </a:cubicBezTo>
                <a:close/>
                <a:moveTo>
                  <a:pt x="177800" y="57150"/>
                </a:moveTo>
                <a:cubicBezTo>
                  <a:pt x="179998" y="57150"/>
                  <a:pt x="182196" y="59436"/>
                  <a:pt x="182196" y="61722"/>
                </a:cubicBezTo>
                <a:cubicBezTo>
                  <a:pt x="182196" y="64389"/>
                  <a:pt x="179998" y="66294"/>
                  <a:pt x="177800" y="66294"/>
                </a:cubicBezTo>
                <a:cubicBezTo>
                  <a:pt x="175235" y="66294"/>
                  <a:pt x="173037" y="64389"/>
                  <a:pt x="173037" y="61722"/>
                </a:cubicBezTo>
                <a:cubicBezTo>
                  <a:pt x="173037" y="59436"/>
                  <a:pt x="175235" y="57150"/>
                  <a:pt x="177800" y="57150"/>
                </a:cubicBezTo>
                <a:close/>
                <a:moveTo>
                  <a:pt x="109347" y="57150"/>
                </a:moveTo>
                <a:cubicBezTo>
                  <a:pt x="112014" y="57150"/>
                  <a:pt x="113919" y="59436"/>
                  <a:pt x="113919" y="61722"/>
                </a:cubicBezTo>
                <a:cubicBezTo>
                  <a:pt x="113919" y="64389"/>
                  <a:pt x="112014" y="66294"/>
                  <a:pt x="109347" y="66294"/>
                </a:cubicBezTo>
                <a:cubicBezTo>
                  <a:pt x="107061" y="66294"/>
                  <a:pt x="104775" y="64389"/>
                  <a:pt x="104775" y="61722"/>
                </a:cubicBezTo>
                <a:cubicBezTo>
                  <a:pt x="104775" y="59436"/>
                  <a:pt x="107061" y="57150"/>
                  <a:pt x="109347" y="57150"/>
                </a:cubicBezTo>
                <a:close/>
                <a:moveTo>
                  <a:pt x="142695" y="19050"/>
                </a:moveTo>
                <a:cubicBezTo>
                  <a:pt x="145207" y="19050"/>
                  <a:pt x="147002" y="20863"/>
                  <a:pt x="147002" y="23402"/>
                </a:cubicBezTo>
                <a:lnTo>
                  <a:pt x="147002" y="27391"/>
                </a:lnTo>
                <a:cubicBezTo>
                  <a:pt x="153462" y="28842"/>
                  <a:pt x="159205" y="33194"/>
                  <a:pt x="161717" y="38996"/>
                </a:cubicBezTo>
                <a:cubicBezTo>
                  <a:pt x="162435" y="41535"/>
                  <a:pt x="161359" y="43711"/>
                  <a:pt x="159564" y="45162"/>
                </a:cubicBezTo>
                <a:cubicBezTo>
                  <a:pt x="157052" y="45887"/>
                  <a:pt x="154539" y="44799"/>
                  <a:pt x="153821" y="42623"/>
                </a:cubicBezTo>
                <a:cubicBezTo>
                  <a:pt x="152027" y="38634"/>
                  <a:pt x="147720" y="35732"/>
                  <a:pt x="142695" y="35732"/>
                </a:cubicBezTo>
                <a:cubicBezTo>
                  <a:pt x="136235" y="35732"/>
                  <a:pt x="130851" y="40447"/>
                  <a:pt x="130851" y="46250"/>
                </a:cubicBezTo>
                <a:cubicBezTo>
                  <a:pt x="130851" y="53140"/>
                  <a:pt x="134799" y="56404"/>
                  <a:pt x="142695" y="56404"/>
                </a:cubicBezTo>
                <a:cubicBezTo>
                  <a:pt x="157769" y="56404"/>
                  <a:pt x="163153" y="66559"/>
                  <a:pt x="163153" y="75625"/>
                </a:cubicBezTo>
                <a:cubicBezTo>
                  <a:pt x="163153" y="84692"/>
                  <a:pt x="156334" y="92671"/>
                  <a:pt x="147002" y="94484"/>
                </a:cubicBezTo>
                <a:lnTo>
                  <a:pt x="147002" y="98473"/>
                </a:lnTo>
                <a:cubicBezTo>
                  <a:pt x="147002" y="101012"/>
                  <a:pt x="145207" y="102825"/>
                  <a:pt x="142695" y="102825"/>
                </a:cubicBezTo>
                <a:cubicBezTo>
                  <a:pt x="140183" y="102825"/>
                  <a:pt x="138388" y="101012"/>
                  <a:pt x="138388" y="98473"/>
                </a:cubicBezTo>
                <a:lnTo>
                  <a:pt x="138388" y="94121"/>
                </a:lnTo>
                <a:cubicBezTo>
                  <a:pt x="131569" y="93033"/>
                  <a:pt x="126185" y="88681"/>
                  <a:pt x="123673" y="82516"/>
                </a:cubicBezTo>
                <a:cubicBezTo>
                  <a:pt x="122955" y="80340"/>
                  <a:pt x="123673" y="77801"/>
                  <a:pt x="126185" y="77076"/>
                </a:cubicBezTo>
                <a:cubicBezTo>
                  <a:pt x="127980" y="75988"/>
                  <a:pt x="130851" y="77076"/>
                  <a:pt x="131569" y="79252"/>
                </a:cubicBezTo>
                <a:cubicBezTo>
                  <a:pt x="133363" y="83241"/>
                  <a:pt x="138029" y="86143"/>
                  <a:pt x="142695" y="86143"/>
                </a:cubicBezTo>
                <a:cubicBezTo>
                  <a:pt x="149155" y="86143"/>
                  <a:pt x="154539" y="81428"/>
                  <a:pt x="154539" y="75625"/>
                </a:cubicBezTo>
                <a:cubicBezTo>
                  <a:pt x="154539" y="68735"/>
                  <a:pt x="150591" y="65108"/>
                  <a:pt x="142695" y="65108"/>
                </a:cubicBezTo>
                <a:cubicBezTo>
                  <a:pt x="127621" y="65108"/>
                  <a:pt x="122237" y="55316"/>
                  <a:pt x="122237" y="46250"/>
                </a:cubicBezTo>
                <a:cubicBezTo>
                  <a:pt x="122237" y="37183"/>
                  <a:pt x="129415" y="29567"/>
                  <a:pt x="138388" y="27391"/>
                </a:cubicBezTo>
                <a:lnTo>
                  <a:pt x="138388" y="23402"/>
                </a:lnTo>
                <a:cubicBezTo>
                  <a:pt x="138388" y="20863"/>
                  <a:pt x="140183" y="19050"/>
                  <a:pt x="142695" y="19050"/>
                </a:cubicBezTo>
                <a:close/>
                <a:moveTo>
                  <a:pt x="142695" y="8639"/>
                </a:moveTo>
                <a:cubicBezTo>
                  <a:pt x="113264" y="8639"/>
                  <a:pt x="89935" y="32396"/>
                  <a:pt x="89935" y="61552"/>
                </a:cubicBezTo>
                <a:cubicBezTo>
                  <a:pt x="89935" y="90709"/>
                  <a:pt x="113264" y="114826"/>
                  <a:pt x="142695" y="114826"/>
                </a:cubicBezTo>
                <a:cubicBezTo>
                  <a:pt x="171767" y="114826"/>
                  <a:pt x="195814" y="90709"/>
                  <a:pt x="195814" y="61552"/>
                </a:cubicBezTo>
                <a:cubicBezTo>
                  <a:pt x="195814" y="32396"/>
                  <a:pt x="171767" y="8639"/>
                  <a:pt x="142695" y="8639"/>
                </a:cubicBezTo>
                <a:close/>
                <a:moveTo>
                  <a:pt x="142695" y="0"/>
                </a:moveTo>
                <a:cubicBezTo>
                  <a:pt x="176792" y="0"/>
                  <a:pt x="204428" y="27717"/>
                  <a:pt x="204428" y="61552"/>
                </a:cubicBezTo>
                <a:cubicBezTo>
                  <a:pt x="204428" y="95748"/>
                  <a:pt x="176792" y="123465"/>
                  <a:pt x="142695" y="123465"/>
                </a:cubicBezTo>
                <a:cubicBezTo>
                  <a:pt x="108957" y="123465"/>
                  <a:pt x="80962" y="95748"/>
                  <a:pt x="80962" y="61552"/>
                </a:cubicBezTo>
                <a:cubicBezTo>
                  <a:pt x="80962" y="27717"/>
                  <a:pt x="108957" y="0"/>
                  <a:pt x="142695" y="0"/>
                </a:cubicBezTo>
                <a:close/>
              </a:path>
            </a:pathLst>
          </a:custGeom>
          <a:solidFill>
            <a:schemeClr val="bg1"/>
          </a:solidFill>
          <a:ln>
            <a:noFill/>
          </a:ln>
          <a:effectLst/>
        </p:spPr>
        <p:txBody>
          <a:bodyPr anchor="ctr"/>
          <a:lstStyle/>
          <a:p>
            <a:endParaRPr lang="en-US" sz="900"/>
          </a:p>
        </p:txBody>
      </p:sp>
      <p:sp>
        <p:nvSpPr>
          <p:cNvPr id="31" name="Freeform 1016">
            <a:extLst>
              <a:ext uri="{FF2B5EF4-FFF2-40B4-BE49-F238E27FC236}">
                <a16:creationId xmlns:a16="http://schemas.microsoft.com/office/drawing/2014/main" id="{AA97DCE1-7935-B24E-BD67-78FC65736A49}"/>
              </a:ext>
            </a:extLst>
          </p:cNvPr>
          <p:cNvSpPr>
            <a:spLocks noChangeAspect="1" noChangeArrowheads="1"/>
          </p:cNvSpPr>
          <p:nvPr userDrawn="1"/>
        </p:nvSpPr>
        <p:spPr bwMode="auto">
          <a:xfrm>
            <a:off x="6457114" y="4558079"/>
            <a:ext cx="302330" cy="301872"/>
          </a:xfrm>
          <a:custGeom>
            <a:avLst/>
            <a:gdLst>
              <a:gd name="T0" fmla="*/ 67396042 w 288565"/>
              <a:gd name="T1" fmla="*/ 92877014 h 288565"/>
              <a:gd name="T2" fmla="*/ 54034295 w 288565"/>
              <a:gd name="T3" fmla="*/ 102044141 h 288565"/>
              <a:gd name="T4" fmla="*/ 78582751 w 288565"/>
              <a:gd name="T5" fmla="*/ 111366086 h 288565"/>
              <a:gd name="T6" fmla="*/ 82311448 w 288565"/>
              <a:gd name="T7" fmla="*/ 115095226 h 288565"/>
              <a:gd name="T8" fmla="*/ 102509904 w 288565"/>
              <a:gd name="T9" fmla="*/ 95829239 h 288565"/>
              <a:gd name="T10" fmla="*/ 75009190 w 288565"/>
              <a:gd name="T11" fmla="*/ 86196073 h 288565"/>
              <a:gd name="T12" fmla="*/ 90080684 w 288565"/>
              <a:gd name="T13" fmla="*/ 91323631 h 288565"/>
              <a:gd name="T14" fmla="*/ 75009190 w 288565"/>
              <a:gd name="T15" fmla="*/ 86196073 h 288565"/>
              <a:gd name="T16" fmla="*/ 80291529 w 288565"/>
              <a:gd name="T17" fmla="*/ 83710061 h 288565"/>
              <a:gd name="T18" fmla="*/ 78582751 w 288565"/>
              <a:gd name="T19" fmla="*/ 45799888 h 288565"/>
              <a:gd name="T20" fmla="*/ 51237058 w 288565"/>
              <a:gd name="T21" fmla="*/ 80447079 h 288565"/>
              <a:gd name="T22" fmla="*/ 50926900 w 288565"/>
              <a:gd name="T23" fmla="*/ 98625689 h 288565"/>
              <a:gd name="T24" fmla="*/ 66619254 w 288565"/>
              <a:gd name="T25" fmla="*/ 88992399 h 288565"/>
              <a:gd name="T26" fmla="*/ 66308541 w 288565"/>
              <a:gd name="T27" fmla="*/ 70814429 h 288565"/>
              <a:gd name="T28" fmla="*/ 89148378 w 288565"/>
              <a:gd name="T29" fmla="*/ 83865550 h 288565"/>
              <a:gd name="T30" fmla="*/ 97227340 w 288565"/>
              <a:gd name="T31" fmla="*/ 89924978 h 288565"/>
              <a:gd name="T32" fmla="*/ 115095226 w 288565"/>
              <a:gd name="T33" fmla="*/ 82311448 h 288565"/>
              <a:gd name="T34" fmla="*/ 111366086 w 288565"/>
              <a:gd name="T35" fmla="*/ 78427280 h 288565"/>
              <a:gd name="T36" fmla="*/ 82311448 w 288565"/>
              <a:gd name="T37" fmla="*/ 49373187 h 288565"/>
              <a:gd name="T38" fmla="*/ 78582751 w 288565"/>
              <a:gd name="T39" fmla="*/ 45799888 h 288565"/>
              <a:gd name="T40" fmla="*/ 82311448 w 288565"/>
              <a:gd name="T41" fmla="*/ 41915146 h 288565"/>
              <a:gd name="T42" fmla="*/ 124572489 w 288565"/>
              <a:gd name="T43" fmla="*/ 80447079 h 288565"/>
              <a:gd name="T44" fmla="*/ 82311448 w 288565"/>
              <a:gd name="T45" fmla="*/ 118824362 h 288565"/>
              <a:gd name="T46" fmla="*/ 78582751 w 288565"/>
              <a:gd name="T47" fmla="*/ 122708207 h 288565"/>
              <a:gd name="T48" fmla="*/ 38186024 w 288565"/>
              <a:gd name="T49" fmla="*/ 82311448 h 288565"/>
              <a:gd name="T50" fmla="*/ 41915146 w 288565"/>
              <a:gd name="T51" fmla="*/ 78427280 h 288565"/>
              <a:gd name="T52" fmla="*/ 80291529 w 288565"/>
              <a:gd name="T53" fmla="*/ 36321478 h 288565"/>
              <a:gd name="T54" fmla="*/ 44303012 w 288565"/>
              <a:gd name="T55" fmla="*/ 47357010 h 288565"/>
              <a:gd name="T56" fmla="*/ 44303012 w 288565"/>
              <a:gd name="T57" fmla="*/ 0 h 288565"/>
              <a:gd name="T58" fmla="*/ 79402078 w 288565"/>
              <a:gd name="T59" fmla="*/ 28103717 h 288565"/>
              <a:gd name="T60" fmla="*/ 46175228 w 288565"/>
              <a:gd name="T61" fmla="*/ 9470595 h 288565"/>
              <a:gd name="T62" fmla="*/ 42431195 w 288565"/>
              <a:gd name="T63" fmla="*/ 13197165 h 288565"/>
              <a:gd name="T64" fmla="*/ 13103777 w 288565"/>
              <a:gd name="T65" fmla="*/ 42233195 h 288565"/>
              <a:gd name="T66" fmla="*/ 9516619 w 288565"/>
              <a:gd name="T67" fmla="*/ 45959116 h 288565"/>
              <a:gd name="T68" fmla="*/ 27298848 w 288565"/>
              <a:gd name="T69" fmla="*/ 53567658 h 288565"/>
              <a:gd name="T70" fmla="*/ 35566931 w 288565"/>
              <a:gd name="T71" fmla="*/ 47666972 h 288565"/>
              <a:gd name="T72" fmla="*/ 58498606 w 288565"/>
              <a:gd name="T73" fmla="*/ 34624555 h 288565"/>
              <a:gd name="T74" fmla="*/ 34630948 w 288565"/>
              <a:gd name="T75" fmla="*/ 54964819 h 288565"/>
              <a:gd name="T76" fmla="*/ 40870936 w 288565"/>
              <a:gd name="T77" fmla="*/ 63504527 h 288565"/>
              <a:gd name="T78" fmla="*/ 28391035 w 288565"/>
              <a:gd name="T79" fmla="*/ 57138811 h 288565"/>
              <a:gd name="T80" fmla="*/ 17939566 w 288565"/>
              <a:gd name="T81" fmla="*/ 66764779 h 288565"/>
              <a:gd name="T82" fmla="*/ 29015049 w 288565"/>
              <a:gd name="T83" fmla="*/ 79341912 h 288565"/>
              <a:gd name="T84" fmla="*/ 1870721 w 288565"/>
              <a:gd name="T85" fmla="*/ 45959116 h 288565"/>
              <a:gd name="T86" fmla="*/ 5772603 w 288565"/>
              <a:gd name="T87" fmla="*/ 42233195 h 288565"/>
              <a:gd name="T88" fmla="*/ 44303012 w 288565"/>
              <a:gd name="T89" fmla="*/ 0 h 2885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8565" h="288565">
                <a:moveTo>
                  <a:pt x="216584" y="214784"/>
                </a:moveTo>
                <a:cubicBezTo>
                  <a:pt x="212984" y="224862"/>
                  <a:pt x="201107" y="232420"/>
                  <a:pt x="185991" y="232420"/>
                </a:cubicBezTo>
                <a:cubicBezTo>
                  <a:pt x="171595" y="232420"/>
                  <a:pt x="159358" y="224862"/>
                  <a:pt x="156119" y="215144"/>
                </a:cubicBezTo>
                <a:cubicBezTo>
                  <a:pt x="153959" y="215504"/>
                  <a:pt x="151800" y="216224"/>
                  <a:pt x="149640" y="216584"/>
                </a:cubicBezTo>
                <a:cubicBezTo>
                  <a:pt x="144242" y="218023"/>
                  <a:pt x="139563" y="220183"/>
                  <a:pt x="134884" y="222342"/>
                </a:cubicBezTo>
                <a:cubicBezTo>
                  <a:pt x="129126" y="224862"/>
                  <a:pt x="125167" y="230620"/>
                  <a:pt x="125167" y="236379"/>
                </a:cubicBezTo>
                <a:lnTo>
                  <a:pt x="125167" y="238538"/>
                </a:lnTo>
                <a:cubicBezTo>
                  <a:pt x="139203" y="254734"/>
                  <a:pt x="159358" y="265171"/>
                  <a:pt x="182032" y="266611"/>
                </a:cubicBezTo>
                <a:lnTo>
                  <a:pt x="182032" y="257973"/>
                </a:lnTo>
                <a:cubicBezTo>
                  <a:pt x="182032" y="255814"/>
                  <a:pt x="183832" y="253654"/>
                  <a:pt x="185991" y="253654"/>
                </a:cubicBezTo>
                <a:cubicBezTo>
                  <a:pt x="188871" y="253654"/>
                  <a:pt x="190670" y="255814"/>
                  <a:pt x="190670" y="257973"/>
                </a:cubicBezTo>
                <a:lnTo>
                  <a:pt x="190670" y="266611"/>
                </a:lnTo>
                <a:cubicBezTo>
                  <a:pt x="213344" y="265171"/>
                  <a:pt x="233139" y="254734"/>
                  <a:pt x="247176" y="238538"/>
                </a:cubicBezTo>
                <a:lnTo>
                  <a:pt x="247176" y="236379"/>
                </a:lnTo>
                <a:cubicBezTo>
                  <a:pt x="247176" y="230620"/>
                  <a:pt x="243577" y="224862"/>
                  <a:pt x="237458" y="221982"/>
                </a:cubicBezTo>
                <a:cubicBezTo>
                  <a:pt x="233139" y="220183"/>
                  <a:pt x="228460" y="218023"/>
                  <a:pt x="222702" y="216584"/>
                </a:cubicBezTo>
                <a:cubicBezTo>
                  <a:pt x="220902" y="216224"/>
                  <a:pt x="218743" y="215504"/>
                  <a:pt x="216584" y="214784"/>
                </a:cubicBezTo>
                <a:close/>
                <a:moveTo>
                  <a:pt x="173754" y="199668"/>
                </a:moveTo>
                <a:cubicBezTo>
                  <a:pt x="171955" y="204347"/>
                  <a:pt x="168716" y="208666"/>
                  <a:pt x="164037" y="211545"/>
                </a:cubicBezTo>
                <a:cubicBezTo>
                  <a:pt x="165836" y="217663"/>
                  <a:pt x="174474" y="223422"/>
                  <a:pt x="185991" y="223422"/>
                </a:cubicBezTo>
                <a:cubicBezTo>
                  <a:pt x="198228" y="223422"/>
                  <a:pt x="206866" y="217663"/>
                  <a:pt x="208666" y="211545"/>
                </a:cubicBezTo>
                <a:cubicBezTo>
                  <a:pt x="203987" y="208666"/>
                  <a:pt x="200388" y="204347"/>
                  <a:pt x="198948" y="199668"/>
                </a:cubicBezTo>
                <a:cubicBezTo>
                  <a:pt x="194989" y="201467"/>
                  <a:pt x="190670" y="202547"/>
                  <a:pt x="185991" y="202547"/>
                </a:cubicBezTo>
                <a:cubicBezTo>
                  <a:pt x="181672" y="202547"/>
                  <a:pt x="177713" y="201467"/>
                  <a:pt x="173754" y="199668"/>
                </a:cubicBezTo>
                <a:close/>
                <a:moveTo>
                  <a:pt x="185991" y="138843"/>
                </a:moveTo>
                <a:cubicBezTo>
                  <a:pt x="171595" y="138843"/>
                  <a:pt x="162237" y="148921"/>
                  <a:pt x="162237" y="164037"/>
                </a:cubicBezTo>
                <a:cubicBezTo>
                  <a:pt x="162237" y="180593"/>
                  <a:pt x="173035" y="193909"/>
                  <a:pt x="185991" y="193909"/>
                </a:cubicBezTo>
                <a:cubicBezTo>
                  <a:pt x="199668" y="193909"/>
                  <a:pt x="210465" y="180593"/>
                  <a:pt x="210465" y="164037"/>
                </a:cubicBezTo>
                <a:cubicBezTo>
                  <a:pt x="210465" y="148921"/>
                  <a:pt x="200748" y="138843"/>
                  <a:pt x="185991" y="138843"/>
                </a:cubicBezTo>
                <a:close/>
                <a:moveTo>
                  <a:pt x="182032" y="106092"/>
                </a:moveTo>
                <a:cubicBezTo>
                  <a:pt x="141003" y="108251"/>
                  <a:pt x="108251" y="141003"/>
                  <a:pt x="106092" y="181672"/>
                </a:cubicBezTo>
                <a:lnTo>
                  <a:pt x="114369" y="181672"/>
                </a:lnTo>
                <a:cubicBezTo>
                  <a:pt x="116889" y="181672"/>
                  <a:pt x="118688" y="183832"/>
                  <a:pt x="118688" y="186351"/>
                </a:cubicBezTo>
                <a:cubicBezTo>
                  <a:pt x="118688" y="188871"/>
                  <a:pt x="116889" y="190670"/>
                  <a:pt x="114369" y="190670"/>
                </a:cubicBezTo>
                <a:lnTo>
                  <a:pt x="106092" y="190670"/>
                </a:lnTo>
                <a:cubicBezTo>
                  <a:pt x="106811" y="204347"/>
                  <a:pt x="111130" y="217303"/>
                  <a:pt x="117969" y="228461"/>
                </a:cubicBezTo>
                <a:cubicBezTo>
                  <a:pt x="120128" y="222342"/>
                  <a:pt x="124807" y="216944"/>
                  <a:pt x="131285" y="214064"/>
                </a:cubicBezTo>
                <a:cubicBezTo>
                  <a:pt x="135964" y="211905"/>
                  <a:pt x="141363" y="209745"/>
                  <a:pt x="147121" y="208306"/>
                </a:cubicBezTo>
                <a:cubicBezTo>
                  <a:pt x="149281" y="207586"/>
                  <a:pt x="151800" y="206866"/>
                  <a:pt x="154319" y="206146"/>
                </a:cubicBezTo>
                <a:cubicBezTo>
                  <a:pt x="160078" y="205067"/>
                  <a:pt x="164757" y="200388"/>
                  <a:pt x="165836" y="194989"/>
                </a:cubicBezTo>
                <a:cubicBezTo>
                  <a:pt x="166196" y="194989"/>
                  <a:pt x="166196" y="194629"/>
                  <a:pt x="166196" y="194269"/>
                </a:cubicBezTo>
                <a:cubicBezTo>
                  <a:pt x="158638" y="187431"/>
                  <a:pt x="153599" y="176274"/>
                  <a:pt x="153599" y="164037"/>
                </a:cubicBezTo>
                <a:cubicBezTo>
                  <a:pt x="153599" y="144242"/>
                  <a:pt x="166916" y="130206"/>
                  <a:pt x="185991" y="130206"/>
                </a:cubicBezTo>
                <a:cubicBezTo>
                  <a:pt x="205426" y="130206"/>
                  <a:pt x="218743" y="144242"/>
                  <a:pt x="218743" y="164037"/>
                </a:cubicBezTo>
                <a:cubicBezTo>
                  <a:pt x="218743" y="176274"/>
                  <a:pt x="214064" y="187431"/>
                  <a:pt x="206506" y="194269"/>
                </a:cubicBezTo>
                <a:cubicBezTo>
                  <a:pt x="206506" y="194629"/>
                  <a:pt x="206506" y="194629"/>
                  <a:pt x="206506" y="194629"/>
                </a:cubicBezTo>
                <a:cubicBezTo>
                  <a:pt x="207586" y="200388"/>
                  <a:pt x="212265" y="204707"/>
                  <a:pt x="218383" y="206146"/>
                </a:cubicBezTo>
                <a:cubicBezTo>
                  <a:pt x="220542" y="206866"/>
                  <a:pt x="223062" y="207586"/>
                  <a:pt x="225221" y="208306"/>
                </a:cubicBezTo>
                <a:cubicBezTo>
                  <a:pt x="231340" y="209745"/>
                  <a:pt x="236378" y="211905"/>
                  <a:pt x="241057" y="214064"/>
                </a:cubicBezTo>
                <a:cubicBezTo>
                  <a:pt x="247536" y="216944"/>
                  <a:pt x="252214" y="222342"/>
                  <a:pt x="254374" y="228461"/>
                </a:cubicBezTo>
                <a:cubicBezTo>
                  <a:pt x="261572" y="217303"/>
                  <a:pt x="265531" y="204347"/>
                  <a:pt x="266611" y="190670"/>
                </a:cubicBezTo>
                <a:lnTo>
                  <a:pt x="257973" y="190670"/>
                </a:lnTo>
                <a:cubicBezTo>
                  <a:pt x="255814" y="190670"/>
                  <a:pt x="253654" y="188871"/>
                  <a:pt x="253654" y="186351"/>
                </a:cubicBezTo>
                <a:cubicBezTo>
                  <a:pt x="253654" y="183832"/>
                  <a:pt x="255814" y="181672"/>
                  <a:pt x="257973" y="181672"/>
                </a:cubicBezTo>
                <a:lnTo>
                  <a:pt x="266611" y="181672"/>
                </a:lnTo>
                <a:cubicBezTo>
                  <a:pt x="264091" y="141003"/>
                  <a:pt x="231340" y="108251"/>
                  <a:pt x="190670" y="106092"/>
                </a:cubicBezTo>
                <a:lnTo>
                  <a:pt x="190670" y="114370"/>
                </a:lnTo>
                <a:cubicBezTo>
                  <a:pt x="190670" y="116889"/>
                  <a:pt x="188871" y="118688"/>
                  <a:pt x="185991" y="118688"/>
                </a:cubicBezTo>
                <a:cubicBezTo>
                  <a:pt x="183832" y="118688"/>
                  <a:pt x="182032" y="116889"/>
                  <a:pt x="182032" y="114370"/>
                </a:cubicBezTo>
                <a:lnTo>
                  <a:pt x="182032" y="106092"/>
                </a:lnTo>
                <a:close/>
                <a:moveTo>
                  <a:pt x="185991" y="84137"/>
                </a:moveTo>
                <a:cubicBezTo>
                  <a:pt x="188871" y="84137"/>
                  <a:pt x="190670" y="85937"/>
                  <a:pt x="190670" y="88456"/>
                </a:cubicBezTo>
                <a:lnTo>
                  <a:pt x="190670" y="97094"/>
                </a:lnTo>
                <a:cubicBezTo>
                  <a:pt x="236378" y="99613"/>
                  <a:pt x="273089" y="136324"/>
                  <a:pt x="275249" y="181672"/>
                </a:cubicBezTo>
                <a:lnTo>
                  <a:pt x="284246" y="181672"/>
                </a:lnTo>
                <a:cubicBezTo>
                  <a:pt x="286766" y="181672"/>
                  <a:pt x="288565" y="183832"/>
                  <a:pt x="288565" y="186351"/>
                </a:cubicBezTo>
                <a:cubicBezTo>
                  <a:pt x="288565" y="188871"/>
                  <a:pt x="286766" y="190670"/>
                  <a:pt x="284246" y="190670"/>
                </a:cubicBezTo>
                <a:lnTo>
                  <a:pt x="275249" y="190670"/>
                </a:lnTo>
                <a:cubicBezTo>
                  <a:pt x="273089" y="236379"/>
                  <a:pt x="236378" y="273089"/>
                  <a:pt x="190670" y="275249"/>
                </a:cubicBezTo>
                <a:lnTo>
                  <a:pt x="190670" y="284246"/>
                </a:lnTo>
                <a:cubicBezTo>
                  <a:pt x="190670" y="286766"/>
                  <a:pt x="188871" y="288565"/>
                  <a:pt x="185991" y="288565"/>
                </a:cubicBezTo>
                <a:cubicBezTo>
                  <a:pt x="183832" y="288565"/>
                  <a:pt x="182032" y="286766"/>
                  <a:pt x="182032" y="284246"/>
                </a:cubicBezTo>
                <a:lnTo>
                  <a:pt x="182032" y="275249"/>
                </a:lnTo>
                <a:cubicBezTo>
                  <a:pt x="135964" y="273089"/>
                  <a:pt x="99613" y="236379"/>
                  <a:pt x="97094" y="190670"/>
                </a:cubicBezTo>
                <a:lnTo>
                  <a:pt x="88456" y="190670"/>
                </a:lnTo>
                <a:cubicBezTo>
                  <a:pt x="85937" y="190670"/>
                  <a:pt x="84137" y="188871"/>
                  <a:pt x="84137" y="186351"/>
                </a:cubicBezTo>
                <a:cubicBezTo>
                  <a:pt x="84137" y="183832"/>
                  <a:pt x="85937" y="181672"/>
                  <a:pt x="88456" y="181672"/>
                </a:cubicBezTo>
                <a:lnTo>
                  <a:pt x="97094" y="181672"/>
                </a:lnTo>
                <a:cubicBezTo>
                  <a:pt x="99613" y="136324"/>
                  <a:pt x="135964" y="99613"/>
                  <a:pt x="182032" y="97094"/>
                </a:cubicBezTo>
                <a:lnTo>
                  <a:pt x="182032" y="88456"/>
                </a:lnTo>
                <a:cubicBezTo>
                  <a:pt x="182032" y="85937"/>
                  <a:pt x="183832" y="84137"/>
                  <a:pt x="185991" y="84137"/>
                </a:cubicBezTo>
                <a:close/>
                <a:moveTo>
                  <a:pt x="102625" y="55029"/>
                </a:moveTo>
                <a:cubicBezTo>
                  <a:pt x="87810" y="55029"/>
                  <a:pt x="78776" y="64740"/>
                  <a:pt x="78776" y="80206"/>
                </a:cubicBezTo>
                <a:cubicBezTo>
                  <a:pt x="78776" y="96391"/>
                  <a:pt x="89616" y="109699"/>
                  <a:pt x="102625" y="109699"/>
                </a:cubicBezTo>
                <a:cubicBezTo>
                  <a:pt x="115634" y="109699"/>
                  <a:pt x="126475" y="96391"/>
                  <a:pt x="126475" y="80206"/>
                </a:cubicBezTo>
                <a:cubicBezTo>
                  <a:pt x="126475" y="64740"/>
                  <a:pt x="117441" y="55029"/>
                  <a:pt x="102625" y="55029"/>
                </a:cubicBezTo>
                <a:close/>
                <a:moveTo>
                  <a:pt x="102625" y="0"/>
                </a:moveTo>
                <a:cubicBezTo>
                  <a:pt x="105155" y="0"/>
                  <a:pt x="106962" y="1798"/>
                  <a:pt x="106962" y="4316"/>
                </a:cubicBezTo>
                <a:lnTo>
                  <a:pt x="106962" y="12948"/>
                </a:lnTo>
                <a:cubicBezTo>
                  <a:pt x="140206" y="14746"/>
                  <a:pt x="170199" y="34888"/>
                  <a:pt x="183930" y="65100"/>
                </a:cubicBezTo>
                <a:cubicBezTo>
                  <a:pt x="185376" y="67258"/>
                  <a:pt x="184292" y="70135"/>
                  <a:pt x="182124" y="71214"/>
                </a:cubicBezTo>
                <a:cubicBezTo>
                  <a:pt x="179955" y="71933"/>
                  <a:pt x="177065" y="71214"/>
                  <a:pt x="176342" y="68696"/>
                </a:cubicBezTo>
                <a:cubicBezTo>
                  <a:pt x="163694" y="41721"/>
                  <a:pt x="136593" y="23738"/>
                  <a:pt x="106962" y="21939"/>
                </a:cubicBezTo>
                <a:lnTo>
                  <a:pt x="106962" y="30572"/>
                </a:lnTo>
                <a:cubicBezTo>
                  <a:pt x="106962" y="33089"/>
                  <a:pt x="105155" y="34888"/>
                  <a:pt x="102625" y="34888"/>
                </a:cubicBezTo>
                <a:cubicBezTo>
                  <a:pt x="100096" y="34888"/>
                  <a:pt x="98289" y="33089"/>
                  <a:pt x="98289" y="30572"/>
                </a:cubicBezTo>
                <a:lnTo>
                  <a:pt x="98289" y="21939"/>
                </a:lnTo>
                <a:cubicBezTo>
                  <a:pt x="57094" y="24098"/>
                  <a:pt x="24211" y="56827"/>
                  <a:pt x="22043" y="97830"/>
                </a:cubicBezTo>
                <a:lnTo>
                  <a:pt x="30354" y="97830"/>
                </a:lnTo>
                <a:cubicBezTo>
                  <a:pt x="32883" y="97830"/>
                  <a:pt x="35051" y="99628"/>
                  <a:pt x="35051" y="102146"/>
                </a:cubicBezTo>
                <a:cubicBezTo>
                  <a:pt x="35051" y="104664"/>
                  <a:pt x="32883" y="106462"/>
                  <a:pt x="30354" y="106462"/>
                </a:cubicBezTo>
                <a:lnTo>
                  <a:pt x="22043" y="106462"/>
                </a:lnTo>
                <a:cubicBezTo>
                  <a:pt x="22765" y="120129"/>
                  <a:pt x="27102" y="133437"/>
                  <a:pt x="33967" y="144587"/>
                </a:cubicBezTo>
                <a:cubicBezTo>
                  <a:pt x="36136" y="138472"/>
                  <a:pt x="40833" y="133077"/>
                  <a:pt x="47338" y="130200"/>
                </a:cubicBezTo>
                <a:cubicBezTo>
                  <a:pt x="52035" y="127682"/>
                  <a:pt x="57817" y="125884"/>
                  <a:pt x="63237" y="124086"/>
                </a:cubicBezTo>
                <a:cubicBezTo>
                  <a:pt x="65767" y="123366"/>
                  <a:pt x="67935" y="122647"/>
                  <a:pt x="70464" y="121928"/>
                </a:cubicBezTo>
                <a:cubicBezTo>
                  <a:pt x="76607" y="120489"/>
                  <a:pt x="81305" y="116533"/>
                  <a:pt x="82389" y="111138"/>
                </a:cubicBezTo>
                <a:cubicBezTo>
                  <a:pt x="82389" y="110778"/>
                  <a:pt x="82389" y="110418"/>
                  <a:pt x="82389" y="110418"/>
                </a:cubicBezTo>
                <a:cubicBezTo>
                  <a:pt x="74801" y="103225"/>
                  <a:pt x="69742" y="92435"/>
                  <a:pt x="69742" y="80206"/>
                </a:cubicBezTo>
                <a:cubicBezTo>
                  <a:pt x="69742" y="60064"/>
                  <a:pt x="83473" y="46037"/>
                  <a:pt x="102625" y="46037"/>
                </a:cubicBezTo>
                <a:cubicBezTo>
                  <a:pt x="121777" y="46037"/>
                  <a:pt x="135509" y="60064"/>
                  <a:pt x="135509" y="80206"/>
                </a:cubicBezTo>
                <a:cubicBezTo>
                  <a:pt x="135509" y="101067"/>
                  <a:pt x="120693" y="118331"/>
                  <a:pt x="102625" y="118331"/>
                </a:cubicBezTo>
                <a:cubicBezTo>
                  <a:pt x="98289" y="118331"/>
                  <a:pt x="93953" y="117612"/>
                  <a:pt x="89978" y="115454"/>
                </a:cubicBezTo>
                <a:cubicBezTo>
                  <a:pt x="88532" y="120489"/>
                  <a:pt x="84919" y="124805"/>
                  <a:pt x="80221" y="127323"/>
                </a:cubicBezTo>
                <a:cubicBezTo>
                  <a:pt x="81666" y="132358"/>
                  <a:pt x="87448" y="137034"/>
                  <a:pt x="95398" y="138472"/>
                </a:cubicBezTo>
                <a:cubicBezTo>
                  <a:pt x="97928" y="139192"/>
                  <a:pt x="99373" y="141350"/>
                  <a:pt x="98650" y="143867"/>
                </a:cubicBezTo>
                <a:cubicBezTo>
                  <a:pt x="98289" y="146025"/>
                  <a:pt x="96482" y="147104"/>
                  <a:pt x="94675" y="147104"/>
                </a:cubicBezTo>
                <a:cubicBezTo>
                  <a:pt x="94314" y="147104"/>
                  <a:pt x="93953" y="147104"/>
                  <a:pt x="93591" y="147104"/>
                </a:cubicBezTo>
                <a:cubicBezTo>
                  <a:pt x="82750" y="144587"/>
                  <a:pt x="74801" y="138472"/>
                  <a:pt x="72271" y="130560"/>
                </a:cubicBezTo>
                <a:cubicBezTo>
                  <a:pt x="70103" y="131279"/>
                  <a:pt x="67935" y="131998"/>
                  <a:pt x="65767" y="132358"/>
                </a:cubicBezTo>
                <a:cubicBezTo>
                  <a:pt x="60346" y="134156"/>
                  <a:pt x="55649" y="135955"/>
                  <a:pt x="51312" y="137753"/>
                </a:cubicBezTo>
                <a:cubicBezTo>
                  <a:pt x="45169" y="140990"/>
                  <a:pt x="41556" y="146025"/>
                  <a:pt x="41556" y="152140"/>
                </a:cubicBezTo>
                <a:lnTo>
                  <a:pt x="41556" y="154657"/>
                </a:lnTo>
                <a:cubicBezTo>
                  <a:pt x="48783" y="163289"/>
                  <a:pt x="58178" y="170483"/>
                  <a:pt x="69380" y="175518"/>
                </a:cubicBezTo>
                <a:cubicBezTo>
                  <a:pt x="71548" y="176238"/>
                  <a:pt x="72632" y="179115"/>
                  <a:pt x="71548" y="181273"/>
                </a:cubicBezTo>
                <a:cubicBezTo>
                  <a:pt x="70464" y="182712"/>
                  <a:pt x="69019" y="183791"/>
                  <a:pt x="67212" y="183791"/>
                </a:cubicBezTo>
                <a:cubicBezTo>
                  <a:pt x="66851" y="183791"/>
                  <a:pt x="66128" y="183431"/>
                  <a:pt x="65405" y="183431"/>
                </a:cubicBezTo>
                <a:cubicBezTo>
                  <a:pt x="35051" y="169764"/>
                  <a:pt x="14816" y="139551"/>
                  <a:pt x="13370" y="106462"/>
                </a:cubicBezTo>
                <a:lnTo>
                  <a:pt x="4336" y="106462"/>
                </a:lnTo>
                <a:cubicBezTo>
                  <a:pt x="1807" y="106462"/>
                  <a:pt x="0" y="104664"/>
                  <a:pt x="0" y="102146"/>
                </a:cubicBezTo>
                <a:cubicBezTo>
                  <a:pt x="0" y="99628"/>
                  <a:pt x="1807" y="97830"/>
                  <a:pt x="4336" y="97830"/>
                </a:cubicBezTo>
                <a:lnTo>
                  <a:pt x="13370" y="97830"/>
                </a:lnTo>
                <a:cubicBezTo>
                  <a:pt x="15538" y="52152"/>
                  <a:pt x="52397" y="15465"/>
                  <a:pt x="98289" y="13307"/>
                </a:cubicBezTo>
                <a:lnTo>
                  <a:pt x="98289" y="4316"/>
                </a:lnTo>
                <a:cubicBezTo>
                  <a:pt x="98289" y="1798"/>
                  <a:pt x="100096" y="0"/>
                  <a:pt x="102625" y="0"/>
                </a:cubicBezTo>
                <a:close/>
              </a:path>
            </a:pathLst>
          </a:custGeom>
          <a:solidFill>
            <a:schemeClr val="bg1"/>
          </a:solidFill>
          <a:ln>
            <a:noFill/>
          </a:ln>
          <a:effectLst/>
        </p:spPr>
        <p:txBody>
          <a:bodyPr anchor="ctr"/>
          <a:lstStyle/>
          <a:p>
            <a:endParaRPr lang="en-US" sz="900"/>
          </a:p>
        </p:txBody>
      </p:sp>
      <p:sp>
        <p:nvSpPr>
          <p:cNvPr id="32" name="Freeform 1015">
            <a:extLst>
              <a:ext uri="{FF2B5EF4-FFF2-40B4-BE49-F238E27FC236}">
                <a16:creationId xmlns:a16="http://schemas.microsoft.com/office/drawing/2014/main" id="{63A0B8CF-1D37-37C4-AF92-17C2D1B0C830}"/>
              </a:ext>
            </a:extLst>
          </p:cNvPr>
          <p:cNvSpPr>
            <a:spLocks noChangeAspect="1" noChangeArrowheads="1"/>
          </p:cNvSpPr>
          <p:nvPr userDrawn="1"/>
        </p:nvSpPr>
        <p:spPr bwMode="auto">
          <a:xfrm>
            <a:off x="10489429" y="2205205"/>
            <a:ext cx="307827" cy="307827"/>
          </a:xfrm>
          <a:custGeom>
            <a:avLst/>
            <a:gdLst>
              <a:gd name="T0" fmla="*/ 92894350 w 293329"/>
              <a:gd name="T1" fmla="*/ 118433575 h 293332"/>
              <a:gd name="T2" fmla="*/ 35298861 w 293329"/>
              <a:gd name="T3" fmla="*/ 116334538 h 293332"/>
              <a:gd name="T4" fmla="*/ 103802883 w 293329"/>
              <a:gd name="T5" fmla="*/ 106852417 h 293332"/>
              <a:gd name="T6" fmla="*/ 102233054 w 293329"/>
              <a:gd name="T7" fmla="*/ 124229474 h 293332"/>
              <a:gd name="T8" fmla="*/ 122478131 w 293329"/>
              <a:gd name="T9" fmla="*/ 109490450 h 293332"/>
              <a:gd name="T10" fmla="*/ 128127419 w 293329"/>
              <a:gd name="T11" fmla="*/ 114299877 h 293332"/>
              <a:gd name="T12" fmla="*/ 100350671 w 293329"/>
              <a:gd name="T13" fmla="*/ 128107914 h 293332"/>
              <a:gd name="T14" fmla="*/ 100978028 w 293329"/>
              <a:gd name="T15" fmla="*/ 107008291 h 293332"/>
              <a:gd name="T16" fmla="*/ 5491820 w 293329"/>
              <a:gd name="T17" fmla="*/ 109490450 h 293332"/>
              <a:gd name="T18" fmla="*/ 25894837 w 293329"/>
              <a:gd name="T19" fmla="*/ 124229474 h 293332"/>
              <a:gd name="T20" fmla="*/ 24324031 w 293329"/>
              <a:gd name="T21" fmla="*/ 106852417 h 293332"/>
              <a:gd name="T22" fmla="*/ 29660244 w 293329"/>
              <a:gd name="T23" fmla="*/ 126246529 h 293332"/>
              <a:gd name="T24" fmla="*/ 0 w 293329"/>
              <a:gd name="T25" fmla="*/ 126246529 h 293332"/>
              <a:gd name="T26" fmla="*/ 5335544 w 293329"/>
              <a:gd name="T27" fmla="*/ 106852417 h 293332"/>
              <a:gd name="T28" fmla="*/ 112874612 w 293329"/>
              <a:gd name="T29" fmla="*/ 103457917 h 293332"/>
              <a:gd name="T30" fmla="*/ 14407902 w 293329"/>
              <a:gd name="T31" fmla="*/ 94675905 h 293332"/>
              <a:gd name="T32" fmla="*/ 18876886 w 293329"/>
              <a:gd name="T33" fmla="*/ 98989521 h 293332"/>
              <a:gd name="T34" fmla="*/ 121195977 w 293329"/>
              <a:gd name="T35" fmla="*/ 98989521 h 293332"/>
              <a:gd name="T36" fmla="*/ 112874612 w 293329"/>
              <a:gd name="T37" fmla="*/ 90824297 h 293332"/>
              <a:gd name="T38" fmla="*/ 14407902 w 293329"/>
              <a:gd name="T39" fmla="*/ 107309241 h 293332"/>
              <a:gd name="T40" fmla="*/ 61680683 w 293329"/>
              <a:gd name="T41" fmla="*/ 80424522 h 293332"/>
              <a:gd name="T42" fmla="*/ 79779208 w 293329"/>
              <a:gd name="T43" fmla="*/ 84424761 h 293332"/>
              <a:gd name="T44" fmla="*/ 61680683 w 293329"/>
              <a:gd name="T45" fmla="*/ 80424522 h 293332"/>
              <a:gd name="T46" fmla="*/ 81667314 w 293329"/>
              <a:gd name="T47" fmla="*/ 69171412 h 293332"/>
              <a:gd name="T48" fmla="*/ 59634523 w 293329"/>
              <a:gd name="T49" fmla="*/ 69171412 h 293332"/>
              <a:gd name="T50" fmla="*/ 52829407 w 293329"/>
              <a:gd name="T51" fmla="*/ 101294408 h 293332"/>
              <a:gd name="T52" fmla="*/ 52829407 w 293329"/>
              <a:gd name="T53" fmla="*/ 53319210 h 293332"/>
              <a:gd name="T54" fmla="*/ 45709624 w 293329"/>
              <a:gd name="T55" fmla="*/ 101294408 h 293332"/>
              <a:gd name="T56" fmla="*/ 45709624 w 293329"/>
              <a:gd name="T57" fmla="*/ 53319210 h 293332"/>
              <a:gd name="T58" fmla="*/ 122310456 w 293329"/>
              <a:gd name="T59" fmla="*/ 43861374 h 293332"/>
              <a:gd name="T60" fmla="*/ 118789962 w 293329"/>
              <a:gd name="T61" fmla="*/ 88430527 h 293332"/>
              <a:gd name="T62" fmla="*/ 119750064 w 293329"/>
              <a:gd name="T63" fmla="*/ 42605218 h 293332"/>
              <a:gd name="T64" fmla="*/ 10610067 w 293329"/>
              <a:gd name="T65" fmla="*/ 84675299 h 293332"/>
              <a:gd name="T66" fmla="*/ 6887197 w 293329"/>
              <a:gd name="T67" fmla="*/ 86095637 h 293332"/>
              <a:gd name="T68" fmla="*/ 45709624 w 293329"/>
              <a:gd name="T69" fmla="*/ 37747513 h 293332"/>
              <a:gd name="T70" fmla="*/ 84157075 w 293329"/>
              <a:gd name="T71" fmla="*/ 49544269 h 293332"/>
              <a:gd name="T72" fmla="*/ 45709624 w 293329"/>
              <a:gd name="T73" fmla="*/ 33971757 h 293332"/>
              <a:gd name="T74" fmla="*/ 90010986 w 293329"/>
              <a:gd name="T75" fmla="*/ 37747513 h 293332"/>
              <a:gd name="T76" fmla="*/ 90010986 w 293329"/>
              <a:gd name="T77" fmla="*/ 49544269 h 293332"/>
              <a:gd name="T78" fmla="*/ 90010986 w 293329"/>
              <a:gd name="T79" fmla="*/ 105226700 h 293332"/>
              <a:gd name="T80" fmla="*/ 36058154 w 293329"/>
              <a:gd name="T81" fmla="*/ 43567238 h 293332"/>
              <a:gd name="T82" fmla="*/ 103959598 w 293329"/>
              <a:gd name="T83" fmla="*/ 18690306 h 293332"/>
              <a:gd name="T84" fmla="*/ 124204060 w 293329"/>
              <a:gd name="T85" fmla="*/ 33532597 h 293332"/>
              <a:gd name="T86" fmla="*/ 122791511 w 293329"/>
              <a:gd name="T87" fmla="*/ 16033920 h 293332"/>
              <a:gd name="T88" fmla="*/ 128127419 w 293329"/>
              <a:gd name="T89" fmla="*/ 35407376 h 293332"/>
              <a:gd name="T90" fmla="*/ 98466986 w 293329"/>
              <a:gd name="T91" fmla="*/ 35407376 h 293332"/>
              <a:gd name="T92" fmla="*/ 103802883 w 293329"/>
              <a:gd name="T93" fmla="*/ 16033920 h 293332"/>
              <a:gd name="T94" fmla="*/ 3767028 w 293329"/>
              <a:gd name="T95" fmla="*/ 23532915 h 293332"/>
              <a:gd name="T96" fmla="*/ 25894837 w 293329"/>
              <a:gd name="T97" fmla="*/ 23532915 h 293332"/>
              <a:gd name="T98" fmla="*/ 26993363 w 293329"/>
              <a:gd name="T99" fmla="*/ 16190190 h 293332"/>
              <a:gd name="T100" fmla="*/ 27777184 w 293329"/>
              <a:gd name="T101" fmla="*/ 37282705 h 293332"/>
              <a:gd name="T102" fmla="*/ 0 w 293329"/>
              <a:gd name="T103" fmla="*/ 23532915 h 293332"/>
              <a:gd name="T104" fmla="*/ 112874612 w 293329"/>
              <a:gd name="T105" fmla="*/ 3696763 h 293332"/>
              <a:gd name="T106" fmla="*/ 117343831 w 293329"/>
              <a:gd name="T107" fmla="*/ 8166289 h 293332"/>
              <a:gd name="T108" fmla="*/ 9939250 w 293329"/>
              <a:gd name="T109" fmla="*/ 8166289 h 293332"/>
              <a:gd name="T110" fmla="*/ 14407902 w 293329"/>
              <a:gd name="T111" fmla="*/ 3696763 h 293332"/>
              <a:gd name="T112" fmla="*/ 96452400 w 293329"/>
              <a:gd name="T113" fmla="*/ 14524121 h 293332"/>
              <a:gd name="T114" fmla="*/ 32709116 w 293329"/>
              <a:gd name="T115" fmla="*/ 15472233 h 293332"/>
              <a:gd name="T116" fmla="*/ 63638755 w 293329"/>
              <a:gd name="T117" fmla="*/ 2959750 h 293332"/>
              <a:gd name="T118" fmla="*/ 112874612 w 293329"/>
              <a:gd name="T119" fmla="*/ 16485959 h 293332"/>
              <a:gd name="T120" fmla="*/ 14407902 w 293329"/>
              <a:gd name="T121" fmla="*/ 0 h 293332"/>
              <a:gd name="T122" fmla="*/ 6241744 w 293329"/>
              <a:gd name="T123" fmla="*/ 8166289 h 2933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3329" h="293332">
                <a:moveTo>
                  <a:pt x="208355" y="263416"/>
                </a:moveTo>
                <a:cubicBezTo>
                  <a:pt x="210511" y="261937"/>
                  <a:pt x="213385" y="262677"/>
                  <a:pt x="214822" y="264895"/>
                </a:cubicBezTo>
                <a:cubicBezTo>
                  <a:pt x="215541" y="267483"/>
                  <a:pt x="214822" y="270071"/>
                  <a:pt x="212667" y="271180"/>
                </a:cubicBezTo>
                <a:cubicBezTo>
                  <a:pt x="192188" y="282640"/>
                  <a:pt x="169194" y="288556"/>
                  <a:pt x="146201" y="288556"/>
                </a:cubicBezTo>
                <a:cubicBezTo>
                  <a:pt x="124284" y="288556"/>
                  <a:pt x="102728" y="283010"/>
                  <a:pt x="82608" y="272659"/>
                </a:cubicBezTo>
                <a:cubicBezTo>
                  <a:pt x="80093" y="271549"/>
                  <a:pt x="79375" y="268592"/>
                  <a:pt x="80812" y="266374"/>
                </a:cubicBezTo>
                <a:cubicBezTo>
                  <a:pt x="81530" y="264155"/>
                  <a:pt x="84405" y="263416"/>
                  <a:pt x="86560" y="264525"/>
                </a:cubicBezTo>
                <a:cubicBezTo>
                  <a:pt x="125003" y="284859"/>
                  <a:pt x="170631" y="284119"/>
                  <a:pt x="208355" y="263416"/>
                </a:cubicBezTo>
                <a:close/>
                <a:moveTo>
                  <a:pt x="237641" y="244663"/>
                </a:moveTo>
                <a:cubicBezTo>
                  <a:pt x="239437" y="246084"/>
                  <a:pt x="239796" y="248926"/>
                  <a:pt x="238000" y="250703"/>
                </a:cubicBezTo>
                <a:cubicBezTo>
                  <a:pt x="235485" y="253900"/>
                  <a:pt x="234048" y="257808"/>
                  <a:pt x="234048" y="261715"/>
                </a:cubicBezTo>
                <a:lnTo>
                  <a:pt x="234048" y="284451"/>
                </a:lnTo>
                <a:lnTo>
                  <a:pt x="284347" y="284451"/>
                </a:lnTo>
                <a:lnTo>
                  <a:pt x="284347" y="261715"/>
                </a:lnTo>
                <a:cubicBezTo>
                  <a:pt x="284347" y="257808"/>
                  <a:pt x="283269" y="253900"/>
                  <a:pt x="280395" y="250703"/>
                </a:cubicBezTo>
                <a:cubicBezTo>
                  <a:pt x="278958" y="248926"/>
                  <a:pt x="278958" y="246084"/>
                  <a:pt x="281113" y="244663"/>
                </a:cubicBezTo>
                <a:cubicBezTo>
                  <a:pt x="282910" y="242887"/>
                  <a:pt x="285784" y="243242"/>
                  <a:pt x="287221" y="245019"/>
                </a:cubicBezTo>
                <a:cubicBezTo>
                  <a:pt x="291173" y="249992"/>
                  <a:pt x="293329" y="255676"/>
                  <a:pt x="293329" y="261715"/>
                </a:cubicBezTo>
                <a:lnTo>
                  <a:pt x="293329" y="289069"/>
                </a:lnTo>
                <a:cubicBezTo>
                  <a:pt x="293329" y="291201"/>
                  <a:pt x="291533" y="293332"/>
                  <a:pt x="288658" y="293332"/>
                </a:cubicBezTo>
                <a:lnTo>
                  <a:pt x="229737" y="293332"/>
                </a:lnTo>
                <a:cubicBezTo>
                  <a:pt x="227222" y="293332"/>
                  <a:pt x="225425" y="291201"/>
                  <a:pt x="225425" y="289069"/>
                </a:cubicBezTo>
                <a:lnTo>
                  <a:pt x="225425" y="261715"/>
                </a:lnTo>
                <a:cubicBezTo>
                  <a:pt x="225425" y="255676"/>
                  <a:pt x="227222" y="249992"/>
                  <a:pt x="231174" y="245019"/>
                </a:cubicBezTo>
                <a:cubicBezTo>
                  <a:pt x="232611" y="243242"/>
                  <a:pt x="235844" y="242887"/>
                  <a:pt x="237641" y="244663"/>
                </a:cubicBezTo>
                <a:close/>
                <a:moveTo>
                  <a:pt x="12215" y="244663"/>
                </a:moveTo>
                <a:cubicBezTo>
                  <a:pt x="14012" y="246084"/>
                  <a:pt x="14371" y="248926"/>
                  <a:pt x="12575" y="250703"/>
                </a:cubicBezTo>
                <a:cubicBezTo>
                  <a:pt x="10419" y="253900"/>
                  <a:pt x="8622" y="257808"/>
                  <a:pt x="8622" y="261715"/>
                </a:cubicBezTo>
                <a:lnTo>
                  <a:pt x="8622" y="284451"/>
                </a:lnTo>
                <a:lnTo>
                  <a:pt x="59281" y="284451"/>
                </a:lnTo>
                <a:lnTo>
                  <a:pt x="59281" y="261715"/>
                </a:lnTo>
                <a:cubicBezTo>
                  <a:pt x="59281" y="257808"/>
                  <a:pt x="57844" y="253900"/>
                  <a:pt x="54969" y="250703"/>
                </a:cubicBezTo>
                <a:cubicBezTo>
                  <a:pt x="53532" y="248926"/>
                  <a:pt x="53892" y="246084"/>
                  <a:pt x="55688" y="244663"/>
                </a:cubicBezTo>
                <a:cubicBezTo>
                  <a:pt x="57844" y="242887"/>
                  <a:pt x="60359" y="243242"/>
                  <a:pt x="61796" y="245019"/>
                </a:cubicBezTo>
                <a:cubicBezTo>
                  <a:pt x="65748" y="249992"/>
                  <a:pt x="67903" y="255676"/>
                  <a:pt x="67903" y="261715"/>
                </a:cubicBezTo>
                <a:lnTo>
                  <a:pt x="67903" y="289069"/>
                </a:lnTo>
                <a:cubicBezTo>
                  <a:pt x="67903" y="291201"/>
                  <a:pt x="65748" y="293332"/>
                  <a:pt x="63592" y="293332"/>
                </a:cubicBezTo>
                <a:lnTo>
                  <a:pt x="4311" y="293332"/>
                </a:lnTo>
                <a:cubicBezTo>
                  <a:pt x="1796" y="293332"/>
                  <a:pt x="0" y="291201"/>
                  <a:pt x="0" y="289069"/>
                </a:cubicBezTo>
                <a:lnTo>
                  <a:pt x="0" y="261715"/>
                </a:lnTo>
                <a:cubicBezTo>
                  <a:pt x="0" y="255676"/>
                  <a:pt x="1796" y="249992"/>
                  <a:pt x="6107" y="245019"/>
                </a:cubicBezTo>
                <a:cubicBezTo>
                  <a:pt x="7545" y="243242"/>
                  <a:pt x="10419" y="242887"/>
                  <a:pt x="12215" y="244663"/>
                </a:cubicBezTo>
                <a:close/>
                <a:moveTo>
                  <a:pt x="258410" y="216782"/>
                </a:moveTo>
                <a:cubicBezTo>
                  <a:pt x="252766" y="216782"/>
                  <a:pt x="248180" y="221368"/>
                  <a:pt x="248180" y="226659"/>
                </a:cubicBezTo>
                <a:cubicBezTo>
                  <a:pt x="248180" y="232304"/>
                  <a:pt x="252766" y="236890"/>
                  <a:pt x="258410" y="236890"/>
                </a:cubicBezTo>
                <a:cubicBezTo>
                  <a:pt x="264055" y="236890"/>
                  <a:pt x="268641" y="232304"/>
                  <a:pt x="268641" y="226659"/>
                </a:cubicBezTo>
                <a:cubicBezTo>
                  <a:pt x="268641" y="221368"/>
                  <a:pt x="264055" y="216782"/>
                  <a:pt x="258410" y="216782"/>
                </a:cubicBezTo>
                <a:close/>
                <a:moveTo>
                  <a:pt x="32985" y="216782"/>
                </a:moveTo>
                <a:cubicBezTo>
                  <a:pt x="27341" y="216782"/>
                  <a:pt x="22754" y="221368"/>
                  <a:pt x="22754" y="226659"/>
                </a:cubicBezTo>
                <a:cubicBezTo>
                  <a:pt x="22754" y="232304"/>
                  <a:pt x="27341" y="236890"/>
                  <a:pt x="32985" y="236890"/>
                </a:cubicBezTo>
                <a:cubicBezTo>
                  <a:pt x="38629" y="236890"/>
                  <a:pt x="43216" y="232304"/>
                  <a:pt x="43216" y="226659"/>
                </a:cubicBezTo>
                <a:cubicBezTo>
                  <a:pt x="43216" y="221368"/>
                  <a:pt x="38629" y="216782"/>
                  <a:pt x="32985" y="216782"/>
                </a:cubicBezTo>
                <a:close/>
                <a:moveTo>
                  <a:pt x="258410" y="207962"/>
                </a:moveTo>
                <a:cubicBezTo>
                  <a:pt x="268994" y="207962"/>
                  <a:pt x="277460" y="216429"/>
                  <a:pt x="277460" y="226659"/>
                </a:cubicBezTo>
                <a:cubicBezTo>
                  <a:pt x="277460" y="237243"/>
                  <a:pt x="268994" y="245709"/>
                  <a:pt x="258410" y="245709"/>
                </a:cubicBezTo>
                <a:cubicBezTo>
                  <a:pt x="248180" y="245709"/>
                  <a:pt x="239713" y="237243"/>
                  <a:pt x="239713" y="226659"/>
                </a:cubicBezTo>
                <a:cubicBezTo>
                  <a:pt x="239713" y="216429"/>
                  <a:pt x="248180" y="207962"/>
                  <a:pt x="258410" y="207962"/>
                </a:cubicBezTo>
                <a:close/>
                <a:moveTo>
                  <a:pt x="32985" y="207962"/>
                </a:moveTo>
                <a:cubicBezTo>
                  <a:pt x="43568" y="207962"/>
                  <a:pt x="52035" y="216429"/>
                  <a:pt x="52035" y="226659"/>
                </a:cubicBezTo>
                <a:cubicBezTo>
                  <a:pt x="52035" y="237243"/>
                  <a:pt x="43568" y="245709"/>
                  <a:pt x="32985" y="245709"/>
                </a:cubicBezTo>
                <a:cubicBezTo>
                  <a:pt x="22754" y="245709"/>
                  <a:pt x="14288" y="237243"/>
                  <a:pt x="14288" y="226659"/>
                </a:cubicBezTo>
                <a:cubicBezTo>
                  <a:pt x="14288" y="216429"/>
                  <a:pt x="22754" y="207962"/>
                  <a:pt x="32985" y="207962"/>
                </a:cubicBezTo>
                <a:close/>
                <a:moveTo>
                  <a:pt x="141209" y="184150"/>
                </a:moveTo>
                <a:lnTo>
                  <a:pt x="182642" y="184150"/>
                </a:lnTo>
                <a:cubicBezTo>
                  <a:pt x="185164" y="184150"/>
                  <a:pt x="186965" y="186348"/>
                  <a:pt x="186965" y="188913"/>
                </a:cubicBezTo>
                <a:cubicBezTo>
                  <a:pt x="186965" y="191477"/>
                  <a:pt x="185164" y="193309"/>
                  <a:pt x="182642" y="193309"/>
                </a:cubicBezTo>
                <a:lnTo>
                  <a:pt x="141209" y="193309"/>
                </a:lnTo>
                <a:cubicBezTo>
                  <a:pt x="138687" y="193309"/>
                  <a:pt x="136525" y="191477"/>
                  <a:pt x="136525" y="188913"/>
                </a:cubicBezTo>
                <a:cubicBezTo>
                  <a:pt x="136525" y="186348"/>
                  <a:pt x="138687" y="184150"/>
                  <a:pt x="141209" y="184150"/>
                </a:cubicBezTo>
                <a:close/>
                <a:moveTo>
                  <a:pt x="141209" y="153987"/>
                </a:moveTo>
                <a:lnTo>
                  <a:pt x="182642" y="153987"/>
                </a:lnTo>
                <a:cubicBezTo>
                  <a:pt x="185164" y="153987"/>
                  <a:pt x="186965" y="155818"/>
                  <a:pt x="186965" y="158383"/>
                </a:cubicBezTo>
                <a:cubicBezTo>
                  <a:pt x="186965" y="160947"/>
                  <a:pt x="185164" y="163145"/>
                  <a:pt x="182642" y="163145"/>
                </a:cubicBezTo>
                <a:lnTo>
                  <a:pt x="141209" y="163145"/>
                </a:lnTo>
                <a:cubicBezTo>
                  <a:pt x="138687" y="163145"/>
                  <a:pt x="136525" y="160947"/>
                  <a:pt x="136525" y="158383"/>
                </a:cubicBezTo>
                <a:cubicBezTo>
                  <a:pt x="136525" y="155818"/>
                  <a:pt x="138687" y="153987"/>
                  <a:pt x="141209" y="153987"/>
                </a:cubicBezTo>
                <a:close/>
                <a:moveTo>
                  <a:pt x="120945" y="122087"/>
                </a:moveTo>
                <a:lnTo>
                  <a:pt x="120945" y="231936"/>
                </a:lnTo>
                <a:lnTo>
                  <a:pt x="201721" y="231936"/>
                </a:lnTo>
                <a:lnTo>
                  <a:pt x="201721" y="122087"/>
                </a:lnTo>
                <a:lnTo>
                  <a:pt x="120945" y="122087"/>
                </a:lnTo>
                <a:close/>
                <a:moveTo>
                  <a:pt x="91243" y="117765"/>
                </a:moveTo>
                <a:lnTo>
                  <a:pt x="91243" y="218610"/>
                </a:lnTo>
                <a:cubicBezTo>
                  <a:pt x="91243" y="225813"/>
                  <a:pt x="97401" y="231936"/>
                  <a:pt x="104645" y="231936"/>
                </a:cubicBezTo>
                <a:lnTo>
                  <a:pt x="112252" y="231936"/>
                </a:lnTo>
                <a:lnTo>
                  <a:pt x="112252" y="122087"/>
                </a:lnTo>
                <a:lnTo>
                  <a:pt x="104645" y="122087"/>
                </a:lnTo>
                <a:cubicBezTo>
                  <a:pt x="99574" y="122087"/>
                  <a:pt x="94865" y="120286"/>
                  <a:pt x="91243" y="117765"/>
                </a:cubicBezTo>
                <a:close/>
                <a:moveTo>
                  <a:pt x="274150" y="97555"/>
                </a:moveTo>
                <a:cubicBezTo>
                  <a:pt x="276714" y="96837"/>
                  <a:pt x="279278" y="98274"/>
                  <a:pt x="280011" y="100430"/>
                </a:cubicBezTo>
                <a:cubicBezTo>
                  <a:pt x="291734" y="132770"/>
                  <a:pt x="291001" y="168344"/>
                  <a:pt x="277813" y="199966"/>
                </a:cubicBezTo>
                <a:cubicBezTo>
                  <a:pt x="277080" y="201763"/>
                  <a:pt x="275249" y="202841"/>
                  <a:pt x="273783" y="202841"/>
                </a:cubicBezTo>
                <a:cubicBezTo>
                  <a:pt x="273051" y="202841"/>
                  <a:pt x="272684" y="202841"/>
                  <a:pt x="271952" y="202482"/>
                </a:cubicBezTo>
                <a:cubicBezTo>
                  <a:pt x="269387" y="201404"/>
                  <a:pt x="268288" y="198888"/>
                  <a:pt x="269387" y="196732"/>
                </a:cubicBezTo>
                <a:cubicBezTo>
                  <a:pt x="281843" y="166907"/>
                  <a:pt x="282209" y="133848"/>
                  <a:pt x="271585" y="103305"/>
                </a:cubicBezTo>
                <a:cubicBezTo>
                  <a:pt x="270853" y="101149"/>
                  <a:pt x="271952" y="98633"/>
                  <a:pt x="274150" y="97555"/>
                </a:cubicBezTo>
                <a:close/>
                <a:moveTo>
                  <a:pt x="20584" y="95972"/>
                </a:moveTo>
                <a:cubicBezTo>
                  <a:pt x="22807" y="96695"/>
                  <a:pt x="24289" y="99224"/>
                  <a:pt x="23177" y="101753"/>
                </a:cubicBezTo>
                <a:cubicBezTo>
                  <a:pt x="12435" y="131379"/>
                  <a:pt x="12806" y="164257"/>
                  <a:pt x="24289" y="193883"/>
                </a:cubicBezTo>
                <a:cubicBezTo>
                  <a:pt x="25029" y="196051"/>
                  <a:pt x="23918" y="198580"/>
                  <a:pt x="21696" y="199664"/>
                </a:cubicBezTo>
                <a:cubicBezTo>
                  <a:pt x="20955" y="199664"/>
                  <a:pt x="20584" y="199664"/>
                  <a:pt x="19844" y="199664"/>
                </a:cubicBezTo>
                <a:cubicBezTo>
                  <a:pt x="17991" y="199664"/>
                  <a:pt x="16510" y="198580"/>
                  <a:pt x="15769" y="197135"/>
                </a:cubicBezTo>
                <a:cubicBezTo>
                  <a:pt x="3545" y="165341"/>
                  <a:pt x="3175" y="130656"/>
                  <a:pt x="14658" y="98863"/>
                </a:cubicBezTo>
                <a:cubicBezTo>
                  <a:pt x="15399" y="96334"/>
                  <a:pt x="17991" y="95250"/>
                  <a:pt x="20584" y="95972"/>
                </a:cubicBezTo>
                <a:close/>
                <a:moveTo>
                  <a:pt x="104645" y="86431"/>
                </a:moveTo>
                <a:cubicBezTo>
                  <a:pt x="97401" y="86431"/>
                  <a:pt x="91243" y="92553"/>
                  <a:pt x="91243" y="99757"/>
                </a:cubicBezTo>
                <a:cubicBezTo>
                  <a:pt x="91243" y="107320"/>
                  <a:pt x="97401" y="113443"/>
                  <a:pt x="104645" y="113443"/>
                </a:cubicBezTo>
                <a:lnTo>
                  <a:pt x="192665" y="113443"/>
                </a:lnTo>
                <a:cubicBezTo>
                  <a:pt x="189405" y="104799"/>
                  <a:pt x="189405" y="95435"/>
                  <a:pt x="192665" y="86431"/>
                </a:cubicBezTo>
                <a:lnTo>
                  <a:pt x="104645" y="86431"/>
                </a:lnTo>
                <a:close/>
                <a:moveTo>
                  <a:pt x="104645" y="77787"/>
                </a:moveTo>
                <a:lnTo>
                  <a:pt x="206067" y="77787"/>
                </a:lnTo>
                <a:cubicBezTo>
                  <a:pt x="208603" y="77787"/>
                  <a:pt x="210776" y="79948"/>
                  <a:pt x="210776" y="82109"/>
                </a:cubicBezTo>
                <a:cubicBezTo>
                  <a:pt x="210776" y="84630"/>
                  <a:pt x="208603" y="86431"/>
                  <a:pt x="206067" y="86431"/>
                </a:cubicBezTo>
                <a:lnTo>
                  <a:pt x="202807" y="86431"/>
                </a:lnTo>
                <a:cubicBezTo>
                  <a:pt x="198098" y="95074"/>
                  <a:pt x="198098" y="104799"/>
                  <a:pt x="202807" y="113443"/>
                </a:cubicBezTo>
                <a:lnTo>
                  <a:pt x="206067" y="113443"/>
                </a:lnTo>
                <a:cubicBezTo>
                  <a:pt x="208603" y="113443"/>
                  <a:pt x="210776" y="115243"/>
                  <a:pt x="210776" y="117765"/>
                </a:cubicBezTo>
                <a:lnTo>
                  <a:pt x="210776" y="236258"/>
                </a:lnTo>
                <a:cubicBezTo>
                  <a:pt x="210776" y="238779"/>
                  <a:pt x="208603" y="240940"/>
                  <a:pt x="206067" y="240940"/>
                </a:cubicBezTo>
                <a:lnTo>
                  <a:pt x="104645" y="240940"/>
                </a:lnTo>
                <a:cubicBezTo>
                  <a:pt x="92330" y="240940"/>
                  <a:pt x="82550" y="230856"/>
                  <a:pt x="82550" y="218610"/>
                </a:cubicBezTo>
                <a:lnTo>
                  <a:pt x="82550" y="99757"/>
                </a:lnTo>
                <a:cubicBezTo>
                  <a:pt x="82550" y="87511"/>
                  <a:pt x="92330" y="77787"/>
                  <a:pt x="104645" y="77787"/>
                </a:cubicBezTo>
                <a:close/>
                <a:moveTo>
                  <a:pt x="237641" y="36713"/>
                </a:moveTo>
                <a:cubicBezTo>
                  <a:pt x="239437" y="37787"/>
                  <a:pt x="239796" y="40649"/>
                  <a:pt x="238000" y="42795"/>
                </a:cubicBezTo>
                <a:cubicBezTo>
                  <a:pt x="235485" y="45657"/>
                  <a:pt x="234048" y="49950"/>
                  <a:pt x="234048" y="53885"/>
                </a:cubicBezTo>
                <a:lnTo>
                  <a:pt x="234048" y="76781"/>
                </a:lnTo>
                <a:lnTo>
                  <a:pt x="284347" y="76781"/>
                </a:lnTo>
                <a:lnTo>
                  <a:pt x="284347" y="53885"/>
                </a:lnTo>
                <a:cubicBezTo>
                  <a:pt x="284347" y="49950"/>
                  <a:pt x="282910" y="45657"/>
                  <a:pt x="280395" y="42795"/>
                </a:cubicBezTo>
                <a:cubicBezTo>
                  <a:pt x="278958" y="40649"/>
                  <a:pt x="278958" y="37787"/>
                  <a:pt x="281113" y="36713"/>
                </a:cubicBezTo>
                <a:cubicBezTo>
                  <a:pt x="282910" y="34925"/>
                  <a:pt x="285784" y="35282"/>
                  <a:pt x="287221" y="37071"/>
                </a:cubicBezTo>
                <a:cubicBezTo>
                  <a:pt x="291173" y="41722"/>
                  <a:pt x="293329" y="47804"/>
                  <a:pt x="293329" y="53885"/>
                </a:cubicBezTo>
                <a:lnTo>
                  <a:pt x="293329" y="81074"/>
                </a:lnTo>
                <a:cubicBezTo>
                  <a:pt x="293329" y="83578"/>
                  <a:pt x="291533" y="85367"/>
                  <a:pt x="288658" y="85367"/>
                </a:cubicBezTo>
                <a:lnTo>
                  <a:pt x="229737" y="85367"/>
                </a:lnTo>
                <a:cubicBezTo>
                  <a:pt x="227222" y="85367"/>
                  <a:pt x="225425" y="83578"/>
                  <a:pt x="225425" y="81074"/>
                </a:cubicBezTo>
                <a:lnTo>
                  <a:pt x="225425" y="53885"/>
                </a:lnTo>
                <a:cubicBezTo>
                  <a:pt x="225425" y="47804"/>
                  <a:pt x="227222" y="41722"/>
                  <a:pt x="231174" y="37071"/>
                </a:cubicBezTo>
                <a:cubicBezTo>
                  <a:pt x="232970" y="35282"/>
                  <a:pt x="235844" y="34925"/>
                  <a:pt x="237641" y="36713"/>
                </a:cubicBezTo>
                <a:close/>
                <a:moveTo>
                  <a:pt x="12215" y="36713"/>
                </a:moveTo>
                <a:cubicBezTo>
                  <a:pt x="14012" y="37787"/>
                  <a:pt x="14371" y="40649"/>
                  <a:pt x="12575" y="42795"/>
                </a:cubicBezTo>
                <a:cubicBezTo>
                  <a:pt x="10419" y="45657"/>
                  <a:pt x="8622" y="49950"/>
                  <a:pt x="8622" y="53885"/>
                </a:cubicBezTo>
                <a:lnTo>
                  <a:pt x="8622" y="76781"/>
                </a:lnTo>
                <a:lnTo>
                  <a:pt x="59281" y="76781"/>
                </a:lnTo>
                <a:lnTo>
                  <a:pt x="59281" y="53885"/>
                </a:lnTo>
                <a:cubicBezTo>
                  <a:pt x="59281" y="49950"/>
                  <a:pt x="57844" y="45657"/>
                  <a:pt x="54969" y="42795"/>
                </a:cubicBezTo>
                <a:cubicBezTo>
                  <a:pt x="53532" y="40649"/>
                  <a:pt x="53892" y="37787"/>
                  <a:pt x="55688" y="36713"/>
                </a:cubicBezTo>
                <a:cubicBezTo>
                  <a:pt x="57844" y="34925"/>
                  <a:pt x="60359" y="35282"/>
                  <a:pt x="61796" y="37071"/>
                </a:cubicBezTo>
                <a:cubicBezTo>
                  <a:pt x="65748" y="41722"/>
                  <a:pt x="67903" y="47804"/>
                  <a:pt x="67903" y="53885"/>
                </a:cubicBezTo>
                <a:lnTo>
                  <a:pt x="67903" y="81074"/>
                </a:lnTo>
                <a:cubicBezTo>
                  <a:pt x="67903" y="83578"/>
                  <a:pt x="65748" y="85367"/>
                  <a:pt x="63592" y="85367"/>
                </a:cubicBezTo>
                <a:lnTo>
                  <a:pt x="4311" y="85367"/>
                </a:lnTo>
                <a:cubicBezTo>
                  <a:pt x="1796" y="85367"/>
                  <a:pt x="0" y="83578"/>
                  <a:pt x="0" y="81074"/>
                </a:cubicBezTo>
                <a:lnTo>
                  <a:pt x="0" y="53885"/>
                </a:lnTo>
                <a:cubicBezTo>
                  <a:pt x="0" y="47804"/>
                  <a:pt x="1796" y="41722"/>
                  <a:pt x="6107" y="37071"/>
                </a:cubicBezTo>
                <a:cubicBezTo>
                  <a:pt x="7545" y="35282"/>
                  <a:pt x="10419" y="34925"/>
                  <a:pt x="12215" y="36713"/>
                </a:cubicBezTo>
                <a:close/>
                <a:moveTo>
                  <a:pt x="258410" y="8466"/>
                </a:moveTo>
                <a:cubicBezTo>
                  <a:pt x="252766" y="8466"/>
                  <a:pt x="248180" y="13405"/>
                  <a:pt x="248180" y="18697"/>
                </a:cubicBezTo>
                <a:cubicBezTo>
                  <a:pt x="248180" y="24341"/>
                  <a:pt x="252766" y="28928"/>
                  <a:pt x="258410" y="28928"/>
                </a:cubicBezTo>
                <a:cubicBezTo>
                  <a:pt x="264055" y="28928"/>
                  <a:pt x="268641" y="24341"/>
                  <a:pt x="268641" y="18697"/>
                </a:cubicBezTo>
                <a:cubicBezTo>
                  <a:pt x="268641" y="13405"/>
                  <a:pt x="264055" y="8466"/>
                  <a:pt x="258410" y="8466"/>
                </a:cubicBezTo>
                <a:close/>
                <a:moveTo>
                  <a:pt x="32985" y="8466"/>
                </a:moveTo>
                <a:cubicBezTo>
                  <a:pt x="27341" y="8466"/>
                  <a:pt x="22754" y="13405"/>
                  <a:pt x="22754" y="18697"/>
                </a:cubicBezTo>
                <a:cubicBezTo>
                  <a:pt x="22754" y="24341"/>
                  <a:pt x="27341" y="28928"/>
                  <a:pt x="32985" y="28928"/>
                </a:cubicBezTo>
                <a:cubicBezTo>
                  <a:pt x="38629" y="28928"/>
                  <a:pt x="43216" y="24341"/>
                  <a:pt x="43216" y="18697"/>
                </a:cubicBezTo>
                <a:cubicBezTo>
                  <a:pt x="43216" y="13405"/>
                  <a:pt x="38629" y="8466"/>
                  <a:pt x="32985" y="8466"/>
                </a:cubicBezTo>
                <a:close/>
                <a:moveTo>
                  <a:pt x="145691" y="6778"/>
                </a:moveTo>
                <a:cubicBezTo>
                  <a:pt x="171211" y="6778"/>
                  <a:pt x="196731" y="13556"/>
                  <a:pt x="219015" y="27113"/>
                </a:cubicBezTo>
                <a:cubicBezTo>
                  <a:pt x="221531" y="28559"/>
                  <a:pt x="221891" y="31089"/>
                  <a:pt x="220813" y="33258"/>
                </a:cubicBezTo>
                <a:cubicBezTo>
                  <a:pt x="219015" y="35427"/>
                  <a:pt x="216499" y="36150"/>
                  <a:pt x="214702" y="34704"/>
                </a:cubicBezTo>
                <a:cubicBezTo>
                  <a:pt x="172648" y="9037"/>
                  <a:pt x="118733" y="9037"/>
                  <a:pt x="77038" y="34704"/>
                </a:cubicBezTo>
                <a:cubicBezTo>
                  <a:pt x="76320" y="35427"/>
                  <a:pt x="75601" y="35427"/>
                  <a:pt x="74882" y="35427"/>
                </a:cubicBezTo>
                <a:cubicBezTo>
                  <a:pt x="73444" y="35427"/>
                  <a:pt x="72006" y="34704"/>
                  <a:pt x="70928" y="33258"/>
                </a:cubicBezTo>
                <a:cubicBezTo>
                  <a:pt x="69850" y="31089"/>
                  <a:pt x="70209" y="28559"/>
                  <a:pt x="72366" y="27113"/>
                </a:cubicBezTo>
                <a:cubicBezTo>
                  <a:pt x="94651" y="13556"/>
                  <a:pt x="120171" y="6778"/>
                  <a:pt x="145691" y="6778"/>
                </a:cubicBezTo>
                <a:close/>
                <a:moveTo>
                  <a:pt x="258410" y="0"/>
                </a:moveTo>
                <a:cubicBezTo>
                  <a:pt x="268994" y="0"/>
                  <a:pt x="277460" y="8466"/>
                  <a:pt x="277460" y="18697"/>
                </a:cubicBezTo>
                <a:cubicBezTo>
                  <a:pt x="277460" y="29280"/>
                  <a:pt x="268994" y="37747"/>
                  <a:pt x="258410" y="37747"/>
                </a:cubicBezTo>
                <a:cubicBezTo>
                  <a:pt x="248180" y="37747"/>
                  <a:pt x="239713" y="29280"/>
                  <a:pt x="239713" y="18697"/>
                </a:cubicBezTo>
                <a:cubicBezTo>
                  <a:pt x="239713" y="8466"/>
                  <a:pt x="248180" y="0"/>
                  <a:pt x="258410" y="0"/>
                </a:cubicBezTo>
                <a:close/>
                <a:moveTo>
                  <a:pt x="32985" y="0"/>
                </a:moveTo>
                <a:cubicBezTo>
                  <a:pt x="43568" y="0"/>
                  <a:pt x="52035" y="8466"/>
                  <a:pt x="52035" y="18697"/>
                </a:cubicBezTo>
                <a:cubicBezTo>
                  <a:pt x="52035" y="29280"/>
                  <a:pt x="43568" y="37747"/>
                  <a:pt x="32985" y="37747"/>
                </a:cubicBezTo>
                <a:cubicBezTo>
                  <a:pt x="22754" y="37747"/>
                  <a:pt x="14288" y="29280"/>
                  <a:pt x="14288" y="18697"/>
                </a:cubicBezTo>
                <a:cubicBezTo>
                  <a:pt x="14288" y="8466"/>
                  <a:pt x="22754" y="0"/>
                  <a:pt x="32985" y="0"/>
                </a:cubicBezTo>
                <a:close/>
              </a:path>
            </a:pathLst>
          </a:custGeom>
          <a:solidFill>
            <a:schemeClr val="bg1"/>
          </a:solidFill>
          <a:ln>
            <a:noFill/>
          </a:ln>
          <a:effectLst/>
        </p:spPr>
        <p:txBody>
          <a:bodyPr anchor="ctr"/>
          <a:lstStyle/>
          <a:p>
            <a:endParaRPr lang="en-US" sz="900"/>
          </a:p>
        </p:txBody>
      </p:sp>
      <p:sp>
        <p:nvSpPr>
          <p:cNvPr id="33" name="Title 1">
            <a:extLst>
              <a:ext uri="{FF2B5EF4-FFF2-40B4-BE49-F238E27FC236}">
                <a16:creationId xmlns:a16="http://schemas.microsoft.com/office/drawing/2014/main" id="{22D1D66F-B53B-7854-70D3-6D24019608D6}"/>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
        <p:nvSpPr>
          <p:cNvPr id="34" name="Text Placeholder 35">
            <a:extLst>
              <a:ext uri="{FF2B5EF4-FFF2-40B4-BE49-F238E27FC236}">
                <a16:creationId xmlns:a16="http://schemas.microsoft.com/office/drawing/2014/main" id="{0B2E38F4-99EB-ACD0-E4B2-8318FBE5105E}"/>
              </a:ext>
            </a:extLst>
          </p:cNvPr>
          <p:cNvSpPr>
            <a:spLocks noGrp="1"/>
          </p:cNvSpPr>
          <p:nvPr>
            <p:ph type="body" sz="quarter" idx="52" hasCustomPrompt="1"/>
          </p:nvPr>
        </p:nvSpPr>
        <p:spPr>
          <a:xfrm>
            <a:off x="1559825" y="1451134"/>
            <a:ext cx="3185180" cy="331694"/>
          </a:xfrm>
        </p:spPr>
        <p:txBody>
          <a:bodyPr anchor="b">
            <a:noAutofit/>
          </a:bodyPr>
          <a:lstStyle>
            <a:lvl1pPr marL="0" indent="0" algn="r">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5" name="Text Placeholder 2">
            <a:extLst>
              <a:ext uri="{FF2B5EF4-FFF2-40B4-BE49-F238E27FC236}">
                <a16:creationId xmlns:a16="http://schemas.microsoft.com/office/drawing/2014/main" id="{EC909B91-D05A-7192-A2E8-B3B18B03A5A0}"/>
              </a:ext>
            </a:extLst>
          </p:cNvPr>
          <p:cNvSpPr>
            <a:spLocks noGrp="1"/>
          </p:cNvSpPr>
          <p:nvPr>
            <p:ph type="body" idx="53" hasCustomPrompt="1"/>
          </p:nvPr>
        </p:nvSpPr>
        <p:spPr>
          <a:xfrm>
            <a:off x="1559825" y="1916503"/>
            <a:ext cx="3185182" cy="530246"/>
          </a:xfrm>
        </p:spPr>
        <p:txBody>
          <a:bodyPr>
            <a:normAutofit/>
          </a:bodyPr>
          <a:lstStyle>
            <a:lvl1pPr marL="0" indent="0" algn="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6" name="Text Placeholder 35">
            <a:extLst>
              <a:ext uri="{FF2B5EF4-FFF2-40B4-BE49-F238E27FC236}">
                <a16:creationId xmlns:a16="http://schemas.microsoft.com/office/drawing/2014/main" id="{96CD8D5E-7822-5D6A-28BD-C9292B9B2683}"/>
              </a:ext>
            </a:extLst>
          </p:cNvPr>
          <p:cNvSpPr>
            <a:spLocks noGrp="1"/>
          </p:cNvSpPr>
          <p:nvPr>
            <p:ph type="body" sz="quarter" idx="54" hasCustomPrompt="1"/>
          </p:nvPr>
        </p:nvSpPr>
        <p:spPr>
          <a:xfrm>
            <a:off x="1559825" y="2753160"/>
            <a:ext cx="3185180" cy="331694"/>
          </a:xfrm>
        </p:spPr>
        <p:txBody>
          <a:bodyPr anchor="b">
            <a:noAutofit/>
          </a:bodyPr>
          <a:lstStyle>
            <a:lvl1pPr marL="0" indent="0" algn="r">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7" name="Text Placeholder 2">
            <a:extLst>
              <a:ext uri="{FF2B5EF4-FFF2-40B4-BE49-F238E27FC236}">
                <a16:creationId xmlns:a16="http://schemas.microsoft.com/office/drawing/2014/main" id="{EBCEEF69-14C4-FD6E-5751-2730FAC02E37}"/>
              </a:ext>
            </a:extLst>
          </p:cNvPr>
          <p:cNvSpPr>
            <a:spLocks noGrp="1"/>
          </p:cNvSpPr>
          <p:nvPr>
            <p:ph type="body" idx="55" hasCustomPrompt="1"/>
          </p:nvPr>
        </p:nvSpPr>
        <p:spPr>
          <a:xfrm>
            <a:off x="1559825" y="3218529"/>
            <a:ext cx="3185182" cy="530246"/>
          </a:xfrm>
        </p:spPr>
        <p:txBody>
          <a:bodyPr>
            <a:normAutofit/>
          </a:bodyPr>
          <a:lstStyle>
            <a:lvl1pPr marL="0" indent="0" algn="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8" name="Text Placeholder 35">
            <a:extLst>
              <a:ext uri="{FF2B5EF4-FFF2-40B4-BE49-F238E27FC236}">
                <a16:creationId xmlns:a16="http://schemas.microsoft.com/office/drawing/2014/main" id="{AEE9FED3-2A27-3F65-8FC8-433C93D8C905}"/>
              </a:ext>
            </a:extLst>
          </p:cNvPr>
          <p:cNvSpPr>
            <a:spLocks noGrp="1"/>
          </p:cNvSpPr>
          <p:nvPr>
            <p:ph type="body" sz="quarter" idx="56" hasCustomPrompt="1"/>
          </p:nvPr>
        </p:nvSpPr>
        <p:spPr>
          <a:xfrm>
            <a:off x="1559825" y="4055186"/>
            <a:ext cx="3185180" cy="331694"/>
          </a:xfrm>
        </p:spPr>
        <p:txBody>
          <a:bodyPr anchor="b">
            <a:noAutofit/>
          </a:bodyPr>
          <a:lstStyle>
            <a:lvl1pPr marL="0" indent="0" algn="r">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9" name="Text Placeholder 2">
            <a:extLst>
              <a:ext uri="{FF2B5EF4-FFF2-40B4-BE49-F238E27FC236}">
                <a16:creationId xmlns:a16="http://schemas.microsoft.com/office/drawing/2014/main" id="{328DE8D1-B954-E0F0-B961-BEA31D900E30}"/>
              </a:ext>
            </a:extLst>
          </p:cNvPr>
          <p:cNvSpPr>
            <a:spLocks noGrp="1"/>
          </p:cNvSpPr>
          <p:nvPr>
            <p:ph type="body" idx="57" hasCustomPrompt="1"/>
          </p:nvPr>
        </p:nvSpPr>
        <p:spPr>
          <a:xfrm>
            <a:off x="1559825" y="4520555"/>
            <a:ext cx="3185182" cy="530246"/>
          </a:xfrm>
        </p:spPr>
        <p:txBody>
          <a:bodyPr>
            <a:normAutofit/>
          </a:bodyPr>
          <a:lstStyle>
            <a:lvl1pPr marL="0" indent="0" algn="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40" name="Text Placeholder 35">
            <a:extLst>
              <a:ext uri="{FF2B5EF4-FFF2-40B4-BE49-F238E27FC236}">
                <a16:creationId xmlns:a16="http://schemas.microsoft.com/office/drawing/2014/main" id="{C396E401-A7A3-232A-6156-3AD2FE3096C1}"/>
              </a:ext>
            </a:extLst>
          </p:cNvPr>
          <p:cNvSpPr>
            <a:spLocks noGrp="1"/>
          </p:cNvSpPr>
          <p:nvPr>
            <p:ph type="body" sz="quarter" idx="58" hasCustomPrompt="1"/>
          </p:nvPr>
        </p:nvSpPr>
        <p:spPr>
          <a:xfrm>
            <a:off x="1559825" y="5387030"/>
            <a:ext cx="3185180" cy="331694"/>
          </a:xfrm>
        </p:spPr>
        <p:txBody>
          <a:bodyPr anchor="b">
            <a:noAutofit/>
          </a:bodyPr>
          <a:lstStyle>
            <a:lvl1pPr marL="0" indent="0" algn="r">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1" name="Text Placeholder 2">
            <a:extLst>
              <a:ext uri="{FF2B5EF4-FFF2-40B4-BE49-F238E27FC236}">
                <a16:creationId xmlns:a16="http://schemas.microsoft.com/office/drawing/2014/main" id="{0292E45D-B70D-BA56-3C70-6AFE1296F3C8}"/>
              </a:ext>
            </a:extLst>
          </p:cNvPr>
          <p:cNvSpPr>
            <a:spLocks noGrp="1"/>
          </p:cNvSpPr>
          <p:nvPr>
            <p:ph type="body" idx="59" hasCustomPrompt="1"/>
          </p:nvPr>
        </p:nvSpPr>
        <p:spPr>
          <a:xfrm>
            <a:off x="1559825" y="5852399"/>
            <a:ext cx="3185182" cy="530246"/>
          </a:xfrm>
        </p:spPr>
        <p:txBody>
          <a:bodyPr>
            <a:normAutofit/>
          </a:bodyPr>
          <a:lstStyle>
            <a:lvl1pPr marL="0" indent="0" algn="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Tree>
    <p:extLst>
      <p:ext uri="{BB962C8B-B14F-4D97-AF65-F5344CB8AC3E}">
        <p14:creationId xmlns:p14="http://schemas.microsoft.com/office/powerpoint/2010/main" val="390130385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1EA4F690-7B2B-EEDB-4347-EFF036542F28}"/>
              </a:ext>
            </a:extLst>
          </p:cNvPr>
          <p:cNvSpPr>
            <a:spLocks noChangeArrowheads="1"/>
          </p:cNvSpPr>
          <p:nvPr userDrawn="1"/>
        </p:nvSpPr>
        <p:spPr bwMode="auto">
          <a:xfrm>
            <a:off x="1061097" y="983"/>
            <a:ext cx="5446923" cy="6856035"/>
          </a:xfrm>
          <a:custGeom>
            <a:avLst/>
            <a:gdLst>
              <a:gd name="T0" fmla="*/ 8744 w 8745"/>
              <a:gd name="T1" fmla="*/ 11007 h 11008"/>
              <a:gd name="T2" fmla="*/ 7828 w 8745"/>
              <a:gd name="T3" fmla="*/ 11007 h 11008"/>
              <a:gd name="T4" fmla="*/ 7828 w 8745"/>
              <a:gd name="T5" fmla="*/ 8903 h 11008"/>
              <a:gd name="T6" fmla="*/ 7828 w 8745"/>
              <a:gd name="T7" fmla="*/ 8903 h 11008"/>
              <a:gd name="T8" fmla="*/ 7490 w 8745"/>
              <a:gd name="T9" fmla="*/ 8564 h 11008"/>
              <a:gd name="T10" fmla="*/ 5578 w 8745"/>
              <a:gd name="T11" fmla="*/ 8564 h 11008"/>
              <a:gd name="T12" fmla="*/ 5578 w 8745"/>
              <a:gd name="T13" fmla="*/ 8564 h 11008"/>
              <a:gd name="T14" fmla="*/ 4322 w 8745"/>
              <a:gd name="T15" fmla="*/ 7309 h 11008"/>
              <a:gd name="T16" fmla="*/ 4322 w 8745"/>
              <a:gd name="T17" fmla="*/ 5901 h 11008"/>
              <a:gd name="T18" fmla="*/ 4322 w 8745"/>
              <a:gd name="T19" fmla="*/ 5901 h 11008"/>
              <a:gd name="T20" fmla="*/ 3984 w 8745"/>
              <a:gd name="T21" fmla="*/ 5562 h 11008"/>
              <a:gd name="T22" fmla="*/ 1256 w 8745"/>
              <a:gd name="T23" fmla="*/ 5562 h 11008"/>
              <a:gd name="T24" fmla="*/ 1256 w 8745"/>
              <a:gd name="T25" fmla="*/ 5562 h 11008"/>
              <a:gd name="T26" fmla="*/ 0 w 8745"/>
              <a:gd name="T27" fmla="*/ 4307 h 11008"/>
              <a:gd name="T28" fmla="*/ 0 w 8745"/>
              <a:gd name="T29" fmla="*/ 0 h 11008"/>
              <a:gd name="T30" fmla="*/ 917 w 8745"/>
              <a:gd name="T31" fmla="*/ 0 h 11008"/>
              <a:gd name="T32" fmla="*/ 917 w 8745"/>
              <a:gd name="T33" fmla="*/ 4307 h 11008"/>
              <a:gd name="T34" fmla="*/ 917 w 8745"/>
              <a:gd name="T35" fmla="*/ 4307 h 11008"/>
              <a:gd name="T36" fmla="*/ 1256 w 8745"/>
              <a:gd name="T37" fmla="*/ 4645 h 11008"/>
              <a:gd name="T38" fmla="*/ 3984 w 8745"/>
              <a:gd name="T39" fmla="*/ 4645 h 11008"/>
              <a:gd name="T40" fmla="*/ 3984 w 8745"/>
              <a:gd name="T41" fmla="*/ 4645 h 11008"/>
              <a:gd name="T42" fmla="*/ 5239 w 8745"/>
              <a:gd name="T43" fmla="*/ 5901 h 11008"/>
              <a:gd name="T44" fmla="*/ 5239 w 8745"/>
              <a:gd name="T45" fmla="*/ 7309 h 11008"/>
              <a:gd name="T46" fmla="*/ 5239 w 8745"/>
              <a:gd name="T47" fmla="*/ 7309 h 11008"/>
              <a:gd name="T48" fmla="*/ 5578 w 8745"/>
              <a:gd name="T49" fmla="*/ 7647 h 11008"/>
              <a:gd name="T50" fmla="*/ 7490 w 8745"/>
              <a:gd name="T51" fmla="*/ 7647 h 11008"/>
              <a:gd name="T52" fmla="*/ 7490 w 8745"/>
              <a:gd name="T53" fmla="*/ 7647 h 11008"/>
              <a:gd name="T54" fmla="*/ 8744 w 8745"/>
              <a:gd name="T55" fmla="*/ 8903 h 11008"/>
              <a:gd name="T56" fmla="*/ 8744 w 8745"/>
              <a:gd name="T57" fmla="*/ 11007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45" h="11008">
                <a:moveTo>
                  <a:pt x="8744" y="11007"/>
                </a:moveTo>
                <a:lnTo>
                  <a:pt x="7828" y="11007"/>
                </a:lnTo>
                <a:lnTo>
                  <a:pt x="7828" y="8903"/>
                </a:lnTo>
                <a:lnTo>
                  <a:pt x="7828" y="8903"/>
                </a:lnTo>
                <a:cubicBezTo>
                  <a:pt x="7828" y="8716"/>
                  <a:pt x="7676" y="8564"/>
                  <a:pt x="7490" y="8564"/>
                </a:cubicBezTo>
                <a:lnTo>
                  <a:pt x="5578" y="8564"/>
                </a:lnTo>
                <a:lnTo>
                  <a:pt x="5578" y="8564"/>
                </a:lnTo>
                <a:cubicBezTo>
                  <a:pt x="4885" y="8564"/>
                  <a:pt x="4322" y="8001"/>
                  <a:pt x="4322" y="7309"/>
                </a:cubicBezTo>
                <a:lnTo>
                  <a:pt x="4322" y="5901"/>
                </a:lnTo>
                <a:lnTo>
                  <a:pt x="4322" y="5901"/>
                </a:lnTo>
                <a:cubicBezTo>
                  <a:pt x="4322" y="5714"/>
                  <a:pt x="4170" y="5562"/>
                  <a:pt x="3984" y="5562"/>
                </a:cubicBezTo>
                <a:lnTo>
                  <a:pt x="1256" y="5562"/>
                </a:lnTo>
                <a:lnTo>
                  <a:pt x="1256" y="5562"/>
                </a:lnTo>
                <a:cubicBezTo>
                  <a:pt x="563" y="5562"/>
                  <a:pt x="0" y="5000"/>
                  <a:pt x="0" y="4307"/>
                </a:cubicBezTo>
                <a:lnTo>
                  <a:pt x="0" y="0"/>
                </a:lnTo>
                <a:lnTo>
                  <a:pt x="917" y="0"/>
                </a:lnTo>
                <a:lnTo>
                  <a:pt x="917" y="4307"/>
                </a:lnTo>
                <a:lnTo>
                  <a:pt x="917" y="4307"/>
                </a:lnTo>
                <a:cubicBezTo>
                  <a:pt x="917" y="4494"/>
                  <a:pt x="1069" y="4645"/>
                  <a:pt x="1256" y="4645"/>
                </a:cubicBezTo>
                <a:lnTo>
                  <a:pt x="3984" y="4645"/>
                </a:lnTo>
                <a:lnTo>
                  <a:pt x="3984" y="4645"/>
                </a:lnTo>
                <a:cubicBezTo>
                  <a:pt x="4676" y="4645"/>
                  <a:pt x="5239" y="5209"/>
                  <a:pt x="5239" y="5901"/>
                </a:cubicBezTo>
                <a:lnTo>
                  <a:pt x="5239" y="7309"/>
                </a:lnTo>
                <a:lnTo>
                  <a:pt x="5239" y="7309"/>
                </a:lnTo>
                <a:cubicBezTo>
                  <a:pt x="5239" y="7495"/>
                  <a:pt x="5391" y="7647"/>
                  <a:pt x="5578" y="7647"/>
                </a:cubicBezTo>
                <a:lnTo>
                  <a:pt x="7490" y="7647"/>
                </a:lnTo>
                <a:lnTo>
                  <a:pt x="7490" y="7647"/>
                </a:lnTo>
                <a:cubicBezTo>
                  <a:pt x="8181" y="7647"/>
                  <a:pt x="8744" y="8211"/>
                  <a:pt x="8744" y="8903"/>
                </a:cubicBezTo>
                <a:lnTo>
                  <a:pt x="8744" y="11007"/>
                </a:lnTo>
              </a:path>
            </a:pathLst>
          </a:custGeom>
          <a:solidFill>
            <a:schemeClr val="accent6"/>
          </a:solidFill>
          <a:ln>
            <a:noFill/>
          </a:ln>
          <a:effectLst/>
        </p:spPr>
        <p:txBody>
          <a:bodyPr wrap="none" anchor="ctr"/>
          <a:lstStyle/>
          <a:p>
            <a:endParaRPr lang="en-US" sz="3265">
              <a:latin typeface="Lato Light" panose="020F0502020204030203" pitchFamily="34" charset="0"/>
            </a:endParaRPr>
          </a:p>
        </p:txBody>
      </p:sp>
      <p:sp>
        <p:nvSpPr>
          <p:cNvPr id="4" name="Freeform 3">
            <a:extLst>
              <a:ext uri="{FF2B5EF4-FFF2-40B4-BE49-F238E27FC236}">
                <a16:creationId xmlns:a16="http://schemas.microsoft.com/office/drawing/2014/main" id="{7D1E08AB-690B-E5D1-FC56-4FE8E93339B0}"/>
              </a:ext>
            </a:extLst>
          </p:cNvPr>
          <p:cNvSpPr>
            <a:spLocks noChangeArrowheads="1"/>
          </p:cNvSpPr>
          <p:nvPr userDrawn="1"/>
        </p:nvSpPr>
        <p:spPr bwMode="auto">
          <a:xfrm>
            <a:off x="1313806" y="983"/>
            <a:ext cx="4938764" cy="6856035"/>
          </a:xfrm>
          <a:custGeom>
            <a:avLst/>
            <a:gdLst>
              <a:gd name="T0" fmla="*/ 0 w 7930"/>
              <a:gd name="T1" fmla="*/ 714 h 11008"/>
              <a:gd name="T2" fmla="*/ 102 w 7930"/>
              <a:gd name="T3" fmla="*/ 0 h 11008"/>
              <a:gd name="T4" fmla="*/ 102 w 7930"/>
              <a:gd name="T5" fmla="*/ 2140 h 11008"/>
              <a:gd name="T6" fmla="*/ 0 w 7930"/>
              <a:gd name="T7" fmla="*/ 1427 h 11008"/>
              <a:gd name="T8" fmla="*/ 102 w 7930"/>
              <a:gd name="T9" fmla="*/ 2140 h 11008"/>
              <a:gd name="T10" fmla="*/ 0 w 7930"/>
              <a:gd name="T11" fmla="*/ 3567 h 11008"/>
              <a:gd name="T12" fmla="*/ 102 w 7930"/>
              <a:gd name="T13" fmla="*/ 2854 h 11008"/>
              <a:gd name="T14" fmla="*/ 296 w 7930"/>
              <a:gd name="T15" fmla="*/ 4951 h 11008"/>
              <a:gd name="T16" fmla="*/ 0 w 7930"/>
              <a:gd name="T17" fmla="*/ 4307 h 11008"/>
              <a:gd name="T18" fmla="*/ 102 w 7930"/>
              <a:gd name="T19" fmla="*/ 4281 h 11008"/>
              <a:gd name="T20" fmla="*/ 102 w 7930"/>
              <a:gd name="T21" fmla="*/ 4307 h 11008"/>
              <a:gd name="T22" fmla="*/ 296 w 7930"/>
              <a:gd name="T23" fmla="*/ 4951 h 11008"/>
              <a:gd name="T24" fmla="*/ 996 w 7930"/>
              <a:gd name="T25" fmla="*/ 5156 h 11008"/>
              <a:gd name="T26" fmla="*/ 1709 w 7930"/>
              <a:gd name="T27" fmla="*/ 5053 h 11008"/>
              <a:gd name="T28" fmla="*/ 3137 w 7930"/>
              <a:gd name="T29" fmla="*/ 5156 h 11008"/>
              <a:gd name="T30" fmla="*/ 2423 w 7930"/>
              <a:gd name="T31" fmla="*/ 5053 h 11008"/>
              <a:gd name="T32" fmla="*/ 3137 w 7930"/>
              <a:gd name="T33" fmla="*/ 5156 h 11008"/>
              <a:gd name="T34" fmla="*/ 4282 w 7930"/>
              <a:gd name="T35" fmla="*/ 5657 h 11008"/>
              <a:gd name="T36" fmla="*/ 3862 w 7930"/>
              <a:gd name="T37" fmla="*/ 5103 h 11008"/>
              <a:gd name="T38" fmla="*/ 4378 w 7930"/>
              <a:gd name="T39" fmla="*/ 5624 h 11008"/>
              <a:gd name="T40" fmla="*/ 4423 w 7930"/>
              <a:gd name="T41" fmla="*/ 7063 h 11008"/>
              <a:gd name="T42" fmla="*/ 4322 w 7930"/>
              <a:gd name="T43" fmla="*/ 6350 h 11008"/>
              <a:gd name="T44" fmla="*/ 4423 w 7930"/>
              <a:gd name="T45" fmla="*/ 7063 h 11008"/>
              <a:gd name="T46" fmla="*/ 5094 w 7930"/>
              <a:gd name="T47" fmla="*/ 8154 h 11008"/>
              <a:gd name="T48" fmla="*/ 4548 w 7930"/>
              <a:gd name="T49" fmla="*/ 7722 h 11008"/>
              <a:gd name="T50" fmla="*/ 5103 w 7930"/>
              <a:gd name="T51" fmla="*/ 8052 h 11008"/>
              <a:gd name="T52" fmla="*/ 6525 w 7930"/>
              <a:gd name="T53" fmla="*/ 8156 h 11008"/>
              <a:gd name="T54" fmla="*/ 5812 w 7930"/>
              <a:gd name="T55" fmla="*/ 8054 h 11008"/>
              <a:gd name="T56" fmla="*/ 6525 w 7930"/>
              <a:gd name="T57" fmla="*/ 8156 h 11008"/>
              <a:gd name="T58" fmla="*/ 7743 w 7930"/>
              <a:gd name="T59" fmla="*/ 8558 h 11008"/>
              <a:gd name="T60" fmla="*/ 7248 w 7930"/>
              <a:gd name="T61" fmla="*/ 8071 h 11008"/>
              <a:gd name="T62" fmla="*/ 7834 w 7930"/>
              <a:gd name="T63" fmla="*/ 8511 h 11008"/>
              <a:gd name="T64" fmla="*/ 7929 w 7930"/>
              <a:gd name="T65" fmla="*/ 9947 h 11008"/>
              <a:gd name="T66" fmla="*/ 7827 w 7930"/>
              <a:gd name="T67" fmla="*/ 9234 h 11008"/>
              <a:gd name="T68" fmla="*/ 7929 w 7930"/>
              <a:gd name="T69" fmla="*/ 9947 h 11008"/>
              <a:gd name="T70" fmla="*/ 7827 w 7930"/>
              <a:gd name="T71" fmla="*/ 11007 h 11008"/>
              <a:gd name="T72" fmla="*/ 7929 w 7930"/>
              <a:gd name="T73" fmla="*/ 10661 h 1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30" h="11008">
                <a:moveTo>
                  <a:pt x="102" y="714"/>
                </a:moveTo>
                <a:lnTo>
                  <a:pt x="0" y="714"/>
                </a:lnTo>
                <a:lnTo>
                  <a:pt x="0" y="0"/>
                </a:lnTo>
                <a:lnTo>
                  <a:pt x="102" y="0"/>
                </a:lnTo>
                <a:lnTo>
                  <a:pt x="102" y="714"/>
                </a:lnTo>
                <a:close/>
                <a:moveTo>
                  <a:pt x="102" y="2140"/>
                </a:moveTo>
                <a:lnTo>
                  <a:pt x="0" y="2140"/>
                </a:lnTo>
                <a:lnTo>
                  <a:pt x="0" y="1427"/>
                </a:lnTo>
                <a:lnTo>
                  <a:pt x="102" y="1427"/>
                </a:lnTo>
                <a:lnTo>
                  <a:pt x="102" y="2140"/>
                </a:lnTo>
                <a:close/>
                <a:moveTo>
                  <a:pt x="102" y="3567"/>
                </a:moveTo>
                <a:lnTo>
                  <a:pt x="0" y="3567"/>
                </a:lnTo>
                <a:lnTo>
                  <a:pt x="0" y="2854"/>
                </a:lnTo>
                <a:lnTo>
                  <a:pt x="102" y="2854"/>
                </a:lnTo>
                <a:lnTo>
                  <a:pt x="102" y="3567"/>
                </a:lnTo>
                <a:close/>
                <a:moveTo>
                  <a:pt x="296" y="4951"/>
                </a:moveTo>
                <a:lnTo>
                  <a:pt x="296" y="4951"/>
                </a:lnTo>
                <a:cubicBezTo>
                  <a:pt x="108" y="4790"/>
                  <a:pt x="0" y="4555"/>
                  <a:pt x="0" y="4307"/>
                </a:cubicBezTo>
                <a:lnTo>
                  <a:pt x="0" y="4281"/>
                </a:lnTo>
                <a:lnTo>
                  <a:pt x="102" y="4281"/>
                </a:lnTo>
                <a:lnTo>
                  <a:pt x="102" y="4307"/>
                </a:lnTo>
                <a:lnTo>
                  <a:pt x="102" y="4307"/>
                </a:lnTo>
                <a:cubicBezTo>
                  <a:pt x="102" y="4525"/>
                  <a:pt x="197" y="4732"/>
                  <a:pt x="362" y="4874"/>
                </a:cubicBezTo>
                <a:lnTo>
                  <a:pt x="296" y="4951"/>
                </a:lnTo>
                <a:close/>
                <a:moveTo>
                  <a:pt x="1709" y="5156"/>
                </a:moveTo>
                <a:lnTo>
                  <a:pt x="996" y="5156"/>
                </a:lnTo>
                <a:lnTo>
                  <a:pt x="996" y="5053"/>
                </a:lnTo>
                <a:lnTo>
                  <a:pt x="1709" y="5053"/>
                </a:lnTo>
                <a:lnTo>
                  <a:pt x="1709" y="5156"/>
                </a:lnTo>
                <a:close/>
                <a:moveTo>
                  <a:pt x="3137" y="5156"/>
                </a:moveTo>
                <a:lnTo>
                  <a:pt x="2423" y="5156"/>
                </a:lnTo>
                <a:lnTo>
                  <a:pt x="2423" y="5053"/>
                </a:lnTo>
                <a:lnTo>
                  <a:pt x="3137" y="5053"/>
                </a:lnTo>
                <a:lnTo>
                  <a:pt x="3137" y="5156"/>
                </a:lnTo>
                <a:close/>
                <a:moveTo>
                  <a:pt x="4282" y="5657"/>
                </a:moveTo>
                <a:lnTo>
                  <a:pt x="4282" y="5657"/>
                </a:lnTo>
                <a:cubicBezTo>
                  <a:pt x="4208" y="5447"/>
                  <a:pt x="4039" y="5275"/>
                  <a:pt x="3827" y="5199"/>
                </a:cubicBezTo>
                <a:lnTo>
                  <a:pt x="3862" y="5103"/>
                </a:lnTo>
                <a:lnTo>
                  <a:pt x="3862" y="5103"/>
                </a:lnTo>
                <a:cubicBezTo>
                  <a:pt x="4102" y="5189"/>
                  <a:pt x="4294" y="5384"/>
                  <a:pt x="4378" y="5624"/>
                </a:cubicBezTo>
                <a:lnTo>
                  <a:pt x="4282" y="5657"/>
                </a:lnTo>
                <a:close/>
                <a:moveTo>
                  <a:pt x="4423" y="7063"/>
                </a:moveTo>
                <a:lnTo>
                  <a:pt x="4322" y="7063"/>
                </a:lnTo>
                <a:lnTo>
                  <a:pt x="4322" y="6350"/>
                </a:lnTo>
                <a:lnTo>
                  <a:pt x="4423" y="6350"/>
                </a:lnTo>
                <a:lnTo>
                  <a:pt x="4423" y="7063"/>
                </a:lnTo>
                <a:close/>
                <a:moveTo>
                  <a:pt x="5094" y="8154"/>
                </a:moveTo>
                <a:lnTo>
                  <a:pt x="5094" y="8154"/>
                </a:lnTo>
                <a:cubicBezTo>
                  <a:pt x="4837" y="8130"/>
                  <a:pt x="4607" y="7994"/>
                  <a:pt x="4463" y="7778"/>
                </a:cubicBezTo>
                <a:lnTo>
                  <a:pt x="4548" y="7722"/>
                </a:lnTo>
                <a:lnTo>
                  <a:pt x="4548" y="7722"/>
                </a:lnTo>
                <a:cubicBezTo>
                  <a:pt x="4675" y="7911"/>
                  <a:pt x="4877" y="8032"/>
                  <a:pt x="5103" y="8052"/>
                </a:cubicBezTo>
                <a:lnTo>
                  <a:pt x="5094" y="8154"/>
                </a:lnTo>
                <a:close/>
                <a:moveTo>
                  <a:pt x="6525" y="8156"/>
                </a:moveTo>
                <a:lnTo>
                  <a:pt x="5812" y="8156"/>
                </a:lnTo>
                <a:lnTo>
                  <a:pt x="5812" y="8054"/>
                </a:lnTo>
                <a:lnTo>
                  <a:pt x="6525" y="8054"/>
                </a:lnTo>
                <a:lnTo>
                  <a:pt x="6525" y="8156"/>
                </a:lnTo>
                <a:close/>
                <a:moveTo>
                  <a:pt x="7743" y="8558"/>
                </a:moveTo>
                <a:lnTo>
                  <a:pt x="7743" y="8558"/>
                </a:lnTo>
                <a:cubicBezTo>
                  <a:pt x="7639" y="8357"/>
                  <a:pt x="7451" y="8215"/>
                  <a:pt x="7228" y="8171"/>
                </a:cubicBezTo>
                <a:lnTo>
                  <a:pt x="7248" y="8071"/>
                </a:lnTo>
                <a:lnTo>
                  <a:pt x="7248" y="8071"/>
                </a:lnTo>
                <a:cubicBezTo>
                  <a:pt x="7501" y="8121"/>
                  <a:pt x="7714" y="8281"/>
                  <a:pt x="7834" y="8511"/>
                </a:cubicBezTo>
                <a:lnTo>
                  <a:pt x="7743" y="8558"/>
                </a:lnTo>
                <a:close/>
                <a:moveTo>
                  <a:pt x="7929" y="9947"/>
                </a:moveTo>
                <a:lnTo>
                  <a:pt x="7827" y="9947"/>
                </a:lnTo>
                <a:lnTo>
                  <a:pt x="7827" y="9234"/>
                </a:lnTo>
                <a:lnTo>
                  <a:pt x="7929" y="9234"/>
                </a:lnTo>
                <a:lnTo>
                  <a:pt x="7929" y="9947"/>
                </a:lnTo>
                <a:close/>
                <a:moveTo>
                  <a:pt x="7929" y="11007"/>
                </a:moveTo>
                <a:lnTo>
                  <a:pt x="7827" y="11007"/>
                </a:lnTo>
                <a:lnTo>
                  <a:pt x="7827" y="10661"/>
                </a:lnTo>
                <a:lnTo>
                  <a:pt x="7929" y="10661"/>
                </a:lnTo>
                <a:lnTo>
                  <a:pt x="7929" y="11007"/>
                </a:lnTo>
                <a:close/>
              </a:path>
            </a:pathLst>
          </a:custGeom>
          <a:solidFill>
            <a:schemeClr val="bg1"/>
          </a:solidFill>
          <a:ln>
            <a:noFill/>
          </a:ln>
          <a:effectLst/>
        </p:spPr>
        <p:txBody>
          <a:bodyPr wrap="none" anchor="ctr"/>
          <a:lstStyle/>
          <a:p>
            <a:endParaRPr lang="en-US" sz="3265">
              <a:latin typeface="Lato Light" panose="020F0502020204030203" pitchFamily="34" charset="0"/>
            </a:endParaRPr>
          </a:p>
        </p:txBody>
      </p:sp>
      <p:sp>
        <p:nvSpPr>
          <p:cNvPr id="13" name="Oval 12">
            <a:extLst>
              <a:ext uri="{FF2B5EF4-FFF2-40B4-BE49-F238E27FC236}">
                <a16:creationId xmlns:a16="http://schemas.microsoft.com/office/drawing/2014/main" id="{501EDF56-6396-A972-CD82-FF036463ADF9}"/>
              </a:ext>
            </a:extLst>
          </p:cNvPr>
          <p:cNvSpPr/>
          <p:nvPr userDrawn="1"/>
        </p:nvSpPr>
        <p:spPr>
          <a:xfrm>
            <a:off x="7258344" y="1538784"/>
            <a:ext cx="136770" cy="136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Oval 13">
            <a:extLst>
              <a:ext uri="{FF2B5EF4-FFF2-40B4-BE49-F238E27FC236}">
                <a16:creationId xmlns:a16="http://schemas.microsoft.com/office/drawing/2014/main" id="{A3D21DB2-9CAF-824A-ABAE-3E7B63FFFDCE}"/>
              </a:ext>
            </a:extLst>
          </p:cNvPr>
          <p:cNvSpPr/>
          <p:nvPr userDrawn="1"/>
        </p:nvSpPr>
        <p:spPr>
          <a:xfrm>
            <a:off x="7258344" y="2849503"/>
            <a:ext cx="136770" cy="13677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Oval 14">
            <a:extLst>
              <a:ext uri="{FF2B5EF4-FFF2-40B4-BE49-F238E27FC236}">
                <a16:creationId xmlns:a16="http://schemas.microsoft.com/office/drawing/2014/main" id="{D91F1732-9EA2-434C-922C-D61C03C07432}"/>
              </a:ext>
            </a:extLst>
          </p:cNvPr>
          <p:cNvSpPr/>
          <p:nvPr userDrawn="1"/>
        </p:nvSpPr>
        <p:spPr>
          <a:xfrm>
            <a:off x="7258344" y="4160222"/>
            <a:ext cx="136770" cy="13677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6" name="Oval 15">
            <a:extLst>
              <a:ext uri="{FF2B5EF4-FFF2-40B4-BE49-F238E27FC236}">
                <a16:creationId xmlns:a16="http://schemas.microsoft.com/office/drawing/2014/main" id="{7E2A3FE6-813C-64D6-54DE-38C64BFB7231}"/>
              </a:ext>
            </a:extLst>
          </p:cNvPr>
          <p:cNvSpPr/>
          <p:nvPr userDrawn="1"/>
        </p:nvSpPr>
        <p:spPr>
          <a:xfrm>
            <a:off x="7258344" y="5470942"/>
            <a:ext cx="136770" cy="13677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7" name="Freeform 217">
            <a:extLst>
              <a:ext uri="{FF2B5EF4-FFF2-40B4-BE49-F238E27FC236}">
                <a16:creationId xmlns:a16="http://schemas.microsoft.com/office/drawing/2014/main" id="{040DC550-0D24-9E27-775D-BA1369D33821}"/>
              </a:ext>
            </a:extLst>
          </p:cNvPr>
          <p:cNvSpPr>
            <a:spLocks noChangeArrowheads="1"/>
          </p:cNvSpPr>
          <p:nvPr userDrawn="1"/>
        </p:nvSpPr>
        <p:spPr bwMode="auto">
          <a:xfrm>
            <a:off x="851031" y="1460975"/>
            <a:ext cx="986702" cy="986702"/>
          </a:xfrm>
          <a:custGeom>
            <a:avLst/>
            <a:gdLst>
              <a:gd name="T0" fmla="*/ 801 w 1314"/>
              <a:gd name="T1" fmla="*/ 80 h 1312"/>
              <a:gd name="T2" fmla="*/ 1233 w 1314"/>
              <a:gd name="T3" fmla="*/ 512 h 1312"/>
              <a:gd name="T4" fmla="*/ 1233 w 1314"/>
              <a:gd name="T5" fmla="*/ 512 h 1312"/>
              <a:gd name="T6" fmla="*/ 1233 w 1314"/>
              <a:gd name="T7" fmla="*/ 800 h 1312"/>
              <a:gd name="T8" fmla="*/ 801 w 1314"/>
              <a:gd name="T9" fmla="*/ 1232 h 1312"/>
              <a:gd name="T10" fmla="*/ 801 w 1314"/>
              <a:gd name="T11" fmla="*/ 1232 h 1312"/>
              <a:gd name="T12" fmla="*/ 512 w 1314"/>
              <a:gd name="T13" fmla="*/ 1232 h 1312"/>
              <a:gd name="T14" fmla="*/ 80 w 1314"/>
              <a:gd name="T15" fmla="*/ 800 h 1312"/>
              <a:gd name="T16" fmla="*/ 80 w 1314"/>
              <a:gd name="T17" fmla="*/ 800 h 1312"/>
              <a:gd name="T18" fmla="*/ 80 w 1314"/>
              <a:gd name="T19" fmla="*/ 512 h 1312"/>
              <a:gd name="T20" fmla="*/ 512 w 1314"/>
              <a:gd name="T21" fmla="*/ 80 h 1312"/>
              <a:gd name="T22" fmla="*/ 512 w 1314"/>
              <a:gd name="T23" fmla="*/ 80 h 1312"/>
              <a:gd name="T24" fmla="*/ 801 w 1314"/>
              <a:gd name="T25" fmla="*/ 80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4" h="1312">
                <a:moveTo>
                  <a:pt x="801" y="80"/>
                </a:moveTo>
                <a:lnTo>
                  <a:pt x="1233" y="512"/>
                </a:lnTo>
                <a:lnTo>
                  <a:pt x="1233" y="512"/>
                </a:lnTo>
                <a:cubicBezTo>
                  <a:pt x="1313" y="592"/>
                  <a:pt x="1313" y="721"/>
                  <a:pt x="1233" y="800"/>
                </a:cubicBezTo>
                <a:lnTo>
                  <a:pt x="801" y="1232"/>
                </a:lnTo>
                <a:lnTo>
                  <a:pt x="801" y="1232"/>
                </a:lnTo>
                <a:cubicBezTo>
                  <a:pt x="721" y="1311"/>
                  <a:pt x="592" y="1311"/>
                  <a:pt x="512" y="1232"/>
                </a:cubicBezTo>
                <a:lnTo>
                  <a:pt x="80" y="800"/>
                </a:lnTo>
                <a:lnTo>
                  <a:pt x="80" y="800"/>
                </a:lnTo>
                <a:cubicBezTo>
                  <a:pt x="0" y="721"/>
                  <a:pt x="0" y="592"/>
                  <a:pt x="80" y="512"/>
                </a:cubicBezTo>
                <a:lnTo>
                  <a:pt x="512" y="80"/>
                </a:lnTo>
                <a:lnTo>
                  <a:pt x="512" y="80"/>
                </a:lnTo>
                <a:cubicBezTo>
                  <a:pt x="592" y="0"/>
                  <a:pt x="721" y="0"/>
                  <a:pt x="801" y="8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5">
              <a:latin typeface="Lato Light" panose="020F0502020204030203" pitchFamily="34" charset="0"/>
            </a:endParaRPr>
          </a:p>
        </p:txBody>
      </p:sp>
      <p:sp>
        <p:nvSpPr>
          <p:cNvPr id="18" name="Freeform 10">
            <a:extLst>
              <a:ext uri="{FF2B5EF4-FFF2-40B4-BE49-F238E27FC236}">
                <a16:creationId xmlns:a16="http://schemas.microsoft.com/office/drawing/2014/main" id="{1FDD2C81-D8FD-20FE-5B79-2D271DE75887}"/>
              </a:ext>
            </a:extLst>
          </p:cNvPr>
          <p:cNvSpPr>
            <a:spLocks noChangeAspect="1" noChangeArrowheads="1"/>
          </p:cNvSpPr>
          <p:nvPr userDrawn="1"/>
        </p:nvSpPr>
        <p:spPr bwMode="auto">
          <a:xfrm>
            <a:off x="1159317" y="1771805"/>
            <a:ext cx="370130" cy="370130"/>
          </a:xfrm>
          <a:custGeom>
            <a:avLst/>
            <a:gdLst>
              <a:gd name="T0" fmla="*/ 2147483646 w 810"/>
              <a:gd name="T1" fmla="*/ 2147483646 h 810"/>
              <a:gd name="T2" fmla="*/ 2147483646 w 810"/>
              <a:gd name="T3" fmla="*/ 2147483646 h 810"/>
              <a:gd name="T4" fmla="*/ 2147483646 w 810"/>
              <a:gd name="T5" fmla="*/ 2147483646 h 810"/>
              <a:gd name="T6" fmla="*/ 2147483646 w 810"/>
              <a:gd name="T7" fmla="*/ 2147483646 h 810"/>
              <a:gd name="T8" fmla="*/ 2147483646 w 810"/>
              <a:gd name="T9" fmla="*/ 2147483646 h 810"/>
              <a:gd name="T10" fmla="*/ 2147483646 w 810"/>
              <a:gd name="T11" fmla="*/ 2147483646 h 810"/>
              <a:gd name="T12" fmla="*/ 2147483646 w 810"/>
              <a:gd name="T13" fmla="*/ 2147483646 h 810"/>
              <a:gd name="T14" fmla="*/ 2147483646 w 810"/>
              <a:gd name="T15" fmla="*/ 2147483646 h 810"/>
              <a:gd name="T16" fmla="*/ 2147483646 w 810"/>
              <a:gd name="T17" fmla="*/ 2147483646 h 810"/>
              <a:gd name="T18" fmla="*/ 2147483646 w 810"/>
              <a:gd name="T19" fmla="*/ 2147483646 h 810"/>
              <a:gd name="T20" fmla="*/ 2147483646 w 810"/>
              <a:gd name="T21" fmla="*/ 2147483646 h 810"/>
              <a:gd name="T22" fmla="*/ 2147483646 w 810"/>
              <a:gd name="T23" fmla="*/ 2147483646 h 810"/>
              <a:gd name="T24" fmla="*/ 2147483646 w 810"/>
              <a:gd name="T25" fmla="*/ 2147483646 h 810"/>
              <a:gd name="T26" fmla="*/ 2147483646 w 810"/>
              <a:gd name="T27" fmla="*/ 2147483646 h 810"/>
              <a:gd name="T28" fmla="*/ 2147483646 w 810"/>
              <a:gd name="T29" fmla="*/ 2147483646 h 810"/>
              <a:gd name="T30" fmla="*/ 2147483646 w 810"/>
              <a:gd name="T31" fmla="*/ 2147483646 h 810"/>
              <a:gd name="T32" fmla="*/ 2147483646 w 810"/>
              <a:gd name="T33" fmla="*/ 2147483646 h 810"/>
              <a:gd name="T34" fmla="*/ 2147483646 w 810"/>
              <a:gd name="T35" fmla="*/ 2147483646 h 810"/>
              <a:gd name="T36" fmla="*/ 2147483646 w 810"/>
              <a:gd name="T37" fmla="*/ 2147483646 h 810"/>
              <a:gd name="T38" fmla="*/ 2147483646 w 810"/>
              <a:gd name="T39" fmla="*/ 2147483646 h 810"/>
              <a:gd name="T40" fmla="*/ 2147483646 w 810"/>
              <a:gd name="T41" fmla="*/ 2147483646 h 810"/>
              <a:gd name="T42" fmla="*/ 2147483646 w 810"/>
              <a:gd name="T43" fmla="*/ 2147483646 h 810"/>
              <a:gd name="T44" fmla="*/ 2147483646 w 810"/>
              <a:gd name="T45" fmla="*/ 2147483646 h 810"/>
              <a:gd name="T46" fmla="*/ 2147483646 w 810"/>
              <a:gd name="T47" fmla="*/ 2147483646 h 810"/>
              <a:gd name="T48" fmla="*/ 2147483646 w 810"/>
              <a:gd name="T49" fmla="*/ 2147483646 h 810"/>
              <a:gd name="T50" fmla="*/ 2147483646 w 810"/>
              <a:gd name="T51" fmla="*/ 2147483646 h 810"/>
              <a:gd name="T52" fmla="*/ 2147483646 w 810"/>
              <a:gd name="T53" fmla="*/ 2147483646 h 810"/>
              <a:gd name="T54" fmla="*/ 2147483646 w 810"/>
              <a:gd name="T55" fmla="*/ 2147483646 h 810"/>
              <a:gd name="T56" fmla="*/ 2147483646 w 810"/>
              <a:gd name="T57" fmla="*/ 2147483646 h 810"/>
              <a:gd name="T58" fmla="*/ 2147483646 w 810"/>
              <a:gd name="T59" fmla="*/ 2147483646 h 810"/>
              <a:gd name="T60" fmla="*/ 2147483646 w 810"/>
              <a:gd name="T61" fmla="*/ 2147483646 h 810"/>
              <a:gd name="T62" fmla="*/ 2147483646 w 810"/>
              <a:gd name="T63" fmla="*/ 2147483646 h 810"/>
              <a:gd name="T64" fmla="*/ 2147483646 w 810"/>
              <a:gd name="T65" fmla="*/ 2147483646 h 810"/>
              <a:gd name="T66" fmla="*/ 2147483646 w 810"/>
              <a:gd name="T67" fmla="*/ 2147483646 h 810"/>
              <a:gd name="T68" fmla="*/ 2147483646 w 810"/>
              <a:gd name="T69" fmla="*/ 2147483646 h 810"/>
              <a:gd name="T70" fmla="*/ 2147483646 w 810"/>
              <a:gd name="T71" fmla="*/ 2147483646 h 810"/>
              <a:gd name="T72" fmla="*/ 2147483646 w 810"/>
              <a:gd name="T73" fmla="*/ 2147483646 h 810"/>
              <a:gd name="T74" fmla="*/ 2147483646 w 810"/>
              <a:gd name="T75" fmla="*/ 2147483646 h 810"/>
              <a:gd name="T76" fmla="*/ 2147483646 w 810"/>
              <a:gd name="T77" fmla="*/ 2147483646 h 810"/>
              <a:gd name="T78" fmla="*/ 2147483646 w 810"/>
              <a:gd name="T79" fmla="*/ 2147483646 h 810"/>
              <a:gd name="T80" fmla="*/ 2147483646 w 810"/>
              <a:gd name="T81" fmla="*/ 2147483646 h 810"/>
              <a:gd name="T82" fmla="*/ 2147483646 w 810"/>
              <a:gd name="T83" fmla="*/ 2147483646 h 810"/>
              <a:gd name="T84" fmla="*/ 2147483646 w 810"/>
              <a:gd name="T85" fmla="*/ 2147483646 h 810"/>
              <a:gd name="T86" fmla="*/ 2147483646 w 810"/>
              <a:gd name="T87" fmla="*/ 2147483646 h 810"/>
              <a:gd name="T88" fmla="*/ 2147483646 w 810"/>
              <a:gd name="T89" fmla="*/ 2147483646 h 810"/>
              <a:gd name="T90" fmla="*/ 2147483646 w 810"/>
              <a:gd name="T91" fmla="*/ 2147483646 h 810"/>
              <a:gd name="T92" fmla="*/ 2147483646 w 810"/>
              <a:gd name="T93" fmla="*/ 2147483646 h 810"/>
              <a:gd name="T94" fmla="*/ 2147483646 w 810"/>
              <a:gd name="T95" fmla="*/ 2147483646 h 810"/>
              <a:gd name="T96" fmla="*/ 2147483646 w 810"/>
              <a:gd name="T97" fmla="*/ 2147483646 h 810"/>
              <a:gd name="T98" fmla="*/ 2147483646 w 810"/>
              <a:gd name="T99" fmla="*/ 2147483646 h 810"/>
              <a:gd name="T100" fmla="*/ 2147483646 w 810"/>
              <a:gd name="T101" fmla="*/ 2147483646 h 810"/>
              <a:gd name="T102" fmla="*/ 2147483646 w 810"/>
              <a:gd name="T103" fmla="*/ 2147483646 h 810"/>
              <a:gd name="T104" fmla="*/ 2147483646 w 810"/>
              <a:gd name="T105" fmla="*/ 2147483646 h 810"/>
              <a:gd name="T106" fmla="*/ 2147483646 w 810"/>
              <a:gd name="T107" fmla="*/ 0 h 810"/>
              <a:gd name="T108" fmla="*/ 2147483646 w 810"/>
              <a:gd name="T109" fmla="*/ 0 h 810"/>
              <a:gd name="T110" fmla="*/ 2147483646 w 810"/>
              <a:gd name="T111" fmla="*/ 2147483646 h 810"/>
              <a:gd name="T112" fmla="*/ 2147483646 w 810"/>
              <a:gd name="T113" fmla="*/ 2147483646 h 810"/>
              <a:gd name="T114" fmla="*/ 2147483646 w 810"/>
              <a:gd name="T115" fmla="*/ 2147483646 h 810"/>
              <a:gd name="T116" fmla="*/ 0 w 810"/>
              <a:gd name="T117" fmla="*/ 2147483646 h 810"/>
              <a:gd name="T118" fmla="*/ 2147483646 w 810"/>
              <a:gd name="T119" fmla="*/ 2147483646 h 810"/>
              <a:gd name="T120" fmla="*/ 2147483646 w 810"/>
              <a:gd name="T121" fmla="*/ 2147483646 h 810"/>
              <a:gd name="T122" fmla="*/ 2147483646 w 810"/>
              <a:gd name="T123" fmla="*/ 2147483646 h 810"/>
              <a:gd name="T124" fmla="*/ 2147483646 w 810"/>
              <a:gd name="T125" fmla="*/ 2147483646 h 8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10" h="810">
                <a:moveTo>
                  <a:pt x="784" y="654"/>
                </a:moveTo>
                <a:lnTo>
                  <a:pt x="784" y="654"/>
                </a:lnTo>
                <a:cubicBezTo>
                  <a:pt x="715" y="660"/>
                  <a:pt x="660" y="715"/>
                  <a:pt x="654" y="784"/>
                </a:cubicBezTo>
                <a:lnTo>
                  <a:pt x="155" y="784"/>
                </a:lnTo>
                <a:cubicBezTo>
                  <a:pt x="149" y="715"/>
                  <a:pt x="94" y="660"/>
                  <a:pt x="25" y="654"/>
                </a:cubicBezTo>
                <a:lnTo>
                  <a:pt x="25" y="243"/>
                </a:lnTo>
                <a:lnTo>
                  <a:pt x="78" y="401"/>
                </a:lnTo>
                <a:cubicBezTo>
                  <a:pt x="91" y="440"/>
                  <a:pt x="126" y="465"/>
                  <a:pt x="166" y="465"/>
                </a:cubicBezTo>
                <a:lnTo>
                  <a:pt x="180" y="465"/>
                </a:lnTo>
                <a:lnTo>
                  <a:pt x="180" y="478"/>
                </a:lnTo>
                <a:cubicBezTo>
                  <a:pt x="180" y="512"/>
                  <a:pt x="207" y="540"/>
                  <a:pt x="241" y="540"/>
                </a:cubicBezTo>
                <a:cubicBezTo>
                  <a:pt x="275" y="540"/>
                  <a:pt x="302" y="512"/>
                  <a:pt x="302" y="478"/>
                </a:cubicBezTo>
                <a:lnTo>
                  <a:pt x="302" y="465"/>
                </a:lnTo>
                <a:lnTo>
                  <a:pt x="506" y="465"/>
                </a:lnTo>
                <a:lnTo>
                  <a:pt x="506" y="478"/>
                </a:lnTo>
                <a:cubicBezTo>
                  <a:pt x="506" y="512"/>
                  <a:pt x="534" y="540"/>
                  <a:pt x="568" y="540"/>
                </a:cubicBezTo>
                <a:cubicBezTo>
                  <a:pt x="602" y="540"/>
                  <a:pt x="629" y="512"/>
                  <a:pt x="629" y="478"/>
                </a:cubicBezTo>
                <a:lnTo>
                  <a:pt x="629" y="465"/>
                </a:lnTo>
                <a:lnTo>
                  <a:pt x="642" y="465"/>
                </a:lnTo>
                <a:cubicBezTo>
                  <a:pt x="683" y="465"/>
                  <a:pt x="718" y="440"/>
                  <a:pt x="731" y="401"/>
                </a:cubicBezTo>
                <a:lnTo>
                  <a:pt x="784" y="243"/>
                </a:lnTo>
                <a:lnTo>
                  <a:pt x="784" y="654"/>
                </a:lnTo>
                <a:close/>
                <a:moveTo>
                  <a:pt x="784" y="747"/>
                </a:moveTo>
                <a:lnTo>
                  <a:pt x="784" y="747"/>
                </a:lnTo>
                <a:cubicBezTo>
                  <a:pt x="784" y="768"/>
                  <a:pt x="768" y="784"/>
                  <a:pt x="748" y="784"/>
                </a:cubicBezTo>
                <a:lnTo>
                  <a:pt x="679" y="784"/>
                </a:lnTo>
                <a:cubicBezTo>
                  <a:pt x="684" y="729"/>
                  <a:pt x="729" y="684"/>
                  <a:pt x="784" y="679"/>
                </a:cubicBezTo>
                <a:lnTo>
                  <a:pt x="784" y="747"/>
                </a:lnTo>
                <a:close/>
                <a:moveTo>
                  <a:pt x="61" y="784"/>
                </a:moveTo>
                <a:lnTo>
                  <a:pt x="61" y="784"/>
                </a:lnTo>
                <a:cubicBezTo>
                  <a:pt x="41" y="784"/>
                  <a:pt x="25" y="768"/>
                  <a:pt x="25" y="747"/>
                </a:cubicBezTo>
                <a:lnTo>
                  <a:pt x="25" y="679"/>
                </a:lnTo>
                <a:cubicBezTo>
                  <a:pt x="80" y="684"/>
                  <a:pt x="125" y="729"/>
                  <a:pt x="130" y="784"/>
                </a:cubicBezTo>
                <a:lnTo>
                  <a:pt x="61" y="784"/>
                </a:lnTo>
                <a:close/>
                <a:moveTo>
                  <a:pt x="278" y="425"/>
                </a:moveTo>
                <a:lnTo>
                  <a:pt x="278" y="478"/>
                </a:lnTo>
                <a:cubicBezTo>
                  <a:pt x="278" y="498"/>
                  <a:pt x="261" y="515"/>
                  <a:pt x="241" y="515"/>
                </a:cubicBezTo>
                <a:cubicBezTo>
                  <a:pt x="221" y="515"/>
                  <a:pt x="205" y="498"/>
                  <a:pt x="205" y="478"/>
                </a:cubicBezTo>
                <a:lnTo>
                  <a:pt x="205" y="425"/>
                </a:lnTo>
                <a:lnTo>
                  <a:pt x="278" y="425"/>
                </a:lnTo>
                <a:close/>
                <a:moveTo>
                  <a:pt x="604" y="425"/>
                </a:moveTo>
                <a:lnTo>
                  <a:pt x="604" y="478"/>
                </a:lnTo>
                <a:cubicBezTo>
                  <a:pt x="604" y="498"/>
                  <a:pt x="588" y="515"/>
                  <a:pt x="568" y="515"/>
                </a:cubicBezTo>
                <a:cubicBezTo>
                  <a:pt x="548" y="515"/>
                  <a:pt x="531" y="498"/>
                  <a:pt x="531" y="478"/>
                </a:cubicBezTo>
                <a:lnTo>
                  <a:pt x="531" y="425"/>
                </a:lnTo>
                <a:lnTo>
                  <a:pt x="604" y="425"/>
                </a:lnTo>
                <a:close/>
                <a:moveTo>
                  <a:pt x="32" y="138"/>
                </a:moveTo>
                <a:lnTo>
                  <a:pt x="32" y="138"/>
                </a:lnTo>
                <a:cubicBezTo>
                  <a:pt x="38" y="128"/>
                  <a:pt x="49" y="123"/>
                  <a:pt x="61" y="123"/>
                </a:cubicBezTo>
                <a:lnTo>
                  <a:pt x="747" y="123"/>
                </a:lnTo>
                <a:cubicBezTo>
                  <a:pt x="760" y="123"/>
                  <a:pt x="770" y="128"/>
                  <a:pt x="777" y="138"/>
                </a:cubicBezTo>
                <a:cubicBezTo>
                  <a:pt x="784" y="148"/>
                  <a:pt x="786" y="159"/>
                  <a:pt x="783" y="171"/>
                </a:cubicBezTo>
                <a:lnTo>
                  <a:pt x="708" y="394"/>
                </a:lnTo>
                <a:cubicBezTo>
                  <a:pt x="698" y="422"/>
                  <a:pt x="672" y="441"/>
                  <a:pt x="642" y="441"/>
                </a:cubicBezTo>
                <a:lnTo>
                  <a:pt x="629" y="441"/>
                </a:lnTo>
                <a:lnTo>
                  <a:pt x="629" y="412"/>
                </a:lnTo>
                <a:cubicBezTo>
                  <a:pt x="629" y="406"/>
                  <a:pt x="624" y="400"/>
                  <a:pt x="617" y="400"/>
                </a:cubicBezTo>
                <a:lnTo>
                  <a:pt x="519" y="400"/>
                </a:lnTo>
                <a:cubicBezTo>
                  <a:pt x="512" y="400"/>
                  <a:pt x="506" y="406"/>
                  <a:pt x="506" y="412"/>
                </a:cubicBezTo>
                <a:lnTo>
                  <a:pt x="506" y="441"/>
                </a:lnTo>
                <a:lnTo>
                  <a:pt x="302" y="441"/>
                </a:lnTo>
                <a:lnTo>
                  <a:pt x="302" y="412"/>
                </a:lnTo>
                <a:cubicBezTo>
                  <a:pt x="302" y="406"/>
                  <a:pt x="297" y="400"/>
                  <a:pt x="290" y="400"/>
                </a:cubicBezTo>
                <a:lnTo>
                  <a:pt x="192" y="400"/>
                </a:lnTo>
                <a:cubicBezTo>
                  <a:pt x="185" y="400"/>
                  <a:pt x="180" y="406"/>
                  <a:pt x="180" y="412"/>
                </a:cubicBezTo>
                <a:lnTo>
                  <a:pt x="180" y="441"/>
                </a:lnTo>
                <a:lnTo>
                  <a:pt x="166" y="441"/>
                </a:lnTo>
                <a:cubicBezTo>
                  <a:pt x="137" y="441"/>
                  <a:pt x="110" y="422"/>
                  <a:pt x="101" y="394"/>
                </a:cubicBezTo>
                <a:lnTo>
                  <a:pt x="27" y="171"/>
                </a:lnTo>
                <a:cubicBezTo>
                  <a:pt x="23" y="159"/>
                  <a:pt x="25" y="148"/>
                  <a:pt x="32" y="138"/>
                </a:cubicBezTo>
                <a:close/>
                <a:moveTo>
                  <a:pt x="253" y="78"/>
                </a:moveTo>
                <a:lnTo>
                  <a:pt x="253" y="78"/>
                </a:lnTo>
                <a:cubicBezTo>
                  <a:pt x="253" y="48"/>
                  <a:pt x="277" y="24"/>
                  <a:pt x="306" y="24"/>
                </a:cubicBezTo>
                <a:lnTo>
                  <a:pt x="502" y="24"/>
                </a:lnTo>
                <a:cubicBezTo>
                  <a:pt x="532" y="24"/>
                  <a:pt x="556" y="48"/>
                  <a:pt x="556" y="78"/>
                </a:cubicBezTo>
                <a:lnTo>
                  <a:pt x="556" y="98"/>
                </a:lnTo>
                <a:lnTo>
                  <a:pt x="253" y="98"/>
                </a:lnTo>
                <a:lnTo>
                  <a:pt x="253" y="78"/>
                </a:lnTo>
                <a:close/>
                <a:moveTo>
                  <a:pt x="797" y="124"/>
                </a:moveTo>
                <a:lnTo>
                  <a:pt x="797" y="124"/>
                </a:lnTo>
                <a:cubicBezTo>
                  <a:pt x="785" y="107"/>
                  <a:pt x="767" y="98"/>
                  <a:pt x="747" y="98"/>
                </a:cubicBezTo>
                <a:lnTo>
                  <a:pt x="580" y="98"/>
                </a:lnTo>
                <a:lnTo>
                  <a:pt x="580" y="78"/>
                </a:lnTo>
                <a:cubicBezTo>
                  <a:pt x="580" y="35"/>
                  <a:pt x="545" y="0"/>
                  <a:pt x="502" y="0"/>
                </a:cubicBezTo>
                <a:lnTo>
                  <a:pt x="306" y="0"/>
                </a:lnTo>
                <a:cubicBezTo>
                  <a:pt x="264" y="0"/>
                  <a:pt x="229" y="35"/>
                  <a:pt x="229" y="78"/>
                </a:cubicBezTo>
                <a:lnTo>
                  <a:pt x="229" y="98"/>
                </a:lnTo>
                <a:lnTo>
                  <a:pt x="61" y="98"/>
                </a:lnTo>
                <a:cubicBezTo>
                  <a:pt x="41" y="98"/>
                  <a:pt x="24" y="107"/>
                  <a:pt x="12" y="124"/>
                </a:cubicBezTo>
                <a:cubicBezTo>
                  <a:pt x="4" y="135"/>
                  <a:pt x="0" y="148"/>
                  <a:pt x="0" y="161"/>
                </a:cubicBezTo>
                <a:lnTo>
                  <a:pt x="0" y="747"/>
                </a:lnTo>
                <a:cubicBezTo>
                  <a:pt x="0" y="782"/>
                  <a:pt x="28" y="809"/>
                  <a:pt x="61" y="809"/>
                </a:cubicBezTo>
                <a:lnTo>
                  <a:pt x="748" y="809"/>
                </a:lnTo>
                <a:cubicBezTo>
                  <a:pt x="781" y="809"/>
                  <a:pt x="809" y="782"/>
                  <a:pt x="809" y="747"/>
                </a:cubicBezTo>
                <a:lnTo>
                  <a:pt x="809" y="161"/>
                </a:lnTo>
                <a:cubicBezTo>
                  <a:pt x="809" y="148"/>
                  <a:pt x="805" y="135"/>
                  <a:pt x="797" y="124"/>
                </a:cubicBezTo>
                <a:close/>
              </a:path>
            </a:pathLst>
          </a:custGeom>
          <a:solidFill>
            <a:schemeClr val="bg1"/>
          </a:solidFill>
          <a:ln>
            <a:noFill/>
          </a:ln>
          <a:effectLst/>
        </p:spPr>
        <p:txBody>
          <a:bodyPr wrap="none" anchor="ctr"/>
          <a:lstStyle/>
          <a:p>
            <a:endParaRPr lang="en-US" sz="900">
              <a:latin typeface="Lato Light" panose="020F0502020204030203" pitchFamily="34" charset="0"/>
            </a:endParaRPr>
          </a:p>
        </p:txBody>
      </p:sp>
      <p:sp>
        <p:nvSpPr>
          <p:cNvPr id="19" name="Freeform 216">
            <a:extLst>
              <a:ext uri="{FF2B5EF4-FFF2-40B4-BE49-F238E27FC236}">
                <a16:creationId xmlns:a16="http://schemas.microsoft.com/office/drawing/2014/main" id="{69C85BBF-92B6-CD5E-A5FE-ECB982FEF3CB}"/>
              </a:ext>
            </a:extLst>
          </p:cNvPr>
          <p:cNvSpPr>
            <a:spLocks noChangeArrowheads="1"/>
          </p:cNvSpPr>
          <p:nvPr userDrawn="1"/>
        </p:nvSpPr>
        <p:spPr bwMode="auto">
          <a:xfrm>
            <a:off x="2432701" y="2255927"/>
            <a:ext cx="986702" cy="986702"/>
          </a:xfrm>
          <a:custGeom>
            <a:avLst/>
            <a:gdLst>
              <a:gd name="T0" fmla="*/ 801 w 1314"/>
              <a:gd name="T1" fmla="*/ 79 h 1313"/>
              <a:gd name="T2" fmla="*/ 1233 w 1314"/>
              <a:gd name="T3" fmla="*/ 512 h 1313"/>
              <a:gd name="T4" fmla="*/ 1233 w 1314"/>
              <a:gd name="T5" fmla="*/ 512 h 1313"/>
              <a:gd name="T6" fmla="*/ 1233 w 1314"/>
              <a:gd name="T7" fmla="*/ 800 h 1313"/>
              <a:gd name="T8" fmla="*/ 801 w 1314"/>
              <a:gd name="T9" fmla="*/ 1232 h 1313"/>
              <a:gd name="T10" fmla="*/ 801 w 1314"/>
              <a:gd name="T11" fmla="*/ 1232 h 1313"/>
              <a:gd name="T12" fmla="*/ 512 w 1314"/>
              <a:gd name="T13" fmla="*/ 1232 h 1313"/>
              <a:gd name="T14" fmla="*/ 80 w 1314"/>
              <a:gd name="T15" fmla="*/ 800 h 1313"/>
              <a:gd name="T16" fmla="*/ 80 w 1314"/>
              <a:gd name="T17" fmla="*/ 800 h 1313"/>
              <a:gd name="T18" fmla="*/ 80 w 1314"/>
              <a:gd name="T19" fmla="*/ 512 h 1313"/>
              <a:gd name="T20" fmla="*/ 512 w 1314"/>
              <a:gd name="T21" fmla="*/ 79 h 1313"/>
              <a:gd name="T22" fmla="*/ 512 w 1314"/>
              <a:gd name="T23" fmla="*/ 79 h 1313"/>
              <a:gd name="T24" fmla="*/ 801 w 1314"/>
              <a:gd name="T25" fmla="*/ 79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4" h="1313">
                <a:moveTo>
                  <a:pt x="801" y="79"/>
                </a:moveTo>
                <a:lnTo>
                  <a:pt x="1233" y="512"/>
                </a:lnTo>
                <a:lnTo>
                  <a:pt x="1233" y="512"/>
                </a:lnTo>
                <a:cubicBezTo>
                  <a:pt x="1313" y="591"/>
                  <a:pt x="1313" y="720"/>
                  <a:pt x="1233" y="800"/>
                </a:cubicBezTo>
                <a:lnTo>
                  <a:pt x="801" y="1232"/>
                </a:lnTo>
                <a:lnTo>
                  <a:pt x="801" y="1232"/>
                </a:lnTo>
                <a:cubicBezTo>
                  <a:pt x="721" y="1312"/>
                  <a:pt x="592" y="1312"/>
                  <a:pt x="512" y="1232"/>
                </a:cubicBezTo>
                <a:lnTo>
                  <a:pt x="80" y="800"/>
                </a:lnTo>
                <a:lnTo>
                  <a:pt x="80" y="800"/>
                </a:lnTo>
                <a:cubicBezTo>
                  <a:pt x="0" y="720"/>
                  <a:pt x="0" y="591"/>
                  <a:pt x="80" y="512"/>
                </a:cubicBezTo>
                <a:lnTo>
                  <a:pt x="512" y="79"/>
                </a:lnTo>
                <a:lnTo>
                  <a:pt x="512" y="79"/>
                </a:lnTo>
                <a:cubicBezTo>
                  <a:pt x="592" y="0"/>
                  <a:pt x="721" y="0"/>
                  <a:pt x="801" y="79"/>
                </a:cubicBezTo>
              </a:path>
            </a:pathLst>
          </a:custGeom>
          <a:solidFill>
            <a:schemeClr val="accent2"/>
          </a:solidFill>
          <a:ln>
            <a:noFill/>
          </a:ln>
          <a:effectLst/>
        </p:spPr>
        <p:txBody>
          <a:bodyPr wrap="none" anchor="ctr"/>
          <a:lstStyle/>
          <a:p>
            <a:endParaRPr lang="en-US" sz="3265">
              <a:latin typeface="Lato Light" panose="020F0502020204030203" pitchFamily="34" charset="0"/>
            </a:endParaRPr>
          </a:p>
        </p:txBody>
      </p:sp>
      <p:sp>
        <p:nvSpPr>
          <p:cNvPr id="20" name="Freeform 933">
            <a:extLst>
              <a:ext uri="{FF2B5EF4-FFF2-40B4-BE49-F238E27FC236}">
                <a16:creationId xmlns:a16="http://schemas.microsoft.com/office/drawing/2014/main" id="{D7EE7A7A-FD13-61F8-099B-40C289EA23D1}"/>
              </a:ext>
            </a:extLst>
          </p:cNvPr>
          <p:cNvSpPr>
            <a:spLocks noChangeAspect="1" noChangeArrowheads="1"/>
          </p:cNvSpPr>
          <p:nvPr userDrawn="1"/>
        </p:nvSpPr>
        <p:spPr bwMode="auto">
          <a:xfrm>
            <a:off x="2740985" y="2576403"/>
            <a:ext cx="370131" cy="345750"/>
          </a:xfrm>
          <a:custGeom>
            <a:avLst/>
            <a:gdLst>
              <a:gd name="T0" fmla="*/ 10084954 w 291412"/>
              <a:gd name="T1" fmla="*/ 45492634 h 272690"/>
              <a:gd name="T2" fmla="*/ 18604109 w 291412"/>
              <a:gd name="T3" fmla="*/ 47286187 h 272690"/>
              <a:gd name="T4" fmla="*/ 17011509 w 291412"/>
              <a:gd name="T5" fmla="*/ 52432592 h 272690"/>
              <a:gd name="T6" fmla="*/ 24655008 w 291412"/>
              <a:gd name="T7" fmla="*/ 50639051 h 272690"/>
              <a:gd name="T8" fmla="*/ 30865306 w 291412"/>
              <a:gd name="T9" fmla="*/ 57189479 h 272690"/>
              <a:gd name="T10" fmla="*/ 36518120 w 291412"/>
              <a:gd name="T11" fmla="*/ 51964853 h 272690"/>
              <a:gd name="T12" fmla="*/ 45196345 w 291412"/>
              <a:gd name="T13" fmla="*/ 54537932 h 272690"/>
              <a:gd name="T14" fmla="*/ 47186986 w 291412"/>
              <a:gd name="T15" fmla="*/ 48455792 h 272690"/>
              <a:gd name="T16" fmla="*/ 55706032 w 291412"/>
              <a:gd name="T17" fmla="*/ 45414427 h 272690"/>
              <a:gd name="T18" fmla="*/ 59845949 w 291412"/>
              <a:gd name="T19" fmla="*/ 41203582 h 272690"/>
              <a:gd name="T20" fmla="*/ 54670837 w 291412"/>
              <a:gd name="T21" fmla="*/ 47052109 h 272690"/>
              <a:gd name="T22" fmla="*/ 51088336 w 291412"/>
              <a:gd name="T23" fmla="*/ 52666648 h 272690"/>
              <a:gd name="T24" fmla="*/ 41294932 w 291412"/>
              <a:gd name="T25" fmla="*/ 52744406 h 272690"/>
              <a:gd name="T26" fmla="*/ 30865306 w 291412"/>
              <a:gd name="T27" fmla="*/ 59138586 h 272690"/>
              <a:gd name="T28" fmla="*/ 23221945 w 291412"/>
              <a:gd name="T29" fmla="*/ 55318191 h 272690"/>
              <a:gd name="T30" fmla="*/ 15260308 w 291412"/>
              <a:gd name="T31" fmla="*/ 50795034 h 272690"/>
              <a:gd name="T32" fmla="*/ 9527805 w 291412"/>
              <a:gd name="T33" fmla="*/ 47363776 h 272690"/>
              <a:gd name="T34" fmla="*/ 20902552 w 291412"/>
              <a:gd name="T35" fmla="*/ 36312252 h 272690"/>
              <a:gd name="T36" fmla="*/ 44757441 w 291412"/>
              <a:gd name="T37" fmla="*/ 36312252 h 272690"/>
              <a:gd name="T38" fmla="*/ 9638742 w 291412"/>
              <a:gd name="T39" fmla="*/ 33099928 h 272690"/>
              <a:gd name="T40" fmla="*/ 9638742 w 291412"/>
              <a:gd name="T41" fmla="*/ 26039728 h 272690"/>
              <a:gd name="T42" fmla="*/ 18043261 w 291412"/>
              <a:gd name="T43" fmla="*/ 29143062 h 272690"/>
              <a:gd name="T44" fmla="*/ 9073068 w 291412"/>
              <a:gd name="T45" fmla="*/ 35039317 h 272690"/>
              <a:gd name="T46" fmla="*/ 8184059 w 291412"/>
              <a:gd name="T47" fmla="*/ 24565518 h 272690"/>
              <a:gd name="T48" fmla="*/ 11568182 w 291412"/>
              <a:gd name="T49" fmla="*/ 38962426 h 272690"/>
              <a:gd name="T50" fmla="*/ 46033951 w 291412"/>
              <a:gd name="T51" fmla="*/ 34831082 h 272690"/>
              <a:gd name="T52" fmla="*/ 51777938 w 291412"/>
              <a:gd name="T53" fmla="*/ 34597452 h 272690"/>
              <a:gd name="T54" fmla="*/ 52655885 w 291412"/>
              <a:gd name="T55" fmla="*/ 24073988 h 272690"/>
              <a:gd name="T56" fmla="*/ 45236152 w 291412"/>
              <a:gd name="T57" fmla="*/ 24697619 h 272690"/>
              <a:gd name="T58" fmla="*/ 32790144 w 291412"/>
              <a:gd name="T59" fmla="*/ 14953572 h 272690"/>
              <a:gd name="T60" fmla="*/ 45475504 w 291412"/>
              <a:gd name="T61" fmla="*/ 21891310 h 272690"/>
              <a:gd name="T62" fmla="*/ 54012180 w 291412"/>
              <a:gd name="T63" fmla="*/ 18227647 h 272690"/>
              <a:gd name="T64" fmla="*/ 53214328 w 291412"/>
              <a:gd name="T65" fmla="*/ 26022589 h 272690"/>
              <a:gd name="T66" fmla="*/ 64383378 w 291412"/>
              <a:gd name="T67" fmla="*/ 33583948 h 272690"/>
              <a:gd name="T68" fmla="*/ 32790144 w 291412"/>
              <a:gd name="T69" fmla="*/ 46056081 h 272690"/>
              <a:gd name="T70" fmla="*/ 11568182 w 291412"/>
              <a:gd name="T71" fmla="*/ 18227647 h 272690"/>
              <a:gd name="T72" fmla="*/ 35244211 w 291412"/>
              <a:gd name="T73" fmla="*/ 0 h 272690"/>
              <a:gd name="T74" fmla="*/ 42887241 w 291412"/>
              <a:gd name="T75" fmla="*/ 3743152 h 272690"/>
              <a:gd name="T76" fmla="*/ 51088336 w 291412"/>
              <a:gd name="T77" fmla="*/ 6472255 h 272690"/>
              <a:gd name="T78" fmla="*/ 54670837 w 291412"/>
              <a:gd name="T79" fmla="*/ 12086946 h 272690"/>
              <a:gd name="T80" fmla="*/ 59845949 w 291412"/>
              <a:gd name="T81" fmla="*/ 17935004 h 272690"/>
              <a:gd name="T82" fmla="*/ 56024507 w 291412"/>
              <a:gd name="T83" fmla="*/ 13646193 h 272690"/>
              <a:gd name="T84" fmla="*/ 47425591 w 291412"/>
              <a:gd name="T85" fmla="*/ 11930930 h 272690"/>
              <a:gd name="T86" fmla="*/ 45196345 w 291412"/>
              <a:gd name="T87" fmla="*/ 4523147 h 272690"/>
              <a:gd name="T88" fmla="*/ 36518120 w 291412"/>
              <a:gd name="T89" fmla="*/ 7174160 h 272690"/>
              <a:gd name="T90" fmla="*/ 30865306 w 291412"/>
              <a:gd name="T91" fmla="*/ 1949612 h 272690"/>
              <a:gd name="T92" fmla="*/ 24655008 w 291412"/>
              <a:gd name="T93" fmla="*/ 8499776 h 272690"/>
              <a:gd name="T94" fmla="*/ 17011509 w 291412"/>
              <a:gd name="T95" fmla="*/ 6706268 h 272690"/>
              <a:gd name="T96" fmla="*/ 18604109 w 291412"/>
              <a:gd name="T97" fmla="*/ 11930930 h 272690"/>
              <a:gd name="T98" fmla="*/ 10084954 w 291412"/>
              <a:gd name="T99" fmla="*/ 13646193 h 272690"/>
              <a:gd name="T100" fmla="*/ 5865341 w 291412"/>
              <a:gd name="T101" fmla="*/ 16609484 h 272690"/>
              <a:gd name="T102" fmla="*/ 14065828 w 291412"/>
              <a:gd name="T103" fmla="*/ 13568377 h 272690"/>
              <a:gd name="T104" fmla="*/ 16135847 w 291412"/>
              <a:gd name="T105" fmla="*/ 5068522 h 272690"/>
              <a:gd name="T106" fmla="*/ 24734789 w 291412"/>
              <a:gd name="T107" fmla="*/ 6394152 h 27269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1412" h="272690">
                <a:moveTo>
                  <a:pt x="28276" y="189991"/>
                </a:moveTo>
                <a:cubicBezTo>
                  <a:pt x="30432" y="188912"/>
                  <a:pt x="32948" y="189631"/>
                  <a:pt x="34027" y="191789"/>
                </a:cubicBezTo>
                <a:lnTo>
                  <a:pt x="44091" y="208328"/>
                </a:lnTo>
                <a:cubicBezTo>
                  <a:pt x="44450" y="209407"/>
                  <a:pt x="45169" y="209767"/>
                  <a:pt x="45528" y="209767"/>
                </a:cubicBezTo>
                <a:cubicBezTo>
                  <a:pt x="45888" y="209767"/>
                  <a:pt x="46247" y="209767"/>
                  <a:pt x="46966" y="209407"/>
                </a:cubicBezTo>
                <a:lnTo>
                  <a:pt x="62422" y="200418"/>
                </a:lnTo>
                <a:cubicBezTo>
                  <a:pt x="64219" y="199339"/>
                  <a:pt x="66735" y="200059"/>
                  <a:pt x="67813" y="201497"/>
                </a:cubicBezTo>
                <a:cubicBezTo>
                  <a:pt x="72845" y="207609"/>
                  <a:pt x="78237" y="213003"/>
                  <a:pt x="83988" y="218037"/>
                </a:cubicBezTo>
                <a:cubicBezTo>
                  <a:pt x="85785" y="219115"/>
                  <a:pt x="86144" y="221632"/>
                  <a:pt x="85426" y="223430"/>
                </a:cubicBezTo>
                <a:lnTo>
                  <a:pt x="76440" y="238891"/>
                </a:lnTo>
                <a:cubicBezTo>
                  <a:pt x="76080" y="239611"/>
                  <a:pt x="76080" y="239970"/>
                  <a:pt x="76080" y="240330"/>
                </a:cubicBezTo>
                <a:cubicBezTo>
                  <a:pt x="76080" y="240689"/>
                  <a:pt x="76440" y="241408"/>
                  <a:pt x="76799" y="241768"/>
                </a:cubicBezTo>
                <a:lnTo>
                  <a:pt x="94052" y="251476"/>
                </a:lnTo>
                <a:cubicBezTo>
                  <a:pt x="95130" y="252195"/>
                  <a:pt x="96568" y="251836"/>
                  <a:pt x="96927" y="250757"/>
                </a:cubicBezTo>
                <a:lnTo>
                  <a:pt x="105913" y="235296"/>
                </a:lnTo>
                <a:cubicBezTo>
                  <a:pt x="106992" y="233498"/>
                  <a:pt x="109148" y="232779"/>
                  <a:pt x="111305" y="233498"/>
                </a:cubicBezTo>
                <a:cubicBezTo>
                  <a:pt x="118494" y="236374"/>
                  <a:pt x="126042" y="238172"/>
                  <a:pt x="133230" y="239611"/>
                </a:cubicBezTo>
                <a:cubicBezTo>
                  <a:pt x="135387" y="239970"/>
                  <a:pt x="137184" y="241768"/>
                  <a:pt x="137184" y="243925"/>
                </a:cubicBezTo>
                <a:lnTo>
                  <a:pt x="137184" y="261544"/>
                </a:lnTo>
                <a:cubicBezTo>
                  <a:pt x="137184" y="262623"/>
                  <a:pt x="137903" y="263701"/>
                  <a:pt x="139341" y="263701"/>
                </a:cubicBezTo>
                <a:lnTo>
                  <a:pt x="159110" y="263701"/>
                </a:lnTo>
                <a:cubicBezTo>
                  <a:pt x="160188" y="263701"/>
                  <a:pt x="161266" y="262623"/>
                  <a:pt x="161266" y="261544"/>
                </a:cubicBezTo>
                <a:lnTo>
                  <a:pt x="161266" y="243925"/>
                </a:lnTo>
                <a:cubicBezTo>
                  <a:pt x="161266" y="241768"/>
                  <a:pt x="162704" y="239970"/>
                  <a:pt x="164861" y="239611"/>
                </a:cubicBezTo>
                <a:cubicBezTo>
                  <a:pt x="172409" y="238172"/>
                  <a:pt x="179957" y="236374"/>
                  <a:pt x="187145" y="233498"/>
                </a:cubicBezTo>
                <a:cubicBezTo>
                  <a:pt x="188943" y="232779"/>
                  <a:pt x="191099" y="233498"/>
                  <a:pt x="192177" y="235296"/>
                </a:cubicBezTo>
                <a:lnTo>
                  <a:pt x="201163" y="250757"/>
                </a:lnTo>
                <a:cubicBezTo>
                  <a:pt x="201882" y="251836"/>
                  <a:pt x="202961" y="252195"/>
                  <a:pt x="204039" y="251476"/>
                </a:cubicBezTo>
                <a:lnTo>
                  <a:pt x="221292" y="241768"/>
                </a:lnTo>
                <a:cubicBezTo>
                  <a:pt x="221651" y="241408"/>
                  <a:pt x="222011" y="240689"/>
                  <a:pt x="222011" y="240330"/>
                </a:cubicBezTo>
                <a:cubicBezTo>
                  <a:pt x="222011" y="239970"/>
                  <a:pt x="222370" y="239611"/>
                  <a:pt x="222011" y="238891"/>
                </a:cubicBezTo>
                <a:lnTo>
                  <a:pt x="213025" y="223430"/>
                </a:lnTo>
                <a:cubicBezTo>
                  <a:pt x="211946" y="221632"/>
                  <a:pt x="212665" y="219115"/>
                  <a:pt x="214103" y="218037"/>
                </a:cubicBezTo>
                <a:cubicBezTo>
                  <a:pt x="220213" y="213003"/>
                  <a:pt x="225605" y="207609"/>
                  <a:pt x="230277" y="201497"/>
                </a:cubicBezTo>
                <a:cubicBezTo>
                  <a:pt x="231715" y="200059"/>
                  <a:pt x="234231" y="199339"/>
                  <a:pt x="236028" y="200418"/>
                </a:cubicBezTo>
                <a:lnTo>
                  <a:pt x="251484" y="209407"/>
                </a:lnTo>
                <a:cubicBezTo>
                  <a:pt x="251844" y="209767"/>
                  <a:pt x="252562" y="209767"/>
                  <a:pt x="252922" y="209767"/>
                </a:cubicBezTo>
                <a:cubicBezTo>
                  <a:pt x="253281" y="209767"/>
                  <a:pt x="254000" y="209407"/>
                  <a:pt x="254360" y="208328"/>
                </a:cubicBezTo>
                <a:lnTo>
                  <a:pt x="264064" y="191789"/>
                </a:lnTo>
                <a:cubicBezTo>
                  <a:pt x="265143" y="189631"/>
                  <a:pt x="268018" y="188912"/>
                  <a:pt x="270175" y="189991"/>
                </a:cubicBezTo>
                <a:cubicBezTo>
                  <a:pt x="272331" y="191069"/>
                  <a:pt x="272691" y="193586"/>
                  <a:pt x="271972" y="195744"/>
                </a:cubicBezTo>
                <a:lnTo>
                  <a:pt x="261908" y="213003"/>
                </a:lnTo>
                <a:cubicBezTo>
                  <a:pt x="260470" y="215520"/>
                  <a:pt x="257954" y="217318"/>
                  <a:pt x="255078" y="218396"/>
                </a:cubicBezTo>
                <a:cubicBezTo>
                  <a:pt x="252562" y="218756"/>
                  <a:pt x="249327" y="218396"/>
                  <a:pt x="246811" y="216958"/>
                </a:cubicBezTo>
                <a:lnTo>
                  <a:pt x="234591" y="210126"/>
                </a:lnTo>
                <a:cubicBezTo>
                  <a:pt x="230996" y="214441"/>
                  <a:pt x="227043" y="218396"/>
                  <a:pt x="222729" y="222351"/>
                </a:cubicBezTo>
                <a:lnTo>
                  <a:pt x="229559" y="234217"/>
                </a:lnTo>
                <a:cubicBezTo>
                  <a:pt x="230996" y="236734"/>
                  <a:pt x="231715" y="239970"/>
                  <a:pt x="230637" y="242847"/>
                </a:cubicBezTo>
                <a:cubicBezTo>
                  <a:pt x="229918" y="245364"/>
                  <a:pt x="228121" y="247881"/>
                  <a:pt x="225605" y="249319"/>
                </a:cubicBezTo>
                <a:lnTo>
                  <a:pt x="208352" y="259027"/>
                </a:lnTo>
                <a:cubicBezTo>
                  <a:pt x="203320" y="262263"/>
                  <a:pt x="196491" y="260465"/>
                  <a:pt x="193615" y="255072"/>
                </a:cubicBezTo>
                <a:lnTo>
                  <a:pt x="186427" y="243206"/>
                </a:lnTo>
                <a:cubicBezTo>
                  <a:pt x="181035" y="245004"/>
                  <a:pt x="175644" y="246442"/>
                  <a:pt x="170252" y="247521"/>
                </a:cubicBezTo>
                <a:lnTo>
                  <a:pt x="170252" y="261544"/>
                </a:lnTo>
                <a:cubicBezTo>
                  <a:pt x="170252" y="267297"/>
                  <a:pt x="164861" y="272690"/>
                  <a:pt x="159110" y="272690"/>
                </a:cubicBezTo>
                <a:lnTo>
                  <a:pt x="139341" y="272690"/>
                </a:lnTo>
                <a:cubicBezTo>
                  <a:pt x="133230" y="272690"/>
                  <a:pt x="128198" y="267297"/>
                  <a:pt x="128198" y="261544"/>
                </a:cubicBezTo>
                <a:lnTo>
                  <a:pt x="128198" y="247521"/>
                </a:lnTo>
                <a:cubicBezTo>
                  <a:pt x="122807" y="246442"/>
                  <a:pt x="117056" y="245004"/>
                  <a:pt x="111664" y="243206"/>
                </a:cubicBezTo>
                <a:lnTo>
                  <a:pt x="104835" y="255072"/>
                </a:lnTo>
                <a:cubicBezTo>
                  <a:pt x="101600" y="260465"/>
                  <a:pt x="94771" y="262263"/>
                  <a:pt x="89739" y="259027"/>
                </a:cubicBezTo>
                <a:lnTo>
                  <a:pt x="72845" y="249319"/>
                </a:lnTo>
                <a:cubicBezTo>
                  <a:pt x="70329" y="247881"/>
                  <a:pt x="68173" y="245364"/>
                  <a:pt x="67454" y="242847"/>
                </a:cubicBezTo>
                <a:cubicBezTo>
                  <a:pt x="66735" y="239970"/>
                  <a:pt x="67454" y="236734"/>
                  <a:pt x="68892" y="234217"/>
                </a:cubicBezTo>
                <a:lnTo>
                  <a:pt x="75721" y="222351"/>
                </a:lnTo>
                <a:cubicBezTo>
                  <a:pt x="71408" y="218396"/>
                  <a:pt x="67454" y="214441"/>
                  <a:pt x="63500" y="210126"/>
                </a:cubicBezTo>
                <a:lnTo>
                  <a:pt x="51279" y="216958"/>
                </a:lnTo>
                <a:cubicBezTo>
                  <a:pt x="49123" y="218396"/>
                  <a:pt x="45888" y="218756"/>
                  <a:pt x="43012" y="218396"/>
                </a:cubicBezTo>
                <a:cubicBezTo>
                  <a:pt x="40137" y="217318"/>
                  <a:pt x="37980" y="215520"/>
                  <a:pt x="36543" y="213003"/>
                </a:cubicBezTo>
                <a:lnTo>
                  <a:pt x="26478" y="195744"/>
                </a:lnTo>
                <a:cubicBezTo>
                  <a:pt x="25400" y="193586"/>
                  <a:pt x="26119" y="191069"/>
                  <a:pt x="28276" y="189991"/>
                </a:cubicBezTo>
                <a:close/>
                <a:moveTo>
                  <a:pt x="94365" y="167436"/>
                </a:moveTo>
                <a:cubicBezTo>
                  <a:pt x="93285" y="168874"/>
                  <a:pt x="91844" y="170312"/>
                  <a:pt x="90764" y="171390"/>
                </a:cubicBezTo>
                <a:cubicBezTo>
                  <a:pt x="102649" y="190800"/>
                  <a:pt x="123900" y="203739"/>
                  <a:pt x="148031" y="203739"/>
                </a:cubicBezTo>
                <a:cubicBezTo>
                  <a:pt x="172163" y="203739"/>
                  <a:pt x="193413" y="190800"/>
                  <a:pt x="205659" y="171390"/>
                </a:cubicBezTo>
                <a:cubicBezTo>
                  <a:pt x="204218" y="170312"/>
                  <a:pt x="202777" y="168874"/>
                  <a:pt x="202057" y="167436"/>
                </a:cubicBezTo>
                <a:lnTo>
                  <a:pt x="94365" y="167436"/>
                </a:lnTo>
                <a:close/>
                <a:moveTo>
                  <a:pt x="43514" y="120069"/>
                </a:moveTo>
                <a:lnTo>
                  <a:pt x="34028" y="136167"/>
                </a:lnTo>
                <a:lnTo>
                  <a:pt x="43514" y="152624"/>
                </a:lnTo>
                <a:lnTo>
                  <a:pt x="62850" y="152624"/>
                </a:lnTo>
                <a:lnTo>
                  <a:pt x="72335" y="136167"/>
                </a:lnTo>
                <a:lnTo>
                  <a:pt x="62850" y="120069"/>
                </a:lnTo>
                <a:lnTo>
                  <a:pt x="43514" y="120069"/>
                </a:lnTo>
                <a:close/>
                <a:moveTo>
                  <a:pt x="40960" y="111125"/>
                </a:moveTo>
                <a:lnTo>
                  <a:pt x="65403" y="111125"/>
                </a:lnTo>
                <a:cubicBezTo>
                  <a:pt x="67227" y="111125"/>
                  <a:pt x="68322" y="111841"/>
                  <a:pt x="69052" y="113271"/>
                </a:cubicBezTo>
                <a:lnTo>
                  <a:pt x="81456" y="134379"/>
                </a:lnTo>
                <a:cubicBezTo>
                  <a:pt x="82185" y="135452"/>
                  <a:pt x="82185" y="137241"/>
                  <a:pt x="81456" y="138671"/>
                </a:cubicBezTo>
                <a:lnTo>
                  <a:pt x="69052" y="159421"/>
                </a:lnTo>
                <a:cubicBezTo>
                  <a:pt x="68322" y="160494"/>
                  <a:pt x="67227" y="161567"/>
                  <a:pt x="65403" y="161567"/>
                </a:cubicBezTo>
                <a:lnTo>
                  <a:pt x="40960" y="161567"/>
                </a:lnTo>
                <a:cubicBezTo>
                  <a:pt x="39136" y="161567"/>
                  <a:pt x="37677" y="160494"/>
                  <a:pt x="36947" y="159421"/>
                </a:cubicBezTo>
                <a:lnTo>
                  <a:pt x="24543" y="138671"/>
                </a:lnTo>
                <a:cubicBezTo>
                  <a:pt x="23813" y="137241"/>
                  <a:pt x="23813" y="135452"/>
                  <a:pt x="24543" y="134379"/>
                </a:cubicBezTo>
                <a:lnTo>
                  <a:pt x="36947" y="113271"/>
                </a:lnTo>
                <a:cubicBezTo>
                  <a:pt x="37677" y="111841"/>
                  <a:pt x="39136" y="111125"/>
                  <a:pt x="40960" y="111125"/>
                </a:cubicBezTo>
                <a:close/>
                <a:moveTo>
                  <a:pt x="52225" y="92674"/>
                </a:moveTo>
                <a:cubicBezTo>
                  <a:pt x="28454" y="92674"/>
                  <a:pt x="8644" y="112443"/>
                  <a:pt x="8644" y="136166"/>
                </a:cubicBezTo>
                <a:cubicBezTo>
                  <a:pt x="8644" y="160248"/>
                  <a:pt x="28454" y="179657"/>
                  <a:pt x="52225" y="179657"/>
                </a:cubicBezTo>
                <a:cubicBezTo>
                  <a:pt x="66632" y="179657"/>
                  <a:pt x="79958" y="172468"/>
                  <a:pt x="88242" y="160607"/>
                </a:cubicBezTo>
                <a:cubicBezTo>
                  <a:pt x="88963" y="159529"/>
                  <a:pt x="90403" y="158810"/>
                  <a:pt x="91844" y="158810"/>
                </a:cubicBezTo>
                <a:lnTo>
                  <a:pt x="204218" y="158810"/>
                </a:lnTo>
                <a:cubicBezTo>
                  <a:pt x="205659" y="158810"/>
                  <a:pt x="207099" y="159529"/>
                  <a:pt x="207820" y="160607"/>
                </a:cubicBezTo>
                <a:cubicBezTo>
                  <a:pt x="216104" y="172468"/>
                  <a:pt x="229430" y="179657"/>
                  <a:pt x="243837" y="179657"/>
                </a:cubicBezTo>
                <a:cubicBezTo>
                  <a:pt x="258244" y="179657"/>
                  <a:pt x="271210" y="173187"/>
                  <a:pt x="279134" y="161685"/>
                </a:cubicBezTo>
                <a:lnTo>
                  <a:pt x="237714" y="161685"/>
                </a:lnTo>
                <a:cubicBezTo>
                  <a:pt x="236273" y="161685"/>
                  <a:pt x="234833" y="160607"/>
                  <a:pt x="233752" y="159529"/>
                </a:cubicBezTo>
                <a:lnTo>
                  <a:pt x="221866" y="138682"/>
                </a:lnTo>
                <a:cubicBezTo>
                  <a:pt x="220786" y="137244"/>
                  <a:pt x="220786" y="135447"/>
                  <a:pt x="221866" y="134368"/>
                </a:cubicBezTo>
                <a:lnTo>
                  <a:pt x="233752" y="113162"/>
                </a:lnTo>
                <a:cubicBezTo>
                  <a:pt x="234833" y="111724"/>
                  <a:pt x="236273" y="111005"/>
                  <a:pt x="237714" y="111005"/>
                </a:cubicBezTo>
                <a:lnTo>
                  <a:pt x="279134" y="111005"/>
                </a:lnTo>
                <a:cubicBezTo>
                  <a:pt x="271210" y="99863"/>
                  <a:pt x="258244" y="92674"/>
                  <a:pt x="243837" y="92674"/>
                </a:cubicBezTo>
                <a:cubicBezTo>
                  <a:pt x="229430" y="92674"/>
                  <a:pt x="216104" y="99863"/>
                  <a:pt x="207820" y="111724"/>
                </a:cubicBezTo>
                <a:cubicBezTo>
                  <a:pt x="207099" y="113162"/>
                  <a:pt x="205659" y="113881"/>
                  <a:pt x="204218" y="113881"/>
                </a:cubicBezTo>
                <a:lnTo>
                  <a:pt x="91844" y="113881"/>
                </a:lnTo>
                <a:cubicBezTo>
                  <a:pt x="90403" y="113881"/>
                  <a:pt x="88963" y="113162"/>
                  <a:pt x="88242" y="111724"/>
                </a:cubicBezTo>
                <a:cubicBezTo>
                  <a:pt x="79958" y="99863"/>
                  <a:pt x="66632" y="92674"/>
                  <a:pt x="52225" y="92674"/>
                </a:cubicBezTo>
                <a:close/>
                <a:moveTo>
                  <a:pt x="148031" y="68951"/>
                </a:moveTo>
                <a:cubicBezTo>
                  <a:pt x="123900" y="68951"/>
                  <a:pt x="102649" y="81891"/>
                  <a:pt x="90764" y="100941"/>
                </a:cubicBezTo>
                <a:cubicBezTo>
                  <a:pt x="92204" y="102379"/>
                  <a:pt x="93285" y="103457"/>
                  <a:pt x="94365" y="104895"/>
                </a:cubicBezTo>
                <a:lnTo>
                  <a:pt x="202057" y="104895"/>
                </a:lnTo>
                <a:cubicBezTo>
                  <a:pt x="202777" y="103457"/>
                  <a:pt x="204218" y="102379"/>
                  <a:pt x="205299" y="100941"/>
                </a:cubicBezTo>
                <a:cubicBezTo>
                  <a:pt x="193413" y="81891"/>
                  <a:pt x="172163" y="68951"/>
                  <a:pt x="148031" y="68951"/>
                </a:cubicBezTo>
                <a:close/>
                <a:moveTo>
                  <a:pt x="148031" y="60325"/>
                </a:moveTo>
                <a:cubicBezTo>
                  <a:pt x="174684" y="60325"/>
                  <a:pt x="198455" y="73984"/>
                  <a:pt x="212142" y="94831"/>
                </a:cubicBezTo>
                <a:cubicBezTo>
                  <a:pt x="221146" y="88001"/>
                  <a:pt x="231951" y="84048"/>
                  <a:pt x="243837" y="84048"/>
                </a:cubicBezTo>
                <a:cubicBezTo>
                  <a:pt x="264007" y="84048"/>
                  <a:pt x="282015" y="95190"/>
                  <a:pt x="291020" y="113521"/>
                </a:cubicBezTo>
                <a:cubicBezTo>
                  <a:pt x="291740" y="114600"/>
                  <a:pt x="291380" y="116397"/>
                  <a:pt x="290659" y="117834"/>
                </a:cubicBezTo>
                <a:cubicBezTo>
                  <a:pt x="289939" y="118913"/>
                  <a:pt x="288498" y="119991"/>
                  <a:pt x="287058" y="119991"/>
                </a:cubicBezTo>
                <a:lnTo>
                  <a:pt x="240235" y="119991"/>
                </a:lnTo>
                <a:lnTo>
                  <a:pt x="230871" y="136166"/>
                </a:lnTo>
                <a:lnTo>
                  <a:pt x="240235" y="152700"/>
                </a:lnTo>
                <a:lnTo>
                  <a:pt x="287058" y="152700"/>
                </a:lnTo>
                <a:cubicBezTo>
                  <a:pt x="288498" y="152700"/>
                  <a:pt x="289939" y="153418"/>
                  <a:pt x="290659" y="154856"/>
                </a:cubicBezTo>
                <a:cubicBezTo>
                  <a:pt x="291380" y="156294"/>
                  <a:pt x="291740" y="157732"/>
                  <a:pt x="291020" y="159169"/>
                </a:cubicBezTo>
                <a:cubicBezTo>
                  <a:pt x="282015" y="177141"/>
                  <a:pt x="264007" y="188643"/>
                  <a:pt x="243837" y="188643"/>
                </a:cubicBezTo>
                <a:cubicBezTo>
                  <a:pt x="231951" y="188643"/>
                  <a:pt x="221146" y="184689"/>
                  <a:pt x="212142" y="177860"/>
                </a:cubicBezTo>
                <a:cubicBezTo>
                  <a:pt x="198455" y="198707"/>
                  <a:pt x="174684" y="212366"/>
                  <a:pt x="148031" y="212366"/>
                </a:cubicBezTo>
                <a:cubicBezTo>
                  <a:pt x="121378" y="212366"/>
                  <a:pt x="97967" y="198707"/>
                  <a:pt x="84281" y="177860"/>
                </a:cubicBezTo>
                <a:cubicBezTo>
                  <a:pt x="75276" y="184689"/>
                  <a:pt x="64111" y="188643"/>
                  <a:pt x="52225" y="188643"/>
                </a:cubicBezTo>
                <a:cubicBezTo>
                  <a:pt x="23411" y="188643"/>
                  <a:pt x="0" y="164920"/>
                  <a:pt x="0" y="136166"/>
                </a:cubicBezTo>
                <a:cubicBezTo>
                  <a:pt x="0" y="107770"/>
                  <a:pt x="23411" y="84048"/>
                  <a:pt x="52225" y="84048"/>
                </a:cubicBezTo>
                <a:cubicBezTo>
                  <a:pt x="64111" y="84048"/>
                  <a:pt x="75276" y="88001"/>
                  <a:pt x="84281" y="95190"/>
                </a:cubicBezTo>
                <a:cubicBezTo>
                  <a:pt x="97967" y="73984"/>
                  <a:pt x="121378" y="60325"/>
                  <a:pt x="148031" y="60325"/>
                </a:cubicBezTo>
                <a:close/>
                <a:moveTo>
                  <a:pt x="139341" y="0"/>
                </a:moveTo>
                <a:lnTo>
                  <a:pt x="159110" y="0"/>
                </a:lnTo>
                <a:cubicBezTo>
                  <a:pt x="164861" y="0"/>
                  <a:pt x="170252" y="5034"/>
                  <a:pt x="170252" y="11146"/>
                </a:cubicBezTo>
                <a:lnTo>
                  <a:pt x="170252" y="25169"/>
                </a:lnTo>
                <a:cubicBezTo>
                  <a:pt x="175644" y="26248"/>
                  <a:pt x="181035" y="27686"/>
                  <a:pt x="186427" y="29484"/>
                </a:cubicBezTo>
                <a:lnTo>
                  <a:pt x="193615" y="17259"/>
                </a:lnTo>
                <a:cubicBezTo>
                  <a:pt x="195053" y="14742"/>
                  <a:pt x="197210" y="13304"/>
                  <a:pt x="200085" y="12225"/>
                </a:cubicBezTo>
                <a:cubicBezTo>
                  <a:pt x="202961" y="11506"/>
                  <a:pt x="205836" y="11865"/>
                  <a:pt x="208352" y="13304"/>
                </a:cubicBezTo>
                <a:lnTo>
                  <a:pt x="225605" y="23371"/>
                </a:lnTo>
                <a:cubicBezTo>
                  <a:pt x="228121" y="24810"/>
                  <a:pt x="229918" y="26967"/>
                  <a:pt x="230637" y="29843"/>
                </a:cubicBezTo>
                <a:cubicBezTo>
                  <a:pt x="231715" y="32720"/>
                  <a:pt x="230996" y="35596"/>
                  <a:pt x="229559" y="38473"/>
                </a:cubicBezTo>
                <a:lnTo>
                  <a:pt x="222729" y="50338"/>
                </a:lnTo>
                <a:cubicBezTo>
                  <a:pt x="227043" y="53934"/>
                  <a:pt x="230996" y="58249"/>
                  <a:pt x="234591" y="62563"/>
                </a:cubicBezTo>
                <a:lnTo>
                  <a:pt x="246811" y="55732"/>
                </a:lnTo>
                <a:cubicBezTo>
                  <a:pt x="249327" y="53934"/>
                  <a:pt x="252562" y="53574"/>
                  <a:pt x="255078" y="54653"/>
                </a:cubicBezTo>
                <a:cubicBezTo>
                  <a:pt x="257954" y="55013"/>
                  <a:pt x="260470" y="57170"/>
                  <a:pt x="261908" y="59687"/>
                </a:cubicBezTo>
                <a:lnTo>
                  <a:pt x="271972" y="76586"/>
                </a:lnTo>
                <a:cubicBezTo>
                  <a:pt x="272691" y="78744"/>
                  <a:pt x="272331" y="81261"/>
                  <a:pt x="270175" y="82699"/>
                </a:cubicBezTo>
                <a:cubicBezTo>
                  <a:pt x="269456" y="83058"/>
                  <a:pt x="268737" y="83418"/>
                  <a:pt x="268018" y="83418"/>
                </a:cubicBezTo>
                <a:cubicBezTo>
                  <a:pt x="266221" y="83418"/>
                  <a:pt x="264783" y="82339"/>
                  <a:pt x="264064" y="81261"/>
                </a:cubicBezTo>
                <a:lnTo>
                  <a:pt x="254360" y="64002"/>
                </a:lnTo>
                <a:cubicBezTo>
                  <a:pt x="254000" y="63283"/>
                  <a:pt x="253281" y="62923"/>
                  <a:pt x="252922" y="62923"/>
                </a:cubicBezTo>
                <a:cubicBezTo>
                  <a:pt x="252562" y="62563"/>
                  <a:pt x="251844" y="62563"/>
                  <a:pt x="251484" y="63283"/>
                </a:cubicBezTo>
                <a:lnTo>
                  <a:pt x="236028" y="71912"/>
                </a:lnTo>
                <a:cubicBezTo>
                  <a:pt x="234231" y="72991"/>
                  <a:pt x="231715" y="72631"/>
                  <a:pt x="230277" y="71193"/>
                </a:cubicBezTo>
                <a:cubicBezTo>
                  <a:pt x="225605" y="65080"/>
                  <a:pt x="220213" y="59687"/>
                  <a:pt x="214103" y="55013"/>
                </a:cubicBezTo>
                <a:cubicBezTo>
                  <a:pt x="212665" y="53574"/>
                  <a:pt x="211946" y="51057"/>
                  <a:pt x="213025" y="49260"/>
                </a:cubicBezTo>
                <a:lnTo>
                  <a:pt x="222011" y="33799"/>
                </a:lnTo>
                <a:cubicBezTo>
                  <a:pt x="222729" y="32720"/>
                  <a:pt x="222011" y="31641"/>
                  <a:pt x="221292" y="30922"/>
                </a:cubicBezTo>
                <a:lnTo>
                  <a:pt x="204039" y="20854"/>
                </a:lnTo>
                <a:cubicBezTo>
                  <a:pt x="202961" y="20495"/>
                  <a:pt x="201882" y="20854"/>
                  <a:pt x="201163" y="21933"/>
                </a:cubicBezTo>
                <a:lnTo>
                  <a:pt x="192177" y="37035"/>
                </a:lnTo>
                <a:cubicBezTo>
                  <a:pt x="191099" y="39192"/>
                  <a:pt x="188943" y="39911"/>
                  <a:pt x="187145" y="39192"/>
                </a:cubicBezTo>
                <a:cubicBezTo>
                  <a:pt x="179957" y="36316"/>
                  <a:pt x="172409" y="34158"/>
                  <a:pt x="164861" y="33079"/>
                </a:cubicBezTo>
                <a:cubicBezTo>
                  <a:pt x="162704" y="32720"/>
                  <a:pt x="161266" y="30922"/>
                  <a:pt x="161266" y="28765"/>
                </a:cubicBezTo>
                <a:lnTo>
                  <a:pt x="161266" y="11146"/>
                </a:lnTo>
                <a:cubicBezTo>
                  <a:pt x="161266" y="10068"/>
                  <a:pt x="160188" y="8989"/>
                  <a:pt x="159110" y="8989"/>
                </a:cubicBezTo>
                <a:lnTo>
                  <a:pt x="139341" y="8989"/>
                </a:lnTo>
                <a:cubicBezTo>
                  <a:pt x="137903" y="8989"/>
                  <a:pt x="137184" y="10068"/>
                  <a:pt x="137184" y="11146"/>
                </a:cubicBezTo>
                <a:lnTo>
                  <a:pt x="137184" y="28765"/>
                </a:lnTo>
                <a:cubicBezTo>
                  <a:pt x="137184" y="30922"/>
                  <a:pt x="135387" y="32720"/>
                  <a:pt x="133230" y="33079"/>
                </a:cubicBezTo>
                <a:cubicBezTo>
                  <a:pt x="126042" y="34158"/>
                  <a:pt x="118494" y="36316"/>
                  <a:pt x="111305" y="39192"/>
                </a:cubicBezTo>
                <a:cubicBezTo>
                  <a:pt x="109148" y="39911"/>
                  <a:pt x="106992" y="39192"/>
                  <a:pt x="105913" y="37035"/>
                </a:cubicBezTo>
                <a:lnTo>
                  <a:pt x="96927" y="21933"/>
                </a:lnTo>
                <a:cubicBezTo>
                  <a:pt x="96568" y="20854"/>
                  <a:pt x="95130" y="20495"/>
                  <a:pt x="94052" y="20854"/>
                </a:cubicBezTo>
                <a:lnTo>
                  <a:pt x="76799" y="30922"/>
                </a:lnTo>
                <a:cubicBezTo>
                  <a:pt x="76440" y="31282"/>
                  <a:pt x="76080" y="32001"/>
                  <a:pt x="76080" y="32001"/>
                </a:cubicBezTo>
                <a:cubicBezTo>
                  <a:pt x="76080" y="32720"/>
                  <a:pt x="76080" y="33079"/>
                  <a:pt x="76440" y="33799"/>
                </a:cubicBezTo>
                <a:lnTo>
                  <a:pt x="85426" y="49260"/>
                </a:lnTo>
                <a:cubicBezTo>
                  <a:pt x="86144" y="51057"/>
                  <a:pt x="85785" y="53574"/>
                  <a:pt x="83988" y="55013"/>
                </a:cubicBezTo>
                <a:cubicBezTo>
                  <a:pt x="78237" y="59687"/>
                  <a:pt x="72845" y="65080"/>
                  <a:pt x="67813" y="71193"/>
                </a:cubicBezTo>
                <a:cubicBezTo>
                  <a:pt x="66735" y="72631"/>
                  <a:pt x="64219" y="72991"/>
                  <a:pt x="62422" y="71912"/>
                </a:cubicBezTo>
                <a:lnTo>
                  <a:pt x="46966" y="63283"/>
                </a:lnTo>
                <a:cubicBezTo>
                  <a:pt x="46247" y="62563"/>
                  <a:pt x="45888" y="62563"/>
                  <a:pt x="45528" y="62923"/>
                </a:cubicBezTo>
                <a:cubicBezTo>
                  <a:pt x="45169" y="62923"/>
                  <a:pt x="44450" y="63283"/>
                  <a:pt x="44091" y="64002"/>
                </a:cubicBezTo>
                <a:lnTo>
                  <a:pt x="34027" y="81261"/>
                </a:lnTo>
                <a:cubicBezTo>
                  <a:pt x="32948" y="83418"/>
                  <a:pt x="30432" y="83777"/>
                  <a:pt x="28276" y="82699"/>
                </a:cubicBezTo>
                <a:cubicBezTo>
                  <a:pt x="26119" y="81261"/>
                  <a:pt x="25400" y="78744"/>
                  <a:pt x="26478" y="76586"/>
                </a:cubicBezTo>
                <a:lnTo>
                  <a:pt x="36543" y="59687"/>
                </a:lnTo>
                <a:cubicBezTo>
                  <a:pt x="37980" y="57170"/>
                  <a:pt x="40137" y="55013"/>
                  <a:pt x="43012" y="54653"/>
                </a:cubicBezTo>
                <a:cubicBezTo>
                  <a:pt x="45888" y="53574"/>
                  <a:pt x="49123" y="53934"/>
                  <a:pt x="51279" y="55732"/>
                </a:cubicBezTo>
                <a:lnTo>
                  <a:pt x="63500" y="62563"/>
                </a:lnTo>
                <a:cubicBezTo>
                  <a:pt x="67454" y="58249"/>
                  <a:pt x="71408" y="53934"/>
                  <a:pt x="75721" y="50338"/>
                </a:cubicBezTo>
                <a:lnTo>
                  <a:pt x="68892" y="38473"/>
                </a:lnTo>
                <a:cubicBezTo>
                  <a:pt x="67454" y="35596"/>
                  <a:pt x="66735" y="32720"/>
                  <a:pt x="67454" y="29843"/>
                </a:cubicBezTo>
                <a:cubicBezTo>
                  <a:pt x="68173" y="26967"/>
                  <a:pt x="70329" y="24810"/>
                  <a:pt x="72845" y="23371"/>
                </a:cubicBezTo>
                <a:lnTo>
                  <a:pt x="89739" y="13304"/>
                </a:lnTo>
                <a:cubicBezTo>
                  <a:pt x="92255" y="11865"/>
                  <a:pt x="95490" y="11506"/>
                  <a:pt x="98006" y="12225"/>
                </a:cubicBezTo>
                <a:cubicBezTo>
                  <a:pt x="100881" y="13304"/>
                  <a:pt x="103397" y="14742"/>
                  <a:pt x="104835" y="17259"/>
                </a:cubicBezTo>
                <a:lnTo>
                  <a:pt x="111664" y="29484"/>
                </a:lnTo>
                <a:cubicBezTo>
                  <a:pt x="117056" y="27686"/>
                  <a:pt x="122807" y="26248"/>
                  <a:pt x="128198" y="25169"/>
                </a:cubicBezTo>
                <a:lnTo>
                  <a:pt x="128198" y="11146"/>
                </a:lnTo>
                <a:cubicBezTo>
                  <a:pt x="128198" y="5034"/>
                  <a:pt x="133230" y="0"/>
                  <a:pt x="139341" y="0"/>
                </a:cubicBezTo>
                <a:close/>
              </a:path>
            </a:pathLst>
          </a:custGeom>
          <a:solidFill>
            <a:schemeClr val="bg1"/>
          </a:solidFill>
          <a:ln>
            <a:noFill/>
          </a:ln>
          <a:effectLst/>
        </p:spPr>
        <p:txBody>
          <a:bodyPr anchor="ctr"/>
          <a:lstStyle/>
          <a:p>
            <a:endParaRPr lang="en-US" sz="900">
              <a:latin typeface="Lato Light" panose="020F0502020204030203" pitchFamily="34" charset="0"/>
            </a:endParaRPr>
          </a:p>
        </p:txBody>
      </p:sp>
      <p:sp>
        <p:nvSpPr>
          <p:cNvPr id="21" name="Freeform 216">
            <a:extLst>
              <a:ext uri="{FF2B5EF4-FFF2-40B4-BE49-F238E27FC236}">
                <a16:creationId xmlns:a16="http://schemas.microsoft.com/office/drawing/2014/main" id="{C757DF94-A30E-5AF4-D68A-F2E1E755DC5B}"/>
              </a:ext>
            </a:extLst>
          </p:cNvPr>
          <p:cNvSpPr>
            <a:spLocks noChangeArrowheads="1"/>
          </p:cNvSpPr>
          <p:nvPr userDrawn="1"/>
        </p:nvSpPr>
        <p:spPr bwMode="auto">
          <a:xfrm>
            <a:off x="5716726" y="4790342"/>
            <a:ext cx="986702" cy="986702"/>
          </a:xfrm>
          <a:custGeom>
            <a:avLst/>
            <a:gdLst>
              <a:gd name="T0" fmla="*/ 801 w 1314"/>
              <a:gd name="T1" fmla="*/ 79 h 1313"/>
              <a:gd name="T2" fmla="*/ 1233 w 1314"/>
              <a:gd name="T3" fmla="*/ 512 h 1313"/>
              <a:gd name="T4" fmla="*/ 1233 w 1314"/>
              <a:gd name="T5" fmla="*/ 512 h 1313"/>
              <a:gd name="T6" fmla="*/ 1233 w 1314"/>
              <a:gd name="T7" fmla="*/ 800 h 1313"/>
              <a:gd name="T8" fmla="*/ 801 w 1314"/>
              <a:gd name="T9" fmla="*/ 1232 h 1313"/>
              <a:gd name="T10" fmla="*/ 801 w 1314"/>
              <a:gd name="T11" fmla="*/ 1232 h 1313"/>
              <a:gd name="T12" fmla="*/ 512 w 1314"/>
              <a:gd name="T13" fmla="*/ 1232 h 1313"/>
              <a:gd name="T14" fmla="*/ 80 w 1314"/>
              <a:gd name="T15" fmla="*/ 800 h 1313"/>
              <a:gd name="T16" fmla="*/ 80 w 1314"/>
              <a:gd name="T17" fmla="*/ 800 h 1313"/>
              <a:gd name="T18" fmla="*/ 80 w 1314"/>
              <a:gd name="T19" fmla="*/ 512 h 1313"/>
              <a:gd name="T20" fmla="*/ 512 w 1314"/>
              <a:gd name="T21" fmla="*/ 79 h 1313"/>
              <a:gd name="T22" fmla="*/ 512 w 1314"/>
              <a:gd name="T23" fmla="*/ 79 h 1313"/>
              <a:gd name="T24" fmla="*/ 801 w 1314"/>
              <a:gd name="T25" fmla="*/ 79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4" h="1313">
                <a:moveTo>
                  <a:pt x="801" y="79"/>
                </a:moveTo>
                <a:lnTo>
                  <a:pt x="1233" y="512"/>
                </a:lnTo>
                <a:lnTo>
                  <a:pt x="1233" y="512"/>
                </a:lnTo>
                <a:cubicBezTo>
                  <a:pt x="1313" y="591"/>
                  <a:pt x="1313" y="720"/>
                  <a:pt x="1233" y="800"/>
                </a:cubicBezTo>
                <a:lnTo>
                  <a:pt x="801" y="1232"/>
                </a:lnTo>
                <a:lnTo>
                  <a:pt x="801" y="1232"/>
                </a:lnTo>
                <a:cubicBezTo>
                  <a:pt x="721" y="1312"/>
                  <a:pt x="592" y="1312"/>
                  <a:pt x="512" y="1232"/>
                </a:cubicBezTo>
                <a:lnTo>
                  <a:pt x="80" y="800"/>
                </a:lnTo>
                <a:lnTo>
                  <a:pt x="80" y="800"/>
                </a:lnTo>
                <a:cubicBezTo>
                  <a:pt x="0" y="720"/>
                  <a:pt x="0" y="591"/>
                  <a:pt x="80" y="512"/>
                </a:cubicBezTo>
                <a:lnTo>
                  <a:pt x="512" y="79"/>
                </a:lnTo>
                <a:lnTo>
                  <a:pt x="512" y="79"/>
                </a:lnTo>
                <a:cubicBezTo>
                  <a:pt x="592" y="0"/>
                  <a:pt x="721" y="0"/>
                  <a:pt x="801" y="79"/>
                </a:cubicBezTo>
              </a:path>
            </a:pathLst>
          </a:custGeom>
          <a:solidFill>
            <a:schemeClr val="accent4"/>
          </a:solidFill>
          <a:ln>
            <a:noFill/>
          </a:ln>
          <a:effectLst/>
        </p:spPr>
        <p:txBody>
          <a:bodyPr wrap="none" anchor="ctr"/>
          <a:lstStyle/>
          <a:p>
            <a:endParaRPr lang="en-US" sz="3265"/>
          </a:p>
        </p:txBody>
      </p:sp>
      <p:sp>
        <p:nvSpPr>
          <p:cNvPr id="22" name="Freeform 45">
            <a:extLst>
              <a:ext uri="{FF2B5EF4-FFF2-40B4-BE49-F238E27FC236}">
                <a16:creationId xmlns:a16="http://schemas.microsoft.com/office/drawing/2014/main" id="{ECBB7B16-61E4-8A15-FBA5-B82E046AD147}"/>
              </a:ext>
            </a:extLst>
          </p:cNvPr>
          <p:cNvSpPr>
            <a:spLocks noChangeAspect="1" noChangeArrowheads="1"/>
          </p:cNvSpPr>
          <p:nvPr userDrawn="1"/>
        </p:nvSpPr>
        <p:spPr bwMode="auto">
          <a:xfrm>
            <a:off x="6019831" y="5092876"/>
            <a:ext cx="380492" cy="381635"/>
          </a:xfrm>
          <a:custGeom>
            <a:avLst/>
            <a:gdLst>
              <a:gd name="T0" fmla="*/ 2147483646 w 811"/>
              <a:gd name="T1" fmla="*/ 2147483646 h 811"/>
              <a:gd name="T2" fmla="*/ 2147483646 w 811"/>
              <a:gd name="T3" fmla="*/ 2147483646 h 811"/>
              <a:gd name="T4" fmla="*/ 2147483646 w 811"/>
              <a:gd name="T5" fmla="*/ 2147483646 h 811"/>
              <a:gd name="T6" fmla="*/ 2147483646 w 811"/>
              <a:gd name="T7" fmla="*/ 2147483646 h 811"/>
              <a:gd name="T8" fmla="*/ 2147483646 w 811"/>
              <a:gd name="T9" fmla="*/ 2147483646 h 811"/>
              <a:gd name="T10" fmla="*/ 2147483646 w 811"/>
              <a:gd name="T11" fmla="*/ 2147483646 h 811"/>
              <a:gd name="T12" fmla="*/ 2147483646 w 811"/>
              <a:gd name="T13" fmla="*/ 2147483646 h 811"/>
              <a:gd name="T14" fmla="*/ 2147483646 w 811"/>
              <a:gd name="T15" fmla="*/ 2147483646 h 811"/>
              <a:gd name="T16" fmla="*/ 2147483646 w 811"/>
              <a:gd name="T17" fmla="*/ 2147483646 h 811"/>
              <a:gd name="T18" fmla="*/ 2147483646 w 811"/>
              <a:gd name="T19" fmla="*/ 2147483646 h 811"/>
              <a:gd name="T20" fmla="*/ 2147483646 w 811"/>
              <a:gd name="T21" fmla="*/ 2147483646 h 811"/>
              <a:gd name="T22" fmla="*/ 2147483646 w 811"/>
              <a:gd name="T23" fmla="*/ 2147483646 h 811"/>
              <a:gd name="T24" fmla="*/ 2147483646 w 811"/>
              <a:gd name="T25" fmla="*/ 2147483646 h 811"/>
              <a:gd name="T26" fmla="*/ 2147483646 w 811"/>
              <a:gd name="T27" fmla="*/ 2147483646 h 811"/>
              <a:gd name="T28" fmla="*/ 2147483646 w 811"/>
              <a:gd name="T29" fmla="*/ 2147483646 h 811"/>
              <a:gd name="T30" fmla="*/ 2147483646 w 811"/>
              <a:gd name="T31" fmla="*/ 2147483646 h 811"/>
              <a:gd name="T32" fmla="*/ 2147483646 w 811"/>
              <a:gd name="T33" fmla="*/ 2147483646 h 811"/>
              <a:gd name="T34" fmla="*/ 2147483646 w 811"/>
              <a:gd name="T35" fmla="*/ 2147483646 h 811"/>
              <a:gd name="T36" fmla="*/ 2147483646 w 811"/>
              <a:gd name="T37" fmla="*/ 2147483646 h 811"/>
              <a:gd name="T38" fmla="*/ 2147483646 w 811"/>
              <a:gd name="T39" fmla="*/ 2147483646 h 811"/>
              <a:gd name="T40" fmla="*/ 2147483646 w 811"/>
              <a:gd name="T41" fmla="*/ 2147483646 h 811"/>
              <a:gd name="T42" fmla="*/ 2147483646 w 811"/>
              <a:gd name="T43" fmla="*/ 2147483646 h 811"/>
              <a:gd name="T44" fmla="*/ 2147483646 w 811"/>
              <a:gd name="T45" fmla="*/ 2147483646 h 811"/>
              <a:gd name="T46" fmla="*/ 2147483646 w 811"/>
              <a:gd name="T47" fmla="*/ 2147483646 h 811"/>
              <a:gd name="T48" fmla="*/ 2147483646 w 811"/>
              <a:gd name="T49" fmla="*/ 2147483646 h 811"/>
              <a:gd name="T50" fmla="*/ 2147483646 w 811"/>
              <a:gd name="T51" fmla="*/ 2147483646 h 811"/>
              <a:gd name="T52" fmla="*/ 2147483646 w 811"/>
              <a:gd name="T53" fmla="*/ 2147483646 h 811"/>
              <a:gd name="T54" fmla="*/ 2147483646 w 811"/>
              <a:gd name="T55" fmla="*/ 2147483646 h 811"/>
              <a:gd name="T56" fmla="*/ 2147483646 w 811"/>
              <a:gd name="T57" fmla="*/ 2147483646 h 811"/>
              <a:gd name="T58" fmla="*/ 2147483646 w 811"/>
              <a:gd name="T59" fmla="*/ 2147483646 h 811"/>
              <a:gd name="T60" fmla="*/ 2147483646 w 811"/>
              <a:gd name="T61" fmla="*/ 2147483646 h 811"/>
              <a:gd name="T62" fmla="*/ 2147483646 w 811"/>
              <a:gd name="T63" fmla="*/ 2147483646 h 811"/>
              <a:gd name="T64" fmla="*/ 2147483646 w 811"/>
              <a:gd name="T65" fmla="*/ 2147483646 h 811"/>
              <a:gd name="T66" fmla="*/ 2147483646 w 811"/>
              <a:gd name="T67" fmla="*/ 2147483646 h 811"/>
              <a:gd name="T68" fmla="*/ 2147483646 w 811"/>
              <a:gd name="T69" fmla="*/ 2147483646 h 811"/>
              <a:gd name="T70" fmla="*/ 2147483646 w 811"/>
              <a:gd name="T71" fmla="*/ 2147483646 h 811"/>
              <a:gd name="T72" fmla="*/ 2147483646 w 811"/>
              <a:gd name="T73" fmla="*/ 2147483646 h 811"/>
              <a:gd name="T74" fmla="*/ 2147483646 w 811"/>
              <a:gd name="T75" fmla="*/ 2147483646 h 811"/>
              <a:gd name="T76" fmla="*/ 2147483646 w 811"/>
              <a:gd name="T77" fmla="*/ 2147483646 h 811"/>
              <a:gd name="T78" fmla="*/ 2147483646 w 811"/>
              <a:gd name="T79" fmla="*/ 2147483646 h 811"/>
              <a:gd name="T80" fmla="*/ 2147483646 w 811"/>
              <a:gd name="T81" fmla="*/ 2147483646 h 811"/>
              <a:gd name="T82" fmla="*/ 2147483646 w 811"/>
              <a:gd name="T83" fmla="*/ 2147483646 h 811"/>
              <a:gd name="T84" fmla="*/ 2147483646 w 811"/>
              <a:gd name="T85" fmla="*/ 2147483646 h 811"/>
              <a:gd name="T86" fmla="*/ 2147483646 w 811"/>
              <a:gd name="T87" fmla="*/ 2147483646 h 811"/>
              <a:gd name="T88" fmla="*/ 2147483646 w 811"/>
              <a:gd name="T89" fmla="*/ 2147483646 h 811"/>
              <a:gd name="T90" fmla="*/ 2147483646 w 811"/>
              <a:gd name="T91" fmla="*/ 2147483646 h 811"/>
              <a:gd name="T92" fmla="*/ 2147483646 w 811"/>
              <a:gd name="T93" fmla="*/ 2147483646 h 811"/>
              <a:gd name="T94" fmla="*/ 2147483646 w 811"/>
              <a:gd name="T95" fmla="*/ 2147483646 h 811"/>
              <a:gd name="T96" fmla="*/ 2147483646 w 811"/>
              <a:gd name="T97" fmla="*/ 2147483646 h 811"/>
              <a:gd name="T98" fmla="*/ 2147483646 w 811"/>
              <a:gd name="T99" fmla="*/ 2147483646 h 811"/>
              <a:gd name="T100" fmla="*/ 0 w 811"/>
              <a:gd name="T101" fmla="*/ 2147483646 h 811"/>
              <a:gd name="T102" fmla="*/ 2147483646 w 811"/>
              <a:gd name="T103" fmla="*/ 2147483646 h 811"/>
              <a:gd name="T104" fmla="*/ 2147483646 w 811"/>
              <a:gd name="T105" fmla="*/ 2147483646 h 8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11" h="811">
                <a:moveTo>
                  <a:pt x="784" y="393"/>
                </a:moveTo>
                <a:lnTo>
                  <a:pt x="686" y="393"/>
                </a:lnTo>
                <a:cubicBezTo>
                  <a:pt x="684" y="342"/>
                  <a:pt x="668" y="295"/>
                  <a:pt x="642" y="254"/>
                </a:cubicBezTo>
                <a:lnTo>
                  <a:pt x="666" y="254"/>
                </a:lnTo>
                <a:cubicBezTo>
                  <a:pt x="669" y="254"/>
                  <a:pt x="673" y="253"/>
                  <a:pt x="675" y="251"/>
                </a:cubicBezTo>
                <a:lnTo>
                  <a:pt x="724" y="201"/>
                </a:lnTo>
                <a:cubicBezTo>
                  <a:pt x="760" y="257"/>
                  <a:pt x="782" y="323"/>
                  <a:pt x="784" y="393"/>
                </a:cubicBezTo>
                <a:close/>
                <a:moveTo>
                  <a:pt x="417" y="785"/>
                </a:moveTo>
                <a:lnTo>
                  <a:pt x="417" y="686"/>
                </a:lnTo>
                <a:cubicBezTo>
                  <a:pt x="563" y="681"/>
                  <a:pt x="680" y="563"/>
                  <a:pt x="686" y="418"/>
                </a:cubicBezTo>
                <a:lnTo>
                  <a:pt x="784" y="418"/>
                </a:lnTo>
                <a:cubicBezTo>
                  <a:pt x="778" y="618"/>
                  <a:pt x="617" y="779"/>
                  <a:pt x="417" y="785"/>
                </a:cubicBezTo>
                <a:close/>
                <a:moveTo>
                  <a:pt x="25" y="418"/>
                </a:moveTo>
                <a:lnTo>
                  <a:pt x="123" y="418"/>
                </a:lnTo>
                <a:cubicBezTo>
                  <a:pt x="130" y="563"/>
                  <a:pt x="247" y="681"/>
                  <a:pt x="393" y="686"/>
                </a:cubicBezTo>
                <a:lnTo>
                  <a:pt x="393" y="785"/>
                </a:lnTo>
                <a:cubicBezTo>
                  <a:pt x="193" y="779"/>
                  <a:pt x="31" y="618"/>
                  <a:pt x="25" y="418"/>
                </a:cubicBezTo>
                <a:close/>
                <a:moveTo>
                  <a:pt x="393" y="26"/>
                </a:moveTo>
                <a:lnTo>
                  <a:pt x="393" y="124"/>
                </a:lnTo>
                <a:cubicBezTo>
                  <a:pt x="247" y="131"/>
                  <a:pt x="130" y="248"/>
                  <a:pt x="123" y="393"/>
                </a:cubicBezTo>
                <a:lnTo>
                  <a:pt x="25" y="393"/>
                </a:lnTo>
                <a:cubicBezTo>
                  <a:pt x="31" y="194"/>
                  <a:pt x="193" y="32"/>
                  <a:pt x="393" y="26"/>
                </a:cubicBezTo>
                <a:close/>
                <a:moveTo>
                  <a:pt x="559" y="135"/>
                </a:moveTo>
                <a:lnTo>
                  <a:pt x="559" y="135"/>
                </a:lnTo>
                <a:cubicBezTo>
                  <a:pt x="557" y="138"/>
                  <a:pt x="556" y="141"/>
                  <a:pt x="556" y="144"/>
                </a:cubicBezTo>
                <a:lnTo>
                  <a:pt x="556" y="168"/>
                </a:lnTo>
                <a:cubicBezTo>
                  <a:pt x="515" y="143"/>
                  <a:pt x="468" y="126"/>
                  <a:pt x="417" y="124"/>
                </a:cubicBezTo>
                <a:lnTo>
                  <a:pt x="417" y="26"/>
                </a:lnTo>
                <a:cubicBezTo>
                  <a:pt x="488" y="29"/>
                  <a:pt x="553" y="50"/>
                  <a:pt x="609" y="85"/>
                </a:cubicBezTo>
                <a:lnTo>
                  <a:pt x="559" y="135"/>
                </a:lnTo>
                <a:close/>
                <a:moveTo>
                  <a:pt x="563" y="393"/>
                </a:moveTo>
                <a:lnTo>
                  <a:pt x="563" y="393"/>
                </a:lnTo>
                <a:cubicBezTo>
                  <a:pt x="560" y="359"/>
                  <a:pt x="547" y="327"/>
                  <a:pt x="525" y="302"/>
                </a:cubicBezTo>
                <a:lnTo>
                  <a:pt x="573" y="254"/>
                </a:lnTo>
                <a:lnTo>
                  <a:pt x="612" y="254"/>
                </a:lnTo>
                <a:cubicBezTo>
                  <a:pt x="641" y="294"/>
                  <a:pt x="659" y="342"/>
                  <a:pt x="661" y="393"/>
                </a:cubicBezTo>
                <a:lnTo>
                  <a:pt x="563" y="393"/>
                </a:lnTo>
                <a:close/>
                <a:moveTo>
                  <a:pt x="417" y="564"/>
                </a:moveTo>
                <a:lnTo>
                  <a:pt x="417" y="564"/>
                </a:lnTo>
                <a:cubicBezTo>
                  <a:pt x="495" y="558"/>
                  <a:pt x="558" y="496"/>
                  <a:pt x="563" y="418"/>
                </a:cubicBezTo>
                <a:lnTo>
                  <a:pt x="661" y="418"/>
                </a:lnTo>
                <a:cubicBezTo>
                  <a:pt x="655" y="550"/>
                  <a:pt x="549" y="656"/>
                  <a:pt x="417" y="662"/>
                </a:cubicBezTo>
                <a:lnTo>
                  <a:pt x="417" y="564"/>
                </a:lnTo>
                <a:close/>
                <a:moveTo>
                  <a:pt x="246" y="418"/>
                </a:moveTo>
                <a:lnTo>
                  <a:pt x="246" y="418"/>
                </a:lnTo>
                <a:cubicBezTo>
                  <a:pt x="252" y="496"/>
                  <a:pt x="314" y="558"/>
                  <a:pt x="393" y="564"/>
                </a:cubicBezTo>
                <a:lnTo>
                  <a:pt x="393" y="662"/>
                </a:lnTo>
                <a:cubicBezTo>
                  <a:pt x="260" y="656"/>
                  <a:pt x="154" y="550"/>
                  <a:pt x="148" y="418"/>
                </a:cubicBezTo>
                <a:lnTo>
                  <a:pt x="246" y="418"/>
                </a:lnTo>
                <a:close/>
                <a:moveTo>
                  <a:pt x="393" y="246"/>
                </a:moveTo>
                <a:lnTo>
                  <a:pt x="393" y="246"/>
                </a:lnTo>
                <a:cubicBezTo>
                  <a:pt x="314" y="253"/>
                  <a:pt x="252" y="315"/>
                  <a:pt x="246" y="393"/>
                </a:cubicBezTo>
                <a:lnTo>
                  <a:pt x="148" y="393"/>
                </a:lnTo>
                <a:cubicBezTo>
                  <a:pt x="154" y="261"/>
                  <a:pt x="260" y="155"/>
                  <a:pt x="393" y="149"/>
                </a:cubicBezTo>
                <a:lnTo>
                  <a:pt x="393" y="246"/>
                </a:lnTo>
                <a:close/>
                <a:moveTo>
                  <a:pt x="508" y="285"/>
                </a:moveTo>
                <a:lnTo>
                  <a:pt x="508" y="285"/>
                </a:lnTo>
                <a:cubicBezTo>
                  <a:pt x="483" y="263"/>
                  <a:pt x="452" y="249"/>
                  <a:pt x="417" y="246"/>
                </a:cubicBezTo>
                <a:lnTo>
                  <a:pt x="417" y="148"/>
                </a:lnTo>
                <a:cubicBezTo>
                  <a:pt x="469" y="151"/>
                  <a:pt x="516" y="169"/>
                  <a:pt x="556" y="198"/>
                </a:cubicBezTo>
                <a:lnTo>
                  <a:pt x="556" y="237"/>
                </a:lnTo>
                <a:lnTo>
                  <a:pt x="508" y="285"/>
                </a:lnTo>
                <a:close/>
                <a:moveTo>
                  <a:pt x="503" y="418"/>
                </a:moveTo>
                <a:lnTo>
                  <a:pt x="539" y="418"/>
                </a:lnTo>
                <a:cubicBezTo>
                  <a:pt x="533" y="482"/>
                  <a:pt x="481" y="534"/>
                  <a:pt x="417" y="540"/>
                </a:cubicBezTo>
                <a:lnTo>
                  <a:pt x="417" y="504"/>
                </a:lnTo>
                <a:cubicBezTo>
                  <a:pt x="417" y="497"/>
                  <a:pt x="411" y="491"/>
                  <a:pt x="405" y="491"/>
                </a:cubicBezTo>
                <a:cubicBezTo>
                  <a:pt x="398" y="491"/>
                  <a:pt x="393" y="497"/>
                  <a:pt x="393" y="504"/>
                </a:cubicBezTo>
                <a:lnTo>
                  <a:pt x="393" y="540"/>
                </a:lnTo>
                <a:cubicBezTo>
                  <a:pt x="328" y="534"/>
                  <a:pt x="276" y="482"/>
                  <a:pt x="270" y="418"/>
                </a:cubicBezTo>
                <a:lnTo>
                  <a:pt x="307" y="418"/>
                </a:lnTo>
                <a:cubicBezTo>
                  <a:pt x="313" y="418"/>
                  <a:pt x="319" y="412"/>
                  <a:pt x="319" y="406"/>
                </a:cubicBezTo>
                <a:cubicBezTo>
                  <a:pt x="319" y="399"/>
                  <a:pt x="313" y="393"/>
                  <a:pt x="307" y="393"/>
                </a:cubicBezTo>
                <a:lnTo>
                  <a:pt x="270" y="393"/>
                </a:lnTo>
                <a:cubicBezTo>
                  <a:pt x="276" y="329"/>
                  <a:pt x="328" y="277"/>
                  <a:pt x="393" y="271"/>
                </a:cubicBezTo>
                <a:lnTo>
                  <a:pt x="393" y="308"/>
                </a:lnTo>
                <a:cubicBezTo>
                  <a:pt x="393" y="314"/>
                  <a:pt x="398" y="320"/>
                  <a:pt x="405" y="320"/>
                </a:cubicBezTo>
                <a:cubicBezTo>
                  <a:pt x="411" y="320"/>
                  <a:pt x="417" y="314"/>
                  <a:pt x="417" y="308"/>
                </a:cubicBezTo>
                <a:lnTo>
                  <a:pt x="417" y="271"/>
                </a:lnTo>
                <a:cubicBezTo>
                  <a:pt x="445" y="274"/>
                  <a:pt x="471" y="285"/>
                  <a:pt x="490" y="302"/>
                </a:cubicBezTo>
                <a:lnTo>
                  <a:pt x="396" y="397"/>
                </a:lnTo>
                <a:cubicBezTo>
                  <a:pt x="391" y="401"/>
                  <a:pt x="391" y="409"/>
                  <a:pt x="396" y="414"/>
                </a:cubicBezTo>
                <a:cubicBezTo>
                  <a:pt x="398" y="416"/>
                  <a:pt x="401" y="418"/>
                  <a:pt x="405" y="418"/>
                </a:cubicBezTo>
                <a:cubicBezTo>
                  <a:pt x="408" y="418"/>
                  <a:pt x="411" y="416"/>
                  <a:pt x="413" y="414"/>
                </a:cubicBezTo>
                <a:lnTo>
                  <a:pt x="508" y="319"/>
                </a:lnTo>
                <a:cubicBezTo>
                  <a:pt x="525" y="340"/>
                  <a:pt x="536" y="365"/>
                  <a:pt x="539" y="393"/>
                </a:cubicBezTo>
                <a:lnTo>
                  <a:pt x="503" y="393"/>
                </a:lnTo>
                <a:cubicBezTo>
                  <a:pt x="496" y="393"/>
                  <a:pt x="490" y="399"/>
                  <a:pt x="490" y="406"/>
                </a:cubicBezTo>
                <a:cubicBezTo>
                  <a:pt x="490" y="412"/>
                  <a:pt x="496" y="418"/>
                  <a:pt x="503" y="418"/>
                </a:cubicBezTo>
                <a:close/>
                <a:moveTo>
                  <a:pt x="687" y="43"/>
                </a:moveTo>
                <a:lnTo>
                  <a:pt x="687" y="112"/>
                </a:lnTo>
                <a:cubicBezTo>
                  <a:pt x="687" y="118"/>
                  <a:pt x="692" y="124"/>
                  <a:pt x="699" y="124"/>
                </a:cubicBezTo>
                <a:lnTo>
                  <a:pt x="767" y="124"/>
                </a:lnTo>
                <a:lnTo>
                  <a:pt x="661" y="230"/>
                </a:lnTo>
                <a:lnTo>
                  <a:pt x="580" y="230"/>
                </a:lnTo>
                <a:lnTo>
                  <a:pt x="580" y="149"/>
                </a:lnTo>
                <a:lnTo>
                  <a:pt x="687" y="43"/>
                </a:lnTo>
                <a:close/>
                <a:moveTo>
                  <a:pt x="805" y="120"/>
                </a:moveTo>
                <a:lnTo>
                  <a:pt x="805" y="120"/>
                </a:lnTo>
                <a:cubicBezTo>
                  <a:pt x="809" y="117"/>
                  <a:pt x="810" y="112"/>
                  <a:pt x="808" y="107"/>
                </a:cubicBezTo>
                <a:cubicBezTo>
                  <a:pt x="806" y="102"/>
                  <a:pt x="802" y="99"/>
                  <a:pt x="797" y="99"/>
                </a:cubicBezTo>
                <a:lnTo>
                  <a:pt x="729" y="99"/>
                </a:lnTo>
                <a:lnTo>
                  <a:pt x="805" y="22"/>
                </a:lnTo>
                <a:cubicBezTo>
                  <a:pt x="810" y="17"/>
                  <a:pt x="810" y="9"/>
                  <a:pt x="805" y="4"/>
                </a:cubicBezTo>
                <a:cubicBezTo>
                  <a:pt x="801" y="0"/>
                  <a:pt x="793" y="0"/>
                  <a:pt x="788" y="4"/>
                </a:cubicBezTo>
                <a:lnTo>
                  <a:pt x="711" y="82"/>
                </a:lnTo>
                <a:lnTo>
                  <a:pt x="711" y="13"/>
                </a:lnTo>
                <a:cubicBezTo>
                  <a:pt x="711" y="9"/>
                  <a:pt x="708" y="4"/>
                  <a:pt x="703" y="2"/>
                </a:cubicBezTo>
                <a:cubicBezTo>
                  <a:pt x="699" y="0"/>
                  <a:pt x="694" y="1"/>
                  <a:pt x="690" y="4"/>
                </a:cubicBezTo>
                <a:lnTo>
                  <a:pt x="627" y="68"/>
                </a:lnTo>
                <a:cubicBezTo>
                  <a:pt x="563" y="26"/>
                  <a:pt x="486" y="1"/>
                  <a:pt x="405" y="1"/>
                </a:cubicBezTo>
                <a:cubicBezTo>
                  <a:pt x="182" y="1"/>
                  <a:pt x="0" y="183"/>
                  <a:pt x="0" y="406"/>
                </a:cubicBezTo>
                <a:cubicBezTo>
                  <a:pt x="0" y="628"/>
                  <a:pt x="182" y="810"/>
                  <a:pt x="405" y="810"/>
                </a:cubicBezTo>
                <a:cubicBezTo>
                  <a:pt x="627" y="810"/>
                  <a:pt x="809" y="628"/>
                  <a:pt x="809" y="406"/>
                </a:cubicBezTo>
                <a:cubicBezTo>
                  <a:pt x="809" y="323"/>
                  <a:pt x="784" y="247"/>
                  <a:pt x="742" y="184"/>
                </a:cubicBezTo>
                <a:lnTo>
                  <a:pt x="805" y="120"/>
                </a:lnTo>
                <a:close/>
              </a:path>
            </a:pathLst>
          </a:custGeom>
          <a:solidFill>
            <a:schemeClr val="bg1"/>
          </a:solidFill>
          <a:ln>
            <a:noFill/>
          </a:ln>
          <a:effectLst/>
        </p:spPr>
        <p:txBody>
          <a:bodyPr wrap="none" anchor="ctr"/>
          <a:lstStyle/>
          <a:p>
            <a:endParaRPr lang="en-US" sz="900"/>
          </a:p>
        </p:txBody>
      </p:sp>
      <p:sp>
        <p:nvSpPr>
          <p:cNvPr id="23" name="Freeform 217">
            <a:extLst>
              <a:ext uri="{FF2B5EF4-FFF2-40B4-BE49-F238E27FC236}">
                <a16:creationId xmlns:a16="http://schemas.microsoft.com/office/drawing/2014/main" id="{72DCDD93-EF7E-1FEC-C57E-5693AA0A2E06}"/>
              </a:ext>
            </a:extLst>
          </p:cNvPr>
          <p:cNvSpPr>
            <a:spLocks noChangeArrowheads="1"/>
          </p:cNvSpPr>
          <p:nvPr userDrawn="1"/>
        </p:nvSpPr>
        <p:spPr bwMode="auto">
          <a:xfrm>
            <a:off x="3586542" y="3803640"/>
            <a:ext cx="986702" cy="986702"/>
          </a:xfrm>
          <a:custGeom>
            <a:avLst/>
            <a:gdLst>
              <a:gd name="T0" fmla="*/ 801 w 1314"/>
              <a:gd name="T1" fmla="*/ 80 h 1312"/>
              <a:gd name="T2" fmla="*/ 1233 w 1314"/>
              <a:gd name="T3" fmla="*/ 512 h 1312"/>
              <a:gd name="T4" fmla="*/ 1233 w 1314"/>
              <a:gd name="T5" fmla="*/ 512 h 1312"/>
              <a:gd name="T6" fmla="*/ 1233 w 1314"/>
              <a:gd name="T7" fmla="*/ 800 h 1312"/>
              <a:gd name="T8" fmla="*/ 801 w 1314"/>
              <a:gd name="T9" fmla="*/ 1232 h 1312"/>
              <a:gd name="T10" fmla="*/ 801 w 1314"/>
              <a:gd name="T11" fmla="*/ 1232 h 1312"/>
              <a:gd name="T12" fmla="*/ 512 w 1314"/>
              <a:gd name="T13" fmla="*/ 1232 h 1312"/>
              <a:gd name="T14" fmla="*/ 80 w 1314"/>
              <a:gd name="T15" fmla="*/ 800 h 1312"/>
              <a:gd name="T16" fmla="*/ 80 w 1314"/>
              <a:gd name="T17" fmla="*/ 800 h 1312"/>
              <a:gd name="T18" fmla="*/ 80 w 1314"/>
              <a:gd name="T19" fmla="*/ 512 h 1312"/>
              <a:gd name="T20" fmla="*/ 512 w 1314"/>
              <a:gd name="T21" fmla="*/ 80 h 1312"/>
              <a:gd name="T22" fmla="*/ 512 w 1314"/>
              <a:gd name="T23" fmla="*/ 80 h 1312"/>
              <a:gd name="T24" fmla="*/ 801 w 1314"/>
              <a:gd name="T25" fmla="*/ 80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4" h="1312">
                <a:moveTo>
                  <a:pt x="801" y="80"/>
                </a:moveTo>
                <a:lnTo>
                  <a:pt x="1233" y="512"/>
                </a:lnTo>
                <a:lnTo>
                  <a:pt x="1233" y="512"/>
                </a:lnTo>
                <a:cubicBezTo>
                  <a:pt x="1313" y="592"/>
                  <a:pt x="1313" y="721"/>
                  <a:pt x="1233" y="800"/>
                </a:cubicBezTo>
                <a:lnTo>
                  <a:pt x="801" y="1232"/>
                </a:lnTo>
                <a:lnTo>
                  <a:pt x="801" y="1232"/>
                </a:lnTo>
                <a:cubicBezTo>
                  <a:pt x="721" y="1311"/>
                  <a:pt x="592" y="1311"/>
                  <a:pt x="512" y="1232"/>
                </a:cubicBezTo>
                <a:lnTo>
                  <a:pt x="80" y="800"/>
                </a:lnTo>
                <a:lnTo>
                  <a:pt x="80" y="800"/>
                </a:lnTo>
                <a:cubicBezTo>
                  <a:pt x="0" y="721"/>
                  <a:pt x="0" y="592"/>
                  <a:pt x="80" y="512"/>
                </a:cubicBezTo>
                <a:lnTo>
                  <a:pt x="512" y="80"/>
                </a:lnTo>
                <a:lnTo>
                  <a:pt x="512" y="80"/>
                </a:lnTo>
                <a:cubicBezTo>
                  <a:pt x="592" y="0"/>
                  <a:pt x="721" y="0"/>
                  <a:pt x="801" y="80"/>
                </a:cubicBezTo>
              </a:path>
            </a:pathLst>
          </a:custGeom>
          <a:solidFill>
            <a:schemeClr val="accent3"/>
          </a:solidFill>
          <a:ln>
            <a:noFill/>
          </a:ln>
          <a:effectLst/>
        </p:spPr>
        <p:txBody>
          <a:bodyPr wrap="none" anchor="ctr"/>
          <a:lstStyle/>
          <a:p>
            <a:endParaRPr lang="en-US" sz="3265"/>
          </a:p>
        </p:txBody>
      </p:sp>
      <p:sp>
        <p:nvSpPr>
          <p:cNvPr id="24" name="Freeform 946">
            <a:extLst>
              <a:ext uri="{FF2B5EF4-FFF2-40B4-BE49-F238E27FC236}">
                <a16:creationId xmlns:a16="http://schemas.microsoft.com/office/drawing/2014/main" id="{3E54A074-ED82-41C9-3F7D-A0C428E92D19}"/>
              </a:ext>
            </a:extLst>
          </p:cNvPr>
          <p:cNvSpPr>
            <a:spLocks noChangeAspect="1" noChangeArrowheads="1"/>
          </p:cNvSpPr>
          <p:nvPr userDrawn="1"/>
        </p:nvSpPr>
        <p:spPr bwMode="auto">
          <a:xfrm>
            <a:off x="3889646" y="4106707"/>
            <a:ext cx="380492" cy="381635"/>
          </a:xfrm>
          <a:custGeom>
            <a:avLst/>
            <a:gdLst>
              <a:gd name="T0" fmla="*/ 48232487 w 291740"/>
              <a:gd name="T1" fmla="*/ 53883607 h 291739"/>
              <a:gd name="T2" fmla="*/ 53906848 w 291740"/>
              <a:gd name="T3" fmla="*/ 43279401 h 291739"/>
              <a:gd name="T4" fmla="*/ 48232487 w 291740"/>
              <a:gd name="T5" fmla="*/ 40373170 h 291739"/>
              <a:gd name="T6" fmla="*/ 15719770 w 291740"/>
              <a:gd name="T7" fmla="*/ 61581307 h 291739"/>
              <a:gd name="T8" fmla="*/ 46392302 w 291740"/>
              <a:gd name="T9" fmla="*/ 40373170 h 291739"/>
              <a:gd name="T10" fmla="*/ 10965585 w 291740"/>
              <a:gd name="T11" fmla="*/ 40373170 h 291739"/>
              <a:gd name="T12" fmla="*/ 8205148 w 291740"/>
              <a:gd name="T13" fmla="*/ 53883607 h 291739"/>
              <a:gd name="T14" fmla="*/ 13802291 w 291740"/>
              <a:gd name="T15" fmla="*/ 40373170 h 291739"/>
              <a:gd name="T16" fmla="*/ 1916774 w 291740"/>
              <a:gd name="T17" fmla="*/ 32675959 h 291739"/>
              <a:gd name="T18" fmla="*/ 3527410 w 291740"/>
              <a:gd name="T19" fmla="*/ 53883607 h 291739"/>
              <a:gd name="T20" fmla="*/ 6288253 w 291740"/>
              <a:gd name="T21" fmla="*/ 43279401 h 291739"/>
              <a:gd name="T22" fmla="*/ 51146432 w 291740"/>
              <a:gd name="T23" fmla="*/ 38488293 h 291739"/>
              <a:gd name="T24" fmla="*/ 55824074 w 291740"/>
              <a:gd name="T25" fmla="*/ 53883607 h 291739"/>
              <a:gd name="T26" fmla="*/ 60194638 w 291740"/>
              <a:gd name="T27" fmla="*/ 52312661 h 291739"/>
              <a:gd name="T28" fmla="*/ 1916774 w 291740"/>
              <a:gd name="T29" fmla="*/ 32675959 h 291739"/>
              <a:gd name="T30" fmla="*/ 17134884 w 291740"/>
              <a:gd name="T31" fmla="*/ 26625070 h 291739"/>
              <a:gd name="T32" fmla="*/ 15190343 w 291740"/>
              <a:gd name="T33" fmla="*/ 26625070 h 291739"/>
              <a:gd name="T34" fmla="*/ 11099235 w 291740"/>
              <a:gd name="T35" fmla="*/ 25587711 h 291739"/>
              <a:gd name="T36" fmla="*/ 11099235 w 291740"/>
              <a:gd name="T37" fmla="*/ 27582594 h 291739"/>
              <a:gd name="T38" fmla="*/ 11099235 w 291740"/>
              <a:gd name="T39" fmla="*/ 25587711 h 291739"/>
              <a:gd name="T40" fmla="*/ 7008157 w 291740"/>
              <a:gd name="T41" fmla="*/ 26625070 h 291739"/>
              <a:gd name="T42" fmla="*/ 5063367 w 291740"/>
              <a:gd name="T43" fmla="*/ 26625070 h 291739"/>
              <a:gd name="T44" fmla="*/ 3527410 w 291740"/>
              <a:gd name="T45" fmla="*/ 22464438 h 291739"/>
              <a:gd name="T46" fmla="*/ 1916774 w 291740"/>
              <a:gd name="T47" fmla="*/ 30790581 h 291739"/>
              <a:gd name="T48" fmla="*/ 60194638 w 291740"/>
              <a:gd name="T49" fmla="*/ 24035527 h 291739"/>
              <a:gd name="T50" fmla="*/ 3527410 w 291740"/>
              <a:gd name="T51" fmla="*/ 22464438 h 291739"/>
              <a:gd name="T52" fmla="*/ 48232487 w 291740"/>
              <a:gd name="T53" fmla="*/ 20500782 h 291739"/>
              <a:gd name="T54" fmla="*/ 53906848 w 291740"/>
              <a:gd name="T55" fmla="*/ 12174874 h 291739"/>
              <a:gd name="T56" fmla="*/ 8205148 w 291740"/>
              <a:gd name="T57" fmla="*/ 12174874 h 291739"/>
              <a:gd name="T58" fmla="*/ 13802291 w 291740"/>
              <a:gd name="T59" fmla="*/ 20500782 h 291739"/>
              <a:gd name="T60" fmla="*/ 8205148 w 291740"/>
              <a:gd name="T61" fmla="*/ 12174874 h 291739"/>
              <a:gd name="T62" fmla="*/ 15719770 w 291740"/>
              <a:gd name="T63" fmla="*/ 20500782 h 291739"/>
              <a:gd name="T64" fmla="*/ 46392302 w 291740"/>
              <a:gd name="T65" fmla="*/ 1885498 h 291739"/>
              <a:gd name="T66" fmla="*/ 14799270 w 291740"/>
              <a:gd name="T67" fmla="*/ 0 h 291739"/>
              <a:gd name="T68" fmla="*/ 48232487 w 291740"/>
              <a:gd name="T69" fmla="*/ 942071 h 291739"/>
              <a:gd name="T70" fmla="*/ 54826858 w 291740"/>
              <a:gd name="T71" fmla="*/ 10289961 h 291739"/>
              <a:gd name="T72" fmla="*/ 55824074 w 291740"/>
              <a:gd name="T73" fmla="*/ 20500782 h 291739"/>
              <a:gd name="T74" fmla="*/ 62035026 w 291740"/>
              <a:gd name="T75" fmla="*/ 24035527 h 291739"/>
              <a:gd name="T76" fmla="*/ 58584350 w 291740"/>
              <a:gd name="T77" fmla="*/ 55768638 h 291739"/>
              <a:gd name="T78" fmla="*/ 48232487 w 291740"/>
              <a:gd name="T79" fmla="*/ 62523656 h 291739"/>
              <a:gd name="T80" fmla="*/ 14799270 w 291740"/>
              <a:gd name="T81" fmla="*/ 63544660 h 291739"/>
              <a:gd name="T82" fmla="*/ 13802291 w 291740"/>
              <a:gd name="T83" fmla="*/ 55768638 h 291739"/>
              <a:gd name="T84" fmla="*/ 0 w 291740"/>
              <a:gd name="T85" fmla="*/ 52312661 h 291739"/>
              <a:gd name="T86" fmla="*/ 3527410 w 291740"/>
              <a:gd name="T87" fmla="*/ 20500782 h 291739"/>
              <a:gd name="T88" fmla="*/ 6288253 w 291740"/>
              <a:gd name="T89" fmla="*/ 11153936 h 291739"/>
              <a:gd name="T90" fmla="*/ 13802291 w 291740"/>
              <a:gd name="T91" fmla="*/ 10289961 h 291739"/>
              <a:gd name="T92" fmla="*/ 14799270 w 291740"/>
              <a:gd name="T93" fmla="*/ 0 h 29173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91740" h="291739">
                <a:moveTo>
                  <a:pt x="226828" y="185357"/>
                </a:moveTo>
                <a:lnTo>
                  <a:pt x="226828" y="247384"/>
                </a:lnTo>
                <a:lnTo>
                  <a:pt x="253514" y="247384"/>
                </a:lnTo>
                <a:lnTo>
                  <a:pt x="253514" y="198700"/>
                </a:lnTo>
                <a:cubicBezTo>
                  <a:pt x="253514" y="191488"/>
                  <a:pt x="247744" y="185357"/>
                  <a:pt x="240532" y="185357"/>
                </a:cubicBezTo>
                <a:lnTo>
                  <a:pt x="226828" y="185357"/>
                </a:lnTo>
                <a:close/>
                <a:moveTo>
                  <a:pt x="73927" y="185357"/>
                </a:moveTo>
                <a:lnTo>
                  <a:pt x="73927" y="282724"/>
                </a:lnTo>
                <a:lnTo>
                  <a:pt x="218174" y="282724"/>
                </a:lnTo>
                <a:lnTo>
                  <a:pt x="218174" y="185357"/>
                </a:lnTo>
                <a:lnTo>
                  <a:pt x="73927" y="185357"/>
                </a:lnTo>
                <a:close/>
                <a:moveTo>
                  <a:pt x="51568" y="185357"/>
                </a:moveTo>
                <a:cubicBezTo>
                  <a:pt x="44356" y="185357"/>
                  <a:pt x="38586" y="191488"/>
                  <a:pt x="38586" y="198700"/>
                </a:cubicBezTo>
                <a:lnTo>
                  <a:pt x="38586" y="247384"/>
                </a:lnTo>
                <a:lnTo>
                  <a:pt x="64911" y="247384"/>
                </a:lnTo>
                <a:lnTo>
                  <a:pt x="64911" y="185357"/>
                </a:lnTo>
                <a:lnTo>
                  <a:pt x="51568" y="185357"/>
                </a:lnTo>
                <a:close/>
                <a:moveTo>
                  <a:pt x="9015" y="150017"/>
                </a:moveTo>
                <a:lnTo>
                  <a:pt x="9015" y="240171"/>
                </a:lnTo>
                <a:cubicBezTo>
                  <a:pt x="9015" y="244138"/>
                  <a:pt x="12261" y="247384"/>
                  <a:pt x="16588" y="247384"/>
                </a:cubicBezTo>
                <a:lnTo>
                  <a:pt x="29571" y="247384"/>
                </a:lnTo>
                <a:lnTo>
                  <a:pt x="29571" y="198700"/>
                </a:lnTo>
                <a:cubicBezTo>
                  <a:pt x="29571" y="186439"/>
                  <a:pt x="39668" y="176703"/>
                  <a:pt x="51568" y="176703"/>
                </a:cubicBezTo>
                <a:lnTo>
                  <a:pt x="240532" y="176703"/>
                </a:lnTo>
                <a:cubicBezTo>
                  <a:pt x="252432" y="176703"/>
                  <a:pt x="262530" y="186439"/>
                  <a:pt x="262530" y="198700"/>
                </a:cubicBezTo>
                <a:lnTo>
                  <a:pt x="262530" y="247384"/>
                </a:lnTo>
                <a:lnTo>
                  <a:pt x="275512" y="247384"/>
                </a:lnTo>
                <a:cubicBezTo>
                  <a:pt x="279839" y="247384"/>
                  <a:pt x="283085" y="244138"/>
                  <a:pt x="283085" y="240171"/>
                </a:cubicBezTo>
                <a:lnTo>
                  <a:pt x="283085" y="150017"/>
                </a:lnTo>
                <a:lnTo>
                  <a:pt x="9015" y="150017"/>
                </a:lnTo>
                <a:close/>
                <a:moveTo>
                  <a:pt x="76010" y="117475"/>
                </a:moveTo>
                <a:cubicBezTo>
                  <a:pt x="78296" y="117475"/>
                  <a:pt x="80582" y="119673"/>
                  <a:pt x="80582" y="122238"/>
                </a:cubicBezTo>
                <a:cubicBezTo>
                  <a:pt x="80582" y="124802"/>
                  <a:pt x="78296" y="126634"/>
                  <a:pt x="76010" y="126634"/>
                </a:cubicBezTo>
                <a:cubicBezTo>
                  <a:pt x="73343" y="126634"/>
                  <a:pt x="71438" y="124802"/>
                  <a:pt x="71438" y="122238"/>
                </a:cubicBezTo>
                <a:cubicBezTo>
                  <a:pt x="71438" y="119673"/>
                  <a:pt x="73343" y="117475"/>
                  <a:pt x="76010" y="117475"/>
                </a:cubicBezTo>
                <a:close/>
                <a:moveTo>
                  <a:pt x="52197" y="117475"/>
                </a:moveTo>
                <a:cubicBezTo>
                  <a:pt x="54864" y="117475"/>
                  <a:pt x="56769" y="119673"/>
                  <a:pt x="56769" y="122238"/>
                </a:cubicBezTo>
                <a:cubicBezTo>
                  <a:pt x="56769" y="124802"/>
                  <a:pt x="54864" y="126634"/>
                  <a:pt x="52197" y="126634"/>
                </a:cubicBezTo>
                <a:cubicBezTo>
                  <a:pt x="49911" y="126634"/>
                  <a:pt x="47625" y="124802"/>
                  <a:pt x="47625" y="122238"/>
                </a:cubicBezTo>
                <a:cubicBezTo>
                  <a:pt x="47625" y="119673"/>
                  <a:pt x="49911" y="117475"/>
                  <a:pt x="52197" y="117475"/>
                </a:cubicBezTo>
                <a:close/>
                <a:moveTo>
                  <a:pt x="28385" y="117475"/>
                </a:moveTo>
                <a:cubicBezTo>
                  <a:pt x="31052" y="117475"/>
                  <a:pt x="32957" y="119673"/>
                  <a:pt x="32957" y="122238"/>
                </a:cubicBezTo>
                <a:cubicBezTo>
                  <a:pt x="32957" y="124802"/>
                  <a:pt x="31052" y="126634"/>
                  <a:pt x="28385" y="126634"/>
                </a:cubicBezTo>
                <a:cubicBezTo>
                  <a:pt x="25718" y="126634"/>
                  <a:pt x="23813" y="124802"/>
                  <a:pt x="23813" y="122238"/>
                </a:cubicBezTo>
                <a:cubicBezTo>
                  <a:pt x="23813" y="119673"/>
                  <a:pt x="25718" y="117475"/>
                  <a:pt x="28385" y="117475"/>
                </a:cubicBezTo>
                <a:close/>
                <a:moveTo>
                  <a:pt x="16588" y="103136"/>
                </a:moveTo>
                <a:cubicBezTo>
                  <a:pt x="12261" y="103136"/>
                  <a:pt x="9015" y="106382"/>
                  <a:pt x="9015" y="110349"/>
                </a:cubicBezTo>
                <a:lnTo>
                  <a:pt x="9015" y="141362"/>
                </a:lnTo>
                <a:lnTo>
                  <a:pt x="283085" y="141362"/>
                </a:lnTo>
                <a:lnTo>
                  <a:pt x="283085" y="110349"/>
                </a:lnTo>
                <a:cubicBezTo>
                  <a:pt x="283085" y="106382"/>
                  <a:pt x="279839" y="103136"/>
                  <a:pt x="275512" y="103136"/>
                </a:cubicBezTo>
                <a:lnTo>
                  <a:pt x="16588" y="103136"/>
                </a:lnTo>
                <a:close/>
                <a:moveTo>
                  <a:pt x="226828" y="55896"/>
                </a:moveTo>
                <a:lnTo>
                  <a:pt x="226828" y="94121"/>
                </a:lnTo>
                <a:lnTo>
                  <a:pt x="253514" y="94121"/>
                </a:lnTo>
                <a:lnTo>
                  <a:pt x="253514" y="55896"/>
                </a:lnTo>
                <a:lnTo>
                  <a:pt x="226828" y="55896"/>
                </a:lnTo>
                <a:close/>
                <a:moveTo>
                  <a:pt x="38586" y="55896"/>
                </a:moveTo>
                <a:lnTo>
                  <a:pt x="38586" y="94121"/>
                </a:lnTo>
                <a:lnTo>
                  <a:pt x="64911" y="94121"/>
                </a:lnTo>
                <a:lnTo>
                  <a:pt x="64911" y="55896"/>
                </a:lnTo>
                <a:lnTo>
                  <a:pt x="38586" y="55896"/>
                </a:lnTo>
                <a:close/>
                <a:moveTo>
                  <a:pt x="73927" y="8655"/>
                </a:moveTo>
                <a:lnTo>
                  <a:pt x="73927" y="94121"/>
                </a:lnTo>
                <a:lnTo>
                  <a:pt x="218174" y="94121"/>
                </a:lnTo>
                <a:lnTo>
                  <a:pt x="218174" y="8655"/>
                </a:lnTo>
                <a:lnTo>
                  <a:pt x="73927" y="8655"/>
                </a:lnTo>
                <a:close/>
                <a:moveTo>
                  <a:pt x="69599" y="0"/>
                </a:moveTo>
                <a:lnTo>
                  <a:pt x="222501" y="0"/>
                </a:lnTo>
                <a:cubicBezTo>
                  <a:pt x="225025" y="0"/>
                  <a:pt x="226828" y="1803"/>
                  <a:pt x="226828" y="4327"/>
                </a:cubicBezTo>
                <a:lnTo>
                  <a:pt x="226828" y="47241"/>
                </a:lnTo>
                <a:lnTo>
                  <a:pt x="257841" y="47241"/>
                </a:lnTo>
                <a:cubicBezTo>
                  <a:pt x="260366" y="47241"/>
                  <a:pt x="262530" y="49044"/>
                  <a:pt x="262530" y="51208"/>
                </a:cubicBezTo>
                <a:lnTo>
                  <a:pt x="262530" y="94121"/>
                </a:lnTo>
                <a:lnTo>
                  <a:pt x="275512" y="94121"/>
                </a:lnTo>
                <a:cubicBezTo>
                  <a:pt x="284527" y="94121"/>
                  <a:pt x="291740" y="101333"/>
                  <a:pt x="291740" y="110349"/>
                </a:cubicBezTo>
                <a:lnTo>
                  <a:pt x="291740" y="240171"/>
                </a:lnTo>
                <a:cubicBezTo>
                  <a:pt x="291740" y="248826"/>
                  <a:pt x="284527" y="256038"/>
                  <a:pt x="275512" y="256038"/>
                </a:cubicBezTo>
                <a:lnTo>
                  <a:pt x="226828" y="256038"/>
                </a:lnTo>
                <a:lnTo>
                  <a:pt x="226828" y="287051"/>
                </a:lnTo>
                <a:cubicBezTo>
                  <a:pt x="226828" y="289576"/>
                  <a:pt x="225025" y="291739"/>
                  <a:pt x="222501" y="291739"/>
                </a:cubicBezTo>
                <a:lnTo>
                  <a:pt x="69599" y="291739"/>
                </a:lnTo>
                <a:cubicBezTo>
                  <a:pt x="66714" y="291739"/>
                  <a:pt x="64911" y="289576"/>
                  <a:pt x="64911" y="287051"/>
                </a:cubicBezTo>
                <a:lnTo>
                  <a:pt x="64911" y="256038"/>
                </a:lnTo>
                <a:lnTo>
                  <a:pt x="16588" y="256038"/>
                </a:lnTo>
                <a:cubicBezTo>
                  <a:pt x="7212" y="256038"/>
                  <a:pt x="0" y="248826"/>
                  <a:pt x="0" y="240171"/>
                </a:cubicBezTo>
                <a:lnTo>
                  <a:pt x="0" y="110349"/>
                </a:lnTo>
                <a:cubicBezTo>
                  <a:pt x="0" y="101333"/>
                  <a:pt x="7212" y="94121"/>
                  <a:pt x="16588" y="94121"/>
                </a:cubicBezTo>
                <a:lnTo>
                  <a:pt x="29571" y="94121"/>
                </a:lnTo>
                <a:lnTo>
                  <a:pt x="29571" y="51208"/>
                </a:lnTo>
                <a:cubicBezTo>
                  <a:pt x="29571" y="49044"/>
                  <a:pt x="31734" y="47241"/>
                  <a:pt x="33898" y="47241"/>
                </a:cubicBezTo>
                <a:lnTo>
                  <a:pt x="64911" y="47241"/>
                </a:lnTo>
                <a:lnTo>
                  <a:pt x="64911" y="4327"/>
                </a:lnTo>
                <a:cubicBezTo>
                  <a:pt x="64911" y="1803"/>
                  <a:pt x="66714" y="0"/>
                  <a:pt x="69599" y="0"/>
                </a:cubicBezTo>
                <a:close/>
              </a:path>
            </a:pathLst>
          </a:custGeom>
          <a:solidFill>
            <a:schemeClr val="bg1"/>
          </a:solidFill>
          <a:ln>
            <a:noFill/>
          </a:ln>
          <a:effectLst/>
        </p:spPr>
        <p:txBody>
          <a:bodyPr anchor="ctr"/>
          <a:lstStyle/>
          <a:p>
            <a:endParaRPr lang="en-US" sz="900"/>
          </a:p>
        </p:txBody>
      </p:sp>
      <p:sp>
        <p:nvSpPr>
          <p:cNvPr id="25" name="Text Placeholder 35">
            <a:extLst>
              <a:ext uri="{FF2B5EF4-FFF2-40B4-BE49-F238E27FC236}">
                <a16:creationId xmlns:a16="http://schemas.microsoft.com/office/drawing/2014/main" id="{55C7B361-F997-A29B-F51F-7AFABF600B0B}"/>
              </a:ext>
            </a:extLst>
          </p:cNvPr>
          <p:cNvSpPr>
            <a:spLocks noGrp="1"/>
          </p:cNvSpPr>
          <p:nvPr>
            <p:ph type="body" sz="quarter" idx="52" hasCustomPrompt="1"/>
          </p:nvPr>
        </p:nvSpPr>
        <p:spPr>
          <a:xfrm>
            <a:off x="7521589" y="1460975"/>
            <a:ext cx="3185180" cy="331694"/>
          </a:xfrm>
        </p:spPr>
        <p:txBody>
          <a:bodyPr anchor="b">
            <a:noAutofit/>
          </a:bodyPr>
          <a:lstStyle>
            <a:lvl1pPr marL="0" indent="0" algn="l">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26" name="Text Placeholder 2">
            <a:extLst>
              <a:ext uri="{FF2B5EF4-FFF2-40B4-BE49-F238E27FC236}">
                <a16:creationId xmlns:a16="http://schemas.microsoft.com/office/drawing/2014/main" id="{9CCE95DC-5990-F4B9-0383-3326D13268E6}"/>
              </a:ext>
            </a:extLst>
          </p:cNvPr>
          <p:cNvSpPr>
            <a:spLocks noGrp="1"/>
          </p:cNvSpPr>
          <p:nvPr>
            <p:ph type="body" idx="53" hasCustomPrompt="1"/>
          </p:nvPr>
        </p:nvSpPr>
        <p:spPr>
          <a:xfrm>
            <a:off x="7521589" y="1926344"/>
            <a:ext cx="3185182" cy="530246"/>
          </a:xfrm>
        </p:spPr>
        <p:txBody>
          <a:bodyPr>
            <a:normAutofit/>
          </a:bodyPr>
          <a:lstStyle>
            <a:lvl1pPr marL="0" indent="0" algn="l">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27" name="Text Placeholder 35">
            <a:extLst>
              <a:ext uri="{FF2B5EF4-FFF2-40B4-BE49-F238E27FC236}">
                <a16:creationId xmlns:a16="http://schemas.microsoft.com/office/drawing/2014/main" id="{111B7F11-B726-4D9D-9FB3-36972C9485F4}"/>
              </a:ext>
            </a:extLst>
          </p:cNvPr>
          <p:cNvSpPr>
            <a:spLocks noGrp="1"/>
          </p:cNvSpPr>
          <p:nvPr>
            <p:ph type="body" sz="quarter" idx="54" hasCustomPrompt="1"/>
          </p:nvPr>
        </p:nvSpPr>
        <p:spPr>
          <a:xfrm>
            <a:off x="7521589" y="2763001"/>
            <a:ext cx="3185180" cy="331694"/>
          </a:xfrm>
        </p:spPr>
        <p:txBody>
          <a:bodyPr anchor="b">
            <a:noAutofit/>
          </a:bodyPr>
          <a:lstStyle>
            <a:lvl1pPr marL="0" indent="0" algn="l">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28" name="Text Placeholder 2">
            <a:extLst>
              <a:ext uri="{FF2B5EF4-FFF2-40B4-BE49-F238E27FC236}">
                <a16:creationId xmlns:a16="http://schemas.microsoft.com/office/drawing/2014/main" id="{1D8748F3-8672-3B2B-BACA-2F7974CA27D5}"/>
              </a:ext>
            </a:extLst>
          </p:cNvPr>
          <p:cNvSpPr>
            <a:spLocks noGrp="1"/>
          </p:cNvSpPr>
          <p:nvPr>
            <p:ph type="body" idx="55" hasCustomPrompt="1"/>
          </p:nvPr>
        </p:nvSpPr>
        <p:spPr>
          <a:xfrm>
            <a:off x="7521589" y="3228370"/>
            <a:ext cx="3185182" cy="530246"/>
          </a:xfrm>
        </p:spPr>
        <p:txBody>
          <a:bodyPr>
            <a:normAutofit/>
          </a:bodyPr>
          <a:lstStyle>
            <a:lvl1pPr marL="0" indent="0" algn="l">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29" name="Text Placeholder 35">
            <a:extLst>
              <a:ext uri="{FF2B5EF4-FFF2-40B4-BE49-F238E27FC236}">
                <a16:creationId xmlns:a16="http://schemas.microsoft.com/office/drawing/2014/main" id="{F764B322-6819-213F-EBBA-AD2D75DEAFC7}"/>
              </a:ext>
            </a:extLst>
          </p:cNvPr>
          <p:cNvSpPr>
            <a:spLocks noGrp="1"/>
          </p:cNvSpPr>
          <p:nvPr>
            <p:ph type="body" sz="quarter" idx="56" hasCustomPrompt="1"/>
          </p:nvPr>
        </p:nvSpPr>
        <p:spPr>
          <a:xfrm>
            <a:off x="7521589" y="4065027"/>
            <a:ext cx="3185180" cy="331694"/>
          </a:xfrm>
        </p:spPr>
        <p:txBody>
          <a:bodyPr anchor="b">
            <a:noAutofit/>
          </a:bodyPr>
          <a:lstStyle>
            <a:lvl1pPr marL="0" indent="0" algn="l">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0" name="Text Placeholder 2">
            <a:extLst>
              <a:ext uri="{FF2B5EF4-FFF2-40B4-BE49-F238E27FC236}">
                <a16:creationId xmlns:a16="http://schemas.microsoft.com/office/drawing/2014/main" id="{A1AD78BD-2115-0EA6-BB2C-C13A3BED548B}"/>
              </a:ext>
            </a:extLst>
          </p:cNvPr>
          <p:cNvSpPr>
            <a:spLocks noGrp="1"/>
          </p:cNvSpPr>
          <p:nvPr>
            <p:ph type="body" idx="57" hasCustomPrompt="1"/>
          </p:nvPr>
        </p:nvSpPr>
        <p:spPr>
          <a:xfrm>
            <a:off x="7521589" y="4530396"/>
            <a:ext cx="3185182" cy="530246"/>
          </a:xfrm>
        </p:spPr>
        <p:txBody>
          <a:bodyPr>
            <a:normAutofit/>
          </a:bodyPr>
          <a:lstStyle>
            <a:lvl1pPr marL="0" indent="0" algn="l">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1" name="Text Placeholder 35">
            <a:extLst>
              <a:ext uri="{FF2B5EF4-FFF2-40B4-BE49-F238E27FC236}">
                <a16:creationId xmlns:a16="http://schemas.microsoft.com/office/drawing/2014/main" id="{E2E00511-2645-B8BB-98A2-B6D375711B3F}"/>
              </a:ext>
            </a:extLst>
          </p:cNvPr>
          <p:cNvSpPr>
            <a:spLocks noGrp="1"/>
          </p:cNvSpPr>
          <p:nvPr>
            <p:ph type="body" sz="quarter" idx="58" hasCustomPrompt="1"/>
          </p:nvPr>
        </p:nvSpPr>
        <p:spPr>
          <a:xfrm>
            <a:off x="7521589" y="5396871"/>
            <a:ext cx="3185180" cy="331694"/>
          </a:xfrm>
        </p:spPr>
        <p:txBody>
          <a:bodyPr anchor="b">
            <a:noAutofit/>
          </a:bodyPr>
          <a:lstStyle>
            <a:lvl1pPr marL="0" indent="0" algn="l">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2" name="Text Placeholder 2">
            <a:extLst>
              <a:ext uri="{FF2B5EF4-FFF2-40B4-BE49-F238E27FC236}">
                <a16:creationId xmlns:a16="http://schemas.microsoft.com/office/drawing/2014/main" id="{6A7D0B1E-F4F8-64EB-A963-7FBC5403404C}"/>
              </a:ext>
            </a:extLst>
          </p:cNvPr>
          <p:cNvSpPr>
            <a:spLocks noGrp="1"/>
          </p:cNvSpPr>
          <p:nvPr>
            <p:ph type="body" idx="59" hasCustomPrompt="1"/>
          </p:nvPr>
        </p:nvSpPr>
        <p:spPr>
          <a:xfrm>
            <a:off x="7521589" y="5862240"/>
            <a:ext cx="3185182" cy="530246"/>
          </a:xfrm>
        </p:spPr>
        <p:txBody>
          <a:bodyPr>
            <a:normAutofit/>
          </a:bodyPr>
          <a:lstStyle>
            <a:lvl1pPr marL="0" indent="0" algn="l">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3" name="Title 1">
            <a:extLst>
              <a:ext uri="{FF2B5EF4-FFF2-40B4-BE49-F238E27FC236}">
                <a16:creationId xmlns:a16="http://schemas.microsoft.com/office/drawing/2014/main" id="{F02AC5B6-EEF2-AB6B-8F52-274060D76123}"/>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Tree>
    <p:extLst>
      <p:ext uri="{BB962C8B-B14F-4D97-AF65-F5344CB8AC3E}">
        <p14:creationId xmlns:p14="http://schemas.microsoft.com/office/powerpoint/2010/main" val="376732101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64107F6F-AD3E-3D94-B143-B60FF8D455D5}"/>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Shape 122">
            <a:extLst>
              <a:ext uri="{FF2B5EF4-FFF2-40B4-BE49-F238E27FC236}">
                <a16:creationId xmlns:a16="http://schemas.microsoft.com/office/drawing/2014/main" id="{B2F5AE09-F365-2CBB-BCA9-0F4847079672}"/>
              </a:ext>
            </a:extLst>
          </p:cNvPr>
          <p:cNvSpPr>
            <a:spLocks noChangeArrowheads="1"/>
          </p:cNvSpPr>
          <p:nvPr userDrawn="1"/>
        </p:nvSpPr>
        <p:spPr bwMode="auto">
          <a:xfrm>
            <a:off x="6087761" y="2160146"/>
            <a:ext cx="2169109" cy="463532"/>
          </a:xfrm>
          <a:custGeom>
            <a:avLst/>
            <a:gdLst>
              <a:gd name="connsiteX0" fmla="*/ 0 w 4338217"/>
              <a:gd name="connsiteY0" fmla="*/ 774502 h 927064"/>
              <a:gd name="connsiteX1" fmla="*/ 37167 w 4338217"/>
              <a:gd name="connsiteY1" fmla="*/ 774502 h 927064"/>
              <a:gd name="connsiteX2" fmla="*/ 37167 w 4338217"/>
              <a:gd name="connsiteY2" fmla="*/ 927064 h 927064"/>
              <a:gd name="connsiteX3" fmla="*/ 0 w 4338217"/>
              <a:gd name="connsiteY3" fmla="*/ 927064 h 927064"/>
              <a:gd name="connsiteX4" fmla="*/ 4300967 w 4338217"/>
              <a:gd name="connsiteY4" fmla="*/ 576756 h 927064"/>
              <a:gd name="connsiteX5" fmla="*/ 4338217 w 4338217"/>
              <a:gd name="connsiteY5" fmla="*/ 576756 h 927064"/>
              <a:gd name="connsiteX6" fmla="*/ 4338217 w 4338217"/>
              <a:gd name="connsiteY6" fmla="*/ 729318 h 927064"/>
              <a:gd name="connsiteX7" fmla="*/ 4300967 w 4338217"/>
              <a:gd name="connsiteY7" fmla="*/ 729318 h 927064"/>
              <a:gd name="connsiteX8" fmla="*/ 0 w 4338217"/>
              <a:gd name="connsiteY8" fmla="*/ 472392 h 927064"/>
              <a:gd name="connsiteX9" fmla="*/ 37167 w 4338217"/>
              <a:gd name="connsiteY9" fmla="*/ 472392 h 927064"/>
              <a:gd name="connsiteX10" fmla="*/ 37167 w 4338217"/>
              <a:gd name="connsiteY10" fmla="*/ 624944 h 927064"/>
              <a:gd name="connsiteX11" fmla="*/ 0 w 4338217"/>
              <a:gd name="connsiteY11" fmla="*/ 624944 h 927064"/>
              <a:gd name="connsiteX12" fmla="*/ 4328010 w 4338217"/>
              <a:gd name="connsiteY12" fmla="*/ 269152 h 927064"/>
              <a:gd name="connsiteX13" fmla="*/ 4338151 w 4338217"/>
              <a:gd name="connsiteY13" fmla="*/ 349129 h 927064"/>
              <a:gd name="connsiteX14" fmla="*/ 4338151 w 4338217"/>
              <a:gd name="connsiteY14" fmla="*/ 421724 h 927064"/>
              <a:gd name="connsiteX15" fmla="*/ 4298854 w 4338217"/>
              <a:gd name="connsiteY15" fmla="*/ 421724 h 927064"/>
              <a:gd name="connsiteX16" fmla="*/ 4298854 w 4338217"/>
              <a:gd name="connsiteY16" fmla="*/ 349129 h 927064"/>
              <a:gd name="connsiteX17" fmla="*/ 4289981 w 4338217"/>
              <a:gd name="connsiteY17" fmla="*/ 276535 h 927064"/>
              <a:gd name="connsiteX18" fmla="*/ 49189 w 4338217"/>
              <a:gd name="connsiteY18" fmla="*/ 164788 h 927064"/>
              <a:gd name="connsiteX19" fmla="*/ 81162 w 4338217"/>
              <a:gd name="connsiteY19" fmla="*/ 186280 h 927064"/>
              <a:gd name="connsiteX20" fmla="*/ 35662 w 4338217"/>
              <a:gd name="connsiteY20" fmla="*/ 322817 h 927064"/>
              <a:gd name="connsiteX21" fmla="*/ 0 w 4338217"/>
              <a:gd name="connsiteY21" fmla="*/ 319024 h 927064"/>
              <a:gd name="connsiteX22" fmla="*/ 49189 w 4338217"/>
              <a:gd name="connsiteY22" fmla="*/ 164788 h 927064"/>
              <a:gd name="connsiteX23" fmla="*/ 4128982 w 4338217"/>
              <a:gd name="connsiteY23" fmla="*/ 27463 h 927064"/>
              <a:gd name="connsiteX24" fmla="*/ 4255793 w 4338217"/>
              <a:gd name="connsiteY24" fmla="*/ 122413 h 927064"/>
              <a:gd name="connsiteX25" fmla="*/ 4227476 w 4338217"/>
              <a:gd name="connsiteY25" fmla="*/ 147075 h 927064"/>
              <a:gd name="connsiteX26" fmla="*/ 4114208 w 4338217"/>
              <a:gd name="connsiteY26" fmla="*/ 61990 h 927064"/>
              <a:gd name="connsiteX27" fmla="*/ 3823084 w 4338217"/>
              <a:gd name="connsiteY27" fmla="*/ 0 h 927064"/>
              <a:gd name="connsiteX28" fmla="*/ 3975636 w 4338217"/>
              <a:gd name="connsiteY28" fmla="*/ 0 h 927064"/>
              <a:gd name="connsiteX29" fmla="*/ 3975636 w 4338217"/>
              <a:gd name="connsiteY29" fmla="*/ 37248 h 927064"/>
              <a:gd name="connsiteX30" fmla="*/ 3823084 w 4338217"/>
              <a:gd name="connsiteY30" fmla="*/ 37248 h 927064"/>
              <a:gd name="connsiteX31" fmla="*/ 3515479 w 4338217"/>
              <a:gd name="connsiteY31" fmla="*/ 0 h 927064"/>
              <a:gd name="connsiteX32" fmla="*/ 3668041 w 4338217"/>
              <a:gd name="connsiteY32" fmla="*/ 0 h 927064"/>
              <a:gd name="connsiteX33" fmla="*/ 3668041 w 4338217"/>
              <a:gd name="connsiteY33" fmla="*/ 37248 h 927064"/>
              <a:gd name="connsiteX34" fmla="*/ 3515479 w 4338217"/>
              <a:gd name="connsiteY34" fmla="*/ 37248 h 927064"/>
              <a:gd name="connsiteX35" fmla="*/ 3213366 w 4338217"/>
              <a:gd name="connsiteY35" fmla="*/ 0 h 927064"/>
              <a:gd name="connsiteX36" fmla="*/ 3365918 w 4338217"/>
              <a:gd name="connsiteY36" fmla="*/ 0 h 927064"/>
              <a:gd name="connsiteX37" fmla="*/ 3365918 w 4338217"/>
              <a:gd name="connsiteY37" fmla="*/ 37248 h 927064"/>
              <a:gd name="connsiteX38" fmla="*/ 3213366 w 4338217"/>
              <a:gd name="connsiteY38" fmla="*/ 37248 h 927064"/>
              <a:gd name="connsiteX39" fmla="*/ 2905762 w 4338217"/>
              <a:gd name="connsiteY39" fmla="*/ 0 h 927064"/>
              <a:gd name="connsiteX40" fmla="*/ 3058314 w 4338217"/>
              <a:gd name="connsiteY40" fmla="*/ 0 h 927064"/>
              <a:gd name="connsiteX41" fmla="*/ 3058314 w 4338217"/>
              <a:gd name="connsiteY41" fmla="*/ 37248 h 927064"/>
              <a:gd name="connsiteX42" fmla="*/ 2905762 w 4338217"/>
              <a:gd name="connsiteY42" fmla="*/ 37248 h 927064"/>
              <a:gd name="connsiteX43" fmla="*/ 2603652 w 4338217"/>
              <a:gd name="connsiteY43" fmla="*/ 0 h 927064"/>
              <a:gd name="connsiteX44" fmla="*/ 2756214 w 4338217"/>
              <a:gd name="connsiteY44" fmla="*/ 0 h 927064"/>
              <a:gd name="connsiteX45" fmla="*/ 2756214 w 4338217"/>
              <a:gd name="connsiteY45" fmla="*/ 37248 h 927064"/>
              <a:gd name="connsiteX46" fmla="*/ 2603652 w 4338217"/>
              <a:gd name="connsiteY46" fmla="*/ 37248 h 927064"/>
              <a:gd name="connsiteX47" fmla="*/ 2296047 w 4338217"/>
              <a:gd name="connsiteY47" fmla="*/ 0 h 927064"/>
              <a:gd name="connsiteX48" fmla="*/ 2448599 w 4338217"/>
              <a:gd name="connsiteY48" fmla="*/ 0 h 927064"/>
              <a:gd name="connsiteX49" fmla="*/ 2448599 w 4338217"/>
              <a:gd name="connsiteY49" fmla="*/ 37248 h 927064"/>
              <a:gd name="connsiteX50" fmla="*/ 2296047 w 4338217"/>
              <a:gd name="connsiteY50" fmla="*/ 37248 h 927064"/>
              <a:gd name="connsiteX51" fmla="*/ 1993934 w 4338217"/>
              <a:gd name="connsiteY51" fmla="*/ 0 h 927064"/>
              <a:gd name="connsiteX52" fmla="*/ 2146496 w 4338217"/>
              <a:gd name="connsiteY52" fmla="*/ 0 h 927064"/>
              <a:gd name="connsiteX53" fmla="*/ 2146496 w 4338217"/>
              <a:gd name="connsiteY53" fmla="*/ 37248 h 927064"/>
              <a:gd name="connsiteX54" fmla="*/ 1993934 w 4338217"/>
              <a:gd name="connsiteY54" fmla="*/ 37248 h 927064"/>
              <a:gd name="connsiteX55" fmla="*/ 1686330 w 4338217"/>
              <a:gd name="connsiteY55" fmla="*/ 0 h 927064"/>
              <a:gd name="connsiteX56" fmla="*/ 1838882 w 4338217"/>
              <a:gd name="connsiteY56" fmla="*/ 0 h 927064"/>
              <a:gd name="connsiteX57" fmla="*/ 1838882 w 4338217"/>
              <a:gd name="connsiteY57" fmla="*/ 37248 h 927064"/>
              <a:gd name="connsiteX58" fmla="*/ 1686330 w 4338217"/>
              <a:gd name="connsiteY58" fmla="*/ 37248 h 927064"/>
              <a:gd name="connsiteX59" fmla="*/ 1384220 w 4338217"/>
              <a:gd name="connsiteY59" fmla="*/ 0 h 927064"/>
              <a:gd name="connsiteX60" fmla="*/ 1536772 w 4338217"/>
              <a:gd name="connsiteY60" fmla="*/ 0 h 927064"/>
              <a:gd name="connsiteX61" fmla="*/ 1536772 w 4338217"/>
              <a:gd name="connsiteY61" fmla="*/ 37248 h 927064"/>
              <a:gd name="connsiteX62" fmla="*/ 1384220 w 4338217"/>
              <a:gd name="connsiteY62" fmla="*/ 37248 h 927064"/>
              <a:gd name="connsiteX63" fmla="*/ 1076616 w 4338217"/>
              <a:gd name="connsiteY63" fmla="*/ 0 h 927064"/>
              <a:gd name="connsiteX64" fmla="*/ 1229178 w 4338217"/>
              <a:gd name="connsiteY64" fmla="*/ 0 h 927064"/>
              <a:gd name="connsiteX65" fmla="*/ 1229178 w 4338217"/>
              <a:gd name="connsiteY65" fmla="*/ 37248 h 927064"/>
              <a:gd name="connsiteX66" fmla="*/ 1076616 w 4338217"/>
              <a:gd name="connsiteY66" fmla="*/ 37248 h 927064"/>
              <a:gd name="connsiteX67" fmla="*/ 774502 w 4338217"/>
              <a:gd name="connsiteY67" fmla="*/ 0 h 927064"/>
              <a:gd name="connsiteX68" fmla="*/ 927054 w 4338217"/>
              <a:gd name="connsiteY68" fmla="*/ 0 h 927064"/>
              <a:gd name="connsiteX69" fmla="*/ 927054 w 4338217"/>
              <a:gd name="connsiteY69" fmla="*/ 37248 h 927064"/>
              <a:gd name="connsiteX70" fmla="*/ 774502 w 4338217"/>
              <a:gd name="connsiteY70" fmla="*/ 37248 h 927064"/>
              <a:gd name="connsiteX71" fmla="*/ 466898 w 4338217"/>
              <a:gd name="connsiteY71" fmla="*/ 0 h 927064"/>
              <a:gd name="connsiteX72" fmla="*/ 619450 w 4338217"/>
              <a:gd name="connsiteY72" fmla="*/ 0 h 927064"/>
              <a:gd name="connsiteX73" fmla="*/ 619450 w 4338217"/>
              <a:gd name="connsiteY73" fmla="*/ 37248 h 927064"/>
              <a:gd name="connsiteX74" fmla="*/ 466898 w 4338217"/>
              <a:gd name="connsiteY74" fmla="*/ 37248 h 927064"/>
              <a:gd name="connsiteX75" fmla="*/ 314899 w 4338217"/>
              <a:gd name="connsiteY75" fmla="*/ 0 h 927064"/>
              <a:gd name="connsiteX76" fmla="*/ 317360 w 4338217"/>
              <a:gd name="connsiteY76" fmla="*/ 38122 h 927064"/>
              <a:gd name="connsiteX77" fmla="*/ 184475 w 4338217"/>
              <a:gd name="connsiteY77" fmla="*/ 81163 h 927064"/>
              <a:gd name="connsiteX78" fmla="*/ 164788 w 4338217"/>
              <a:gd name="connsiteY78" fmla="*/ 50419 h 927064"/>
              <a:gd name="connsiteX79" fmla="*/ 314899 w 4338217"/>
              <a:gd name="connsiteY79" fmla="*/ 0 h 92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338217" h="927064">
                <a:moveTo>
                  <a:pt x="0" y="774502"/>
                </a:moveTo>
                <a:lnTo>
                  <a:pt x="37167" y="774502"/>
                </a:lnTo>
                <a:lnTo>
                  <a:pt x="37167" y="927064"/>
                </a:lnTo>
                <a:lnTo>
                  <a:pt x="0" y="927064"/>
                </a:lnTo>
                <a:close/>
                <a:moveTo>
                  <a:pt x="4300967" y="576756"/>
                </a:moveTo>
                <a:lnTo>
                  <a:pt x="4338217" y="576756"/>
                </a:lnTo>
                <a:lnTo>
                  <a:pt x="4338217" y="729318"/>
                </a:lnTo>
                <a:lnTo>
                  <a:pt x="4300967" y="729318"/>
                </a:lnTo>
                <a:close/>
                <a:moveTo>
                  <a:pt x="0" y="472392"/>
                </a:moveTo>
                <a:lnTo>
                  <a:pt x="37167" y="472392"/>
                </a:lnTo>
                <a:lnTo>
                  <a:pt x="37167" y="624944"/>
                </a:lnTo>
                <a:lnTo>
                  <a:pt x="0" y="624944"/>
                </a:lnTo>
                <a:close/>
                <a:moveTo>
                  <a:pt x="4328010" y="269152"/>
                </a:moveTo>
                <a:cubicBezTo>
                  <a:pt x="4334348" y="294991"/>
                  <a:pt x="4338151" y="322060"/>
                  <a:pt x="4338151" y="349129"/>
                </a:cubicBezTo>
                <a:lnTo>
                  <a:pt x="4338151" y="421724"/>
                </a:lnTo>
                <a:lnTo>
                  <a:pt x="4298854" y="421724"/>
                </a:lnTo>
                <a:lnTo>
                  <a:pt x="4298854" y="349129"/>
                </a:lnTo>
                <a:cubicBezTo>
                  <a:pt x="4298854" y="325751"/>
                  <a:pt x="4296319" y="301143"/>
                  <a:pt x="4289981" y="276535"/>
                </a:cubicBezTo>
                <a:close/>
                <a:moveTo>
                  <a:pt x="49189" y="164788"/>
                </a:moveTo>
                <a:lnTo>
                  <a:pt x="81162" y="186280"/>
                </a:lnTo>
                <a:cubicBezTo>
                  <a:pt x="55338" y="228000"/>
                  <a:pt x="39351" y="273512"/>
                  <a:pt x="35662" y="322817"/>
                </a:cubicBezTo>
                <a:lnTo>
                  <a:pt x="0" y="319024"/>
                </a:lnTo>
                <a:cubicBezTo>
                  <a:pt x="3689" y="264662"/>
                  <a:pt x="22135" y="211565"/>
                  <a:pt x="49189" y="164788"/>
                </a:cubicBezTo>
                <a:close/>
                <a:moveTo>
                  <a:pt x="4128982" y="27463"/>
                </a:moveTo>
                <a:cubicBezTo>
                  <a:pt x="4178229" y="48426"/>
                  <a:pt x="4222551" y="81720"/>
                  <a:pt x="4255793" y="122413"/>
                </a:cubicBezTo>
                <a:lnTo>
                  <a:pt x="4227476" y="147075"/>
                </a:lnTo>
                <a:cubicBezTo>
                  <a:pt x="4196697" y="110082"/>
                  <a:pt x="4158530" y="81720"/>
                  <a:pt x="4114208" y="61990"/>
                </a:cubicBezTo>
                <a:close/>
                <a:moveTo>
                  <a:pt x="3823084" y="0"/>
                </a:moveTo>
                <a:lnTo>
                  <a:pt x="3975636" y="0"/>
                </a:lnTo>
                <a:lnTo>
                  <a:pt x="3975636" y="37248"/>
                </a:lnTo>
                <a:lnTo>
                  <a:pt x="3823084" y="37248"/>
                </a:lnTo>
                <a:close/>
                <a:moveTo>
                  <a:pt x="3515479" y="0"/>
                </a:moveTo>
                <a:lnTo>
                  <a:pt x="3668041" y="0"/>
                </a:lnTo>
                <a:lnTo>
                  <a:pt x="3668041" y="37248"/>
                </a:lnTo>
                <a:lnTo>
                  <a:pt x="3515479" y="37248"/>
                </a:lnTo>
                <a:close/>
                <a:moveTo>
                  <a:pt x="3213366" y="0"/>
                </a:moveTo>
                <a:lnTo>
                  <a:pt x="3365918" y="0"/>
                </a:lnTo>
                <a:lnTo>
                  <a:pt x="3365918" y="37248"/>
                </a:lnTo>
                <a:lnTo>
                  <a:pt x="3213366" y="37248"/>
                </a:lnTo>
                <a:close/>
                <a:moveTo>
                  <a:pt x="2905762" y="0"/>
                </a:moveTo>
                <a:lnTo>
                  <a:pt x="3058314" y="0"/>
                </a:lnTo>
                <a:lnTo>
                  <a:pt x="3058314" y="37248"/>
                </a:lnTo>
                <a:lnTo>
                  <a:pt x="2905762" y="37248"/>
                </a:lnTo>
                <a:close/>
                <a:moveTo>
                  <a:pt x="2603652" y="0"/>
                </a:moveTo>
                <a:lnTo>
                  <a:pt x="2756214" y="0"/>
                </a:lnTo>
                <a:lnTo>
                  <a:pt x="2756214" y="37248"/>
                </a:lnTo>
                <a:lnTo>
                  <a:pt x="2603652" y="37248"/>
                </a:lnTo>
                <a:close/>
                <a:moveTo>
                  <a:pt x="2296047" y="0"/>
                </a:moveTo>
                <a:lnTo>
                  <a:pt x="2448599" y="0"/>
                </a:lnTo>
                <a:lnTo>
                  <a:pt x="2448599" y="37248"/>
                </a:lnTo>
                <a:lnTo>
                  <a:pt x="2296047" y="37248"/>
                </a:lnTo>
                <a:close/>
                <a:moveTo>
                  <a:pt x="1993934" y="0"/>
                </a:moveTo>
                <a:lnTo>
                  <a:pt x="2146496" y="0"/>
                </a:lnTo>
                <a:lnTo>
                  <a:pt x="2146496" y="37248"/>
                </a:lnTo>
                <a:lnTo>
                  <a:pt x="1993934" y="37248"/>
                </a:lnTo>
                <a:close/>
                <a:moveTo>
                  <a:pt x="1686330" y="0"/>
                </a:moveTo>
                <a:lnTo>
                  <a:pt x="1838882" y="0"/>
                </a:lnTo>
                <a:lnTo>
                  <a:pt x="1838882" y="37248"/>
                </a:lnTo>
                <a:lnTo>
                  <a:pt x="1686330" y="37248"/>
                </a:lnTo>
                <a:close/>
                <a:moveTo>
                  <a:pt x="1384220" y="0"/>
                </a:moveTo>
                <a:lnTo>
                  <a:pt x="1536772" y="0"/>
                </a:lnTo>
                <a:lnTo>
                  <a:pt x="1536772" y="37248"/>
                </a:lnTo>
                <a:lnTo>
                  <a:pt x="1384220" y="37248"/>
                </a:lnTo>
                <a:close/>
                <a:moveTo>
                  <a:pt x="1076616" y="0"/>
                </a:moveTo>
                <a:lnTo>
                  <a:pt x="1229178" y="0"/>
                </a:lnTo>
                <a:lnTo>
                  <a:pt x="1229178" y="37248"/>
                </a:lnTo>
                <a:lnTo>
                  <a:pt x="1076616" y="37248"/>
                </a:lnTo>
                <a:close/>
                <a:moveTo>
                  <a:pt x="774502" y="0"/>
                </a:moveTo>
                <a:lnTo>
                  <a:pt x="927054" y="0"/>
                </a:lnTo>
                <a:lnTo>
                  <a:pt x="927054" y="37248"/>
                </a:lnTo>
                <a:lnTo>
                  <a:pt x="774502" y="37248"/>
                </a:lnTo>
                <a:close/>
                <a:moveTo>
                  <a:pt x="466898" y="0"/>
                </a:moveTo>
                <a:lnTo>
                  <a:pt x="619450" y="0"/>
                </a:lnTo>
                <a:lnTo>
                  <a:pt x="619450" y="37248"/>
                </a:lnTo>
                <a:lnTo>
                  <a:pt x="466898" y="37248"/>
                </a:lnTo>
                <a:close/>
                <a:moveTo>
                  <a:pt x="314899" y="0"/>
                </a:moveTo>
                <a:lnTo>
                  <a:pt x="317360" y="38122"/>
                </a:lnTo>
                <a:cubicBezTo>
                  <a:pt x="270604" y="41811"/>
                  <a:pt x="225078" y="56568"/>
                  <a:pt x="184475" y="81163"/>
                </a:cubicBezTo>
                <a:lnTo>
                  <a:pt x="164788" y="50419"/>
                </a:lnTo>
                <a:cubicBezTo>
                  <a:pt x="209083" y="22135"/>
                  <a:pt x="261991" y="4919"/>
                  <a:pt x="314899" y="0"/>
                </a:cubicBezTo>
                <a:close/>
              </a:path>
            </a:pathLst>
          </a:custGeom>
          <a:solidFill>
            <a:schemeClr val="accent6"/>
          </a:solidFill>
          <a:ln>
            <a:noFill/>
          </a:ln>
          <a:effectLst/>
        </p:spPr>
        <p:txBody>
          <a:bodyPr wrap="square" anchor="ctr">
            <a:noAutofit/>
          </a:bodyPr>
          <a:lstStyle/>
          <a:p>
            <a:endParaRPr lang="en-US" sz="900">
              <a:latin typeface="+mj-lt"/>
            </a:endParaRPr>
          </a:p>
        </p:txBody>
      </p:sp>
      <p:sp>
        <p:nvSpPr>
          <p:cNvPr id="4" name="Freeform: Shape 121">
            <a:extLst>
              <a:ext uri="{FF2B5EF4-FFF2-40B4-BE49-F238E27FC236}">
                <a16:creationId xmlns:a16="http://schemas.microsoft.com/office/drawing/2014/main" id="{546C62E2-405D-04A3-A696-678E75F468F6}"/>
              </a:ext>
            </a:extLst>
          </p:cNvPr>
          <p:cNvSpPr>
            <a:spLocks noChangeArrowheads="1"/>
          </p:cNvSpPr>
          <p:nvPr userDrawn="1"/>
        </p:nvSpPr>
        <p:spPr bwMode="auto">
          <a:xfrm>
            <a:off x="1781300" y="2160146"/>
            <a:ext cx="2171855" cy="463532"/>
          </a:xfrm>
          <a:custGeom>
            <a:avLst/>
            <a:gdLst>
              <a:gd name="connsiteX0" fmla="*/ 0 w 4343709"/>
              <a:gd name="connsiteY0" fmla="*/ 774502 h 927064"/>
              <a:gd name="connsiteX1" fmla="*/ 37247 w 4343709"/>
              <a:gd name="connsiteY1" fmla="*/ 774502 h 927064"/>
              <a:gd name="connsiteX2" fmla="*/ 37247 w 4343709"/>
              <a:gd name="connsiteY2" fmla="*/ 927064 h 927064"/>
              <a:gd name="connsiteX3" fmla="*/ 0 w 4343709"/>
              <a:gd name="connsiteY3" fmla="*/ 927064 h 927064"/>
              <a:gd name="connsiteX4" fmla="*/ 4306461 w 4343709"/>
              <a:gd name="connsiteY4" fmla="*/ 576756 h 927064"/>
              <a:gd name="connsiteX5" fmla="*/ 4343709 w 4343709"/>
              <a:gd name="connsiteY5" fmla="*/ 576756 h 927064"/>
              <a:gd name="connsiteX6" fmla="*/ 4343709 w 4343709"/>
              <a:gd name="connsiteY6" fmla="*/ 729318 h 927064"/>
              <a:gd name="connsiteX7" fmla="*/ 4306461 w 4343709"/>
              <a:gd name="connsiteY7" fmla="*/ 729318 h 927064"/>
              <a:gd name="connsiteX8" fmla="*/ 0 w 4343709"/>
              <a:gd name="connsiteY8" fmla="*/ 472392 h 927064"/>
              <a:gd name="connsiteX9" fmla="*/ 37247 w 4343709"/>
              <a:gd name="connsiteY9" fmla="*/ 472392 h 927064"/>
              <a:gd name="connsiteX10" fmla="*/ 37247 w 4343709"/>
              <a:gd name="connsiteY10" fmla="*/ 624944 h 927064"/>
              <a:gd name="connsiteX11" fmla="*/ 0 w 4343709"/>
              <a:gd name="connsiteY11" fmla="*/ 624944 h 927064"/>
              <a:gd name="connsiteX12" fmla="*/ 4334503 w 4343709"/>
              <a:gd name="connsiteY12" fmla="*/ 269152 h 927064"/>
              <a:gd name="connsiteX13" fmla="*/ 4343609 w 4343709"/>
              <a:gd name="connsiteY13" fmla="*/ 349129 h 927064"/>
              <a:gd name="connsiteX14" fmla="*/ 4343609 w 4343709"/>
              <a:gd name="connsiteY14" fmla="*/ 421724 h 927064"/>
              <a:gd name="connsiteX15" fmla="*/ 4303281 w 4343709"/>
              <a:gd name="connsiteY15" fmla="*/ 421724 h 927064"/>
              <a:gd name="connsiteX16" fmla="*/ 4303281 w 4343709"/>
              <a:gd name="connsiteY16" fmla="*/ 349129 h 927064"/>
              <a:gd name="connsiteX17" fmla="*/ 4295475 w 4343709"/>
              <a:gd name="connsiteY17" fmla="*/ 276535 h 927064"/>
              <a:gd name="connsiteX18" fmla="*/ 55171 w 4343709"/>
              <a:gd name="connsiteY18" fmla="*/ 164788 h 927064"/>
              <a:gd name="connsiteX19" fmla="*/ 86675 w 4343709"/>
              <a:gd name="connsiteY19" fmla="*/ 186280 h 927064"/>
              <a:gd name="connsiteX20" fmla="*/ 41842 w 4343709"/>
              <a:gd name="connsiteY20" fmla="*/ 322817 h 927064"/>
              <a:gd name="connsiteX21" fmla="*/ 5491 w 4343709"/>
              <a:gd name="connsiteY21" fmla="*/ 319024 h 927064"/>
              <a:gd name="connsiteX22" fmla="*/ 55171 w 4343709"/>
              <a:gd name="connsiteY22" fmla="*/ 164788 h 927064"/>
              <a:gd name="connsiteX23" fmla="*/ 4135707 w 4343709"/>
              <a:gd name="connsiteY23" fmla="*/ 27463 h 927064"/>
              <a:gd name="connsiteX24" fmla="*/ 4261287 w 4343709"/>
              <a:gd name="connsiteY24" fmla="*/ 122413 h 927064"/>
              <a:gd name="connsiteX25" fmla="*/ 4232970 w 4343709"/>
              <a:gd name="connsiteY25" fmla="*/ 147075 h 927064"/>
              <a:gd name="connsiteX26" fmla="*/ 4119702 w 4343709"/>
              <a:gd name="connsiteY26" fmla="*/ 61990 h 927064"/>
              <a:gd name="connsiteX27" fmla="*/ 3828574 w 4343709"/>
              <a:gd name="connsiteY27" fmla="*/ 0 h 927064"/>
              <a:gd name="connsiteX28" fmla="*/ 3981136 w 4343709"/>
              <a:gd name="connsiteY28" fmla="*/ 0 h 927064"/>
              <a:gd name="connsiteX29" fmla="*/ 3981136 w 4343709"/>
              <a:gd name="connsiteY29" fmla="*/ 37248 h 927064"/>
              <a:gd name="connsiteX30" fmla="*/ 3828574 w 4343709"/>
              <a:gd name="connsiteY30" fmla="*/ 37248 h 927064"/>
              <a:gd name="connsiteX31" fmla="*/ 3520970 w 4343709"/>
              <a:gd name="connsiteY31" fmla="*/ 0 h 927064"/>
              <a:gd name="connsiteX32" fmla="*/ 3673522 w 4343709"/>
              <a:gd name="connsiteY32" fmla="*/ 0 h 927064"/>
              <a:gd name="connsiteX33" fmla="*/ 3673522 w 4343709"/>
              <a:gd name="connsiteY33" fmla="*/ 37248 h 927064"/>
              <a:gd name="connsiteX34" fmla="*/ 3520970 w 4343709"/>
              <a:gd name="connsiteY34" fmla="*/ 37248 h 927064"/>
              <a:gd name="connsiteX35" fmla="*/ 3218860 w 4343709"/>
              <a:gd name="connsiteY35" fmla="*/ 0 h 927064"/>
              <a:gd name="connsiteX36" fmla="*/ 3371412 w 4343709"/>
              <a:gd name="connsiteY36" fmla="*/ 0 h 927064"/>
              <a:gd name="connsiteX37" fmla="*/ 3371412 w 4343709"/>
              <a:gd name="connsiteY37" fmla="*/ 37248 h 927064"/>
              <a:gd name="connsiteX38" fmla="*/ 3218860 w 4343709"/>
              <a:gd name="connsiteY38" fmla="*/ 37248 h 927064"/>
              <a:gd name="connsiteX39" fmla="*/ 2911256 w 4343709"/>
              <a:gd name="connsiteY39" fmla="*/ 0 h 927064"/>
              <a:gd name="connsiteX40" fmla="*/ 3063818 w 4343709"/>
              <a:gd name="connsiteY40" fmla="*/ 0 h 927064"/>
              <a:gd name="connsiteX41" fmla="*/ 3063818 w 4343709"/>
              <a:gd name="connsiteY41" fmla="*/ 37248 h 927064"/>
              <a:gd name="connsiteX42" fmla="*/ 2911256 w 4343709"/>
              <a:gd name="connsiteY42" fmla="*/ 37248 h 927064"/>
              <a:gd name="connsiteX43" fmla="*/ 2609142 w 4343709"/>
              <a:gd name="connsiteY43" fmla="*/ 0 h 927064"/>
              <a:gd name="connsiteX44" fmla="*/ 2761694 w 4343709"/>
              <a:gd name="connsiteY44" fmla="*/ 0 h 927064"/>
              <a:gd name="connsiteX45" fmla="*/ 2761694 w 4343709"/>
              <a:gd name="connsiteY45" fmla="*/ 37248 h 927064"/>
              <a:gd name="connsiteX46" fmla="*/ 2609142 w 4343709"/>
              <a:gd name="connsiteY46" fmla="*/ 37248 h 927064"/>
              <a:gd name="connsiteX47" fmla="*/ 2301538 w 4343709"/>
              <a:gd name="connsiteY47" fmla="*/ 0 h 927064"/>
              <a:gd name="connsiteX48" fmla="*/ 2454090 w 4343709"/>
              <a:gd name="connsiteY48" fmla="*/ 0 h 927064"/>
              <a:gd name="connsiteX49" fmla="*/ 2454090 w 4343709"/>
              <a:gd name="connsiteY49" fmla="*/ 37248 h 927064"/>
              <a:gd name="connsiteX50" fmla="*/ 2301538 w 4343709"/>
              <a:gd name="connsiteY50" fmla="*/ 37248 h 927064"/>
              <a:gd name="connsiteX51" fmla="*/ 1999428 w 4343709"/>
              <a:gd name="connsiteY51" fmla="*/ 0 h 927064"/>
              <a:gd name="connsiteX52" fmla="*/ 2151990 w 4343709"/>
              <a:gd name="connsiteY52" fmla="*/ 0 h 927064"/>
              <a:gd name="connsiteX53" fmla="*/ 2151990 w 4343709"/>
              <a:gd name="connsiteY53" fmla="*/ 37248 h 927064"/>
              <a:gd name="connsiteX54" fmla="*/ 1999428 w 4343709"/>
              <a:gd name="connsiteY54" fmla="*/ 37248 h 927064"/>
              <a:gd name="connsiteX55" fmla="*/ 1691824 w 4343709"/>
              <a:gd name="connsiteY55" fmla="*/ 0 h 927064"/>
              <a:gd name="connsiteX56" fmla="*/ 1844376 w 4343709"/>
              <a:gd name="connsiteY56" fmla="*/ 0 h 927064"/>
              <a:gd name="connsiteX57" fmla="*/ 1844376 w 4343709"/>
              <a:gd name="connsiteY57" fmla="*/ 37248 h 927064"/>
              <a:gd name="connsiteX58" fmla="*/ 1691824 w 4343709"/>
              <a:gd name="connsiteY58" fmla="*/ 37248 h 927064"/>
              <a:gd name="connsiteX59" fmla="*/ 1389711 w 4343709"/>
              <a:gd name="connsiteY59" fmla="*/ 0 h 927064"/>
              <a:gd name="connsiteX60" fmla="*/ 1542273 w 4343709"/>
              <a:gd name="connsiteY60" fmla="*/ 0 h 927064"/>
              <a:gd name="connsiteX61" fmla="*/ 1542273 w 4343709"/>
              <a:gd name="connsiteY61" fmla="*/ 37248 h 927064"/>
              <a:gd name="connsiteX62" fmla="*/ 1389711 w 4343709"/>
              <a:gd name="connsiteY62" fmla="*/ 37248 h 927064"/>
              <a:gd name="connsiteX63" fmla="*/ 1082106 w 4343709"/>
              <a:gd name="connsiteY63" fmla="*/ 0 h 927064"/>
              <a:gd name="connsiteX64" fmla="*/ 1234658 w 4343709"/>
              <a:gd name="connsiteY64" fmla="*/ 0 h 927064"/>
              <a:gd name="connsiteX65" fmla="*/ 1234658 w 4343709"/>
              <a:gd name="connsiteY65" fmla="*/ 37248 h 927064"/>
              <a:gd name="connsiteX66" fmla="*/ 1082106 w 4343709"/>
              <a:gd name="connsiteY66" fmla="*/ 37248 h 927064"/>
              <a:gd name="connsiteX67" fmla="*/ 779996 w 4343709"/>
              <a:gd name="connsiteY67" fmla="*/ 0 h 927064"/>
              <a:gd name="connsiteX68" fmla="*/ 932548 w 4343709"/>
              <a:gd name="connsiteY68" fmla="*/ 0 h 927064"/>
              <a:gd name="connsiteX69" fmla="*/ 932548 w 4343709"/>
              <a:gd name="connsiteY69" fmla="*/ 37248 h 927064"/>
              <a:gd name="connsiteX70" fmla="*/ 779996 w 4343709"/>
              <a:gd name="connsiteY70" fmla="*/ 37248 h 927064"/>
              <a:gd name="connsiteX71" fmla="*/ 472392 w 4343709"/>
              <a:gd name="connsiteY71" fmla="*/ 0 h 927064"/>
              <a:gd name="connsiteX72" fmla="*/ 624954 w 4343709"/>
              <a:gd name="connsiteY72" fmla="*/ 0 h 927064"/>
              <a:gd name="connsiteX73" fmla="*/ 624954 w 4343709"/>
              <a:gd name="connsiteY73" fmla="*/ 37248 h 927064"/>
              <a:gd name="connsiteX74" fmla="*/ 472392 w 4343709"/>
              <a:gd name="connsiteY74" fmla="*/ 37248 h 927064"/>
              <a:gd name="connsiteX75" fmla="*/ 320390 w 4343709"/>
              <a:gd name="connsiteY75" fmla="*/ 0 h 927064"/>
              <a:gd name="connsiteX76" fmla="*/ 322850 w 4343709"/>
              <a:gd name="connsiteY76" fmla="*/ 38122 h 927064"/>
              <a:gd name="connsiteX77" fmla="*/ 189966 w 4343709"/>
              <a:gd name="connsiteY77" fmla="*/ 81163 h 927064"/>
              <a:gd name="connsiteX78" fmla="*/ 170279 w 4343709"/>
              <a:gd name="connsiteY78" fmla="*/ 50419 h 927064"/>
              <a:gd name="connsiteX79" fmla="*/ 320390 w 4343709"/>
              <a:gd name="connsiteY79" fmla="*/ 0 h 92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343709" h="927064">
                <a:moveTo>
                  <a:pt x="0" y="774502"/>
                </a:moveTo>
                <a:lnTo>
                  <a:pt x="37247" y="774502"/>
                </a:lnTo>
                <a:lnTo>
                  <a:pt x="37247" y="927064"/>
                </a:lnTo>
                <a:lnTo>
                  <a:pt x="0" y="927064"/>
                </a:lnTo>
                <a:close/>
                <a:moveTo>
                  <a:pt x="4306461" y="576756"/>
                </a:moveTo>
                <a:lnTo>
                  <a:pt x="4343709" y="576756"/>
                </a:lnTo>
                <a:lnTo>
                  <a:pt x="4343709" y="729318"/>
                </a:lnTo>
                <a:lnTo>
                  <a:pt x="4306461" y="729318"/>
                </a:lnTo>
                <a:close/>
                <a:moveTo>
                  <a:pt x="0" y="472392"/>
                </a:moveTo>
                <a:lnTo>
                  <a:pt x="37247" y="472392"/>
                </a:lnTo>
                <a:lnTo>
                  <a:pt x="37247" y="624944"/>
                </a:lnTo>
                <a:lnTo>
                  <a:pt x="0" y="624944"/>
                </a:lnTo>
                <a:close/>
                <a:moveTo>
                  <a:pt x="4334503" y="269152"/>
                </a:moveTo>
                <a:cubicBezTo>
                  <a:pt x="4339707" y="294991"/>
                  <a:pt x="4343609" y="322060"/>
                  <a:pt x="4343609" y="349129"/>
                </a:cubicBezTo>
                <a:lnTo>
                  <a:pt x="4343609" y="421724"/>
                </a:lnTo>
                <a:lnTo>
                  <a:pt x="4303281" y="421724"/>
                </a:lnTo>
                <a:lnTo>
                  <a:pt x="4303281" y="349129"/>
                </a:lnTo>
                <a:cubicBezTo>
                  <a:pt x="4303281" y="325751"/>
                  <a:pt x="4301980" y="301143"/>
                  <a:pt x="4295475" y="276535"/>
                </a:cubicBezTo>
                <a:close/>
                <a:moveTo>
                  <a:pt x="55171" y="164788"/>
                </a:moveTo>
                <a:lnTo>
                  <a:pt x="86675" y="186280"/>
                </a:lnTo>
                <a:cubicBezTo>
                  <a:pt x="61229" y="228000"/>
                  <a:pt x="46689" y="273512"/>
                  <a:pt x="41842" y="322817"/>
                </a:cubicBezTo>
                <a:lnTo>
                  <a:pt x="5491" y="319024"/>
                </a:lnTo>
                <a:cubicBezTo>
                  <a:pt x="10338" y="264662"/>
                  <a:pt x="27302" y="211565"/>
                  <a:pt x="55171" y="164788"/>
                </a:cubicBezTo>
                <a:close/>
                <a:moveTo>
                  <a:pt x="4135707" y="27463"/>
                </a:moveTo>
                <a:cubicBezTo>
                  <a:pt x="4184954" y="48426"/>
                  <a:pt x="4228045" y="81720"/>
                  <a:pt x="4261287" y="122413"/>
                </a:cubicBezTo>
                <a:lnTo>
                  <a:pt x="4232970" y="147075"/>
                </a:lnTo>
                <a:cubicBezTo>
                  <a:pt x="4202191" y="110082"/>
                  <a:pt x="4164024" y="81720"/>
                  <a:pt x="4119702" y="61990"/>
                </a:cubicBezTo>
                <a:close/>
                <a:moveTo>
                  <a:pt x="3828574" y="0"/>
                </a:moveTo>
                <a:lnTo>
                  <a:pt x="3981136" y="0"/>
                </a:lnTo>
                <a:lnTo>
                  <a:pt x="3981136" y="37248"/>
                </a:lnTo>
                <a:lnTo>
                  <a:pt x="3828574" y="37248"/>
                </a:lnTo>
                <a:close/>
                <a:moveTo>
                  <a:pt x="3520970" y="0"/>
                </a:moveTo>
                <a:lnTo>
                  <a:pt x="3673522" y="0"/>
                </a:lnTo>
                <a:lnTo>
                  <a:pt x="3673522" y="37248"/>
                </a:lnTo>
                <a:lnTo>
                  <a:pt x="3520970" y="37248"/>
                </a:lnTo>
                <a:close/>
                <a:moveTo>
                  <a:pt x="3218860" y="0"/>
                </a:moveTo>
                <a:lnTo>
                  <a:pt x="3371412" y="0"/>
                </a:lnTo>
                <a:lnTo>
                  <a:pt x="3371412" y="37248"/>
                </a:lnTo>
                <a:lnTo>
                  <a:pt x="3218860" y="37248"/>
                </a:lnTo>
                <a:close/>
                <a:moveTo>
                  <a:pt x="2911256" y="0"/>
                </a:moveTo>
                <a:lnTo>
                  <a:pt x="3063818" y="0"/>
                </a:lnTo>
                <a:lnTo>
                  <a:pt x="3063818" y="37248"/>
                </a:lnTo>
                <a:lnTo>
                  <a:pt x="2911256" y="37248"/>
                </a:lnTo>
                <a:close/>
                <a:moveTo>
                  <a:pt x="2609142" y="0"/>
                </a:moveTo>
                <a:lnTo>
                  <a:pt x="2761694" y="0"/>
                </a:lnTo>
                <a:lnTo>
                  <a:pt x="2761694" y="37248"/>
                </a:lnTo>
                <a:lnTo>
                  <a:pt x="2609142" y="37248"/>
                </a:lnTo>
                <a:close/>
                <a:moveTo>
                  <a:pt x="2301538" y="0"/>
                </a:moveTo>
                <a:lnTo>
                  <a:pt x="2454090" y="0"/>
                </a:lnTo>
                <a:lnTo>
                  <a:pt x="2454090" y="37248"/>
                </a:lnTo>
                <a:lnTo>
                  <a:pt x="2301538" y="37248"/>
                </a:lnTo>
                <a:close/>
                <a:moveTo>
                  <a:pt x="1999428" y="0"/>
                </a:moveTo>
                <a:lnTo>
                  <a:pt x="2151990" y="0"/>
                </a:lnTo>
                <a:lnTo>
                  <a:pt x="2151990" y="37248"/>
                </a:lnTo>
                <a:lnTo>
                  <a:pt x="1999428" y="37248"/>
                </a:lnTo>
                <a:close/>
                <a:moveTo>
                  <a:pt x="1691824" y="0"/>
                </a:moveTo>
                <a:lnTo>
                  <a:pt x="1844376" y="0"/>
                </a:lnTo>
                <a:lnTo>
                  <a:pt x="1844376" y="37248"/>
                </a:lnTo>
                <a:lnTo>
                  <a:pt x="1691824" y="37248"/>
                </a:lnTo>
                <a:close/>
                <a:moveTo>
                  <a:pt x="1389711" y="0"/>
                </a:moveTo>
                <a:lnTo>
                  <a:pt x="1542273" y="0"/>
                </a:lnTo>
                <a:lnTo>
                  <a:pt x="1542273" y="37248"/>
                </a:lnTo>
                <a:lnTo>
                  <a:pt x="1389711" y="37248"/>
                </a:lnTo>
                <a:close/>
                <a:moveTo>
                  <a:pt x="1082106" y="0"/>
                </a:moveTo>
                <a:lnTo>
                  <a:pt x="1234658" y="0"/>
                </a:lnTo>
                <a:lnTo>
                  <a:pt x="1234658" y="37248"/>
                </a:lnTo>
                <a:lnTo>
                  <a:pt x="1082106" y="37248"/>
                </a:lnTo>
                <a:close/>
                <a:moveTo>
                  <a:pt x="779996" y="0"/>
                </a:moveTo>
                <a:lnTo>
                  <a:pt x="932548" y="0"/>
                </a:lnTo>
                <a:lnTo>
                  <a:pt x="932548" y="37248"/>
                </a:lnTo>
                <a:lnTo>
                  <a:pt x="779996" y="37248"/>
                </a:lnTo>
                <a:close/>
                <a:moveTo>
                  <a:pt x="472392" y="0"/>
                </a:moveTo>
                <a:lnTo>
                  <a:pt x="624954" y="0"/>
                </a:lnTo>
                <a:lnTo>
                  <a:pt x="624954" y="37248"/>
                </a:lnTo>
                <a:lnTo>
                  <a:pt x="472392" y="37248"/>
                </a:lnTo>
                <a:close/>
                <a:moveTo>
                  <a:pt x="320390" y="0"/>
                </a:moveTo>
                <a:lnTo>
                  <a:pt x="322850" y="38122"/>
                </a:lnTo>
                <a:cubicBezTo>
                  <a:pt x="276095" y="41811"/>
                  <a:pt x="230569" y="56568"/>
                  <a:pt x="189966" y="81163"/>
                </a:cubicBezTo>
                <a:lnTo>
                  <a:pt x="170279" y="50419"/>
                </a:lnTo>
                <a:cubicBezTo>
                  <a:pt x="215804" y="22135"/>
                  <a:pt x="267482" y="4919"/>
                  <a:pt x="320390" y="0"/>
                </a:cubicBezTo>
                <a:close/>
              </a:path>
            </a:pathLst>
          </a:custGeom>
          <a:solidFill>
            <a:schemeClr val="accent6"/>
          </a:solidFill>
          <a:ln>
            <a:noFill/>
          </a:ln>
          <a:effectLst/>
        </p:spPr>
        <p:txBody>
          <a:bodyPr wrap="square" anchor="ctr">
            <a:noAutofit/>
          </a:bodyPr>
          <a:lstStyle/>
          <a:p>
            <a:endParaRPr lang="en-US" sz="900">
              <a:latin typeface="+mj-lt"/>
            </a:endParaRPr>
          </a:p>
        </p:txBody>
      </p:sp>
      <p:sp>
        <p:nvSpPr>
          <p:cNvPr id="5" name="Freeform: Shape 120">
            <a:extLst>
              <a:ext uri="{FF2B5EF4-FFF2-40B4-BE49-F238E27FC236}">
                <a16:creationId xmlns:a16="http://schemas.microsoft.com/office/drawing/2014/main" id="{37C19FDE-9EF5-3C2B-FB05-69B07057F9E2}"/>
              </a:ext>
            </a:extLst>
          </p:cNvPr>
          <p:cNvSpPr>
            <a:spLocks noChangeArrowheads="1"/>
          </p:cNvSpPr>
          <p:nvPr userDrawn="1"/>
        </p:nvSpPr>
        <p:spPr bwMode="auto">
          <a:xfrm>
            <a:off x="3934530" y="4898374"/>
            <a:ext cx="2171815" cy="617355"/>
          </a:xfrm>
          <a:custGeom>
            <a:avLst/>
            <a:gdLst>
              <a:gd name="connsiteX0" fmla="*/ 3718716 w 4343629"/>
              <a:gd name="connsiteY0" fmla="*/ 1197459 h 1234709"/>
              <a:gd name="connsiteX1" fmla="*/ 3871278 w 4343629"/>
              <a:gd name="connsiteY1" fmla="*/ 1197459 h 1234709"/>
              <a:gd name="connsiteX2" fmla="*/ 3871278 w 4343629"/>
              <a:gd name="connsiteY2" fmla="*/ 1234709 h 1234709"/>
              <a:gd name="connsiteX3" fmla="*/ 3718716 w 4343629"/>
              <a:gd name="connsiteY3" fmla="*/ 1234709 h 1234709"/>
              <a:gd name="connsiteX4" fmla="*/ 3411112 w 4343629"/>
              <a:gd name="connsiteY4" fmla="*/ 1197459 h 1234709"/>
              <a:gd name="connsiteX5" fmla="*/ 3563664 w 4343629"/>
              <a:gd name="connsiteY5" fmla="*/ 1197459 h 1234709"/>
              <a:gd name="connsiteX6" fmla="*/ 3563664 w 4343629"/>
              <a:gd name="connsiteY6" fmla="*/ 1234709 h 1234709"/>
              <a:gd name="connsiteX7" fmla="*/ 3411112 w 4343629"/>
              <a:gd name="connsiteY7" fmla="*/ 1234709 h 1234709"/>
              <a:gd name="connsiteX8" fmla="*/ 3109002 w 4343629"/>
              <a:gd name="connsiteY8" fmla="*/ 1197459 h 1234709"/>
              <a:gd name="connsiteX9" fmla="*/ 3261564 w 4343629"/>
              <a:gd name="connsiteY9" fmla="*/ 1197459 h 1234709"/>
              <a:gd name="connsiteX10" fmla="*/ 3261564 w 4343629"/>
              <a:gd name="connsiteY10" fmla="*/ 1234709 h 1234709"/>
              <a:gd name="connsiteX11" fmla="*/ 3109002 w 4343629"/>
              <a:gd name="connsiteY11" fmla="*/ 1234709 h 1234709"/>
              <a:gd name="connsiteX12" fmla="*/ 2806889 w 4343629"/>
              <a:gd name="connsiteY12" fmla="*/ 1197459 h 1234709"/>
              <a:gd name="connsiteX13" fmla="*/ 2959441 w 4343629"/>
              <a:gd name="connsiteY13" fmla="*/ 1197459 h 1234709"/>
              <a:gd name="connsiteX14" fmla="*/ 2959441 w 4343629"/>
              <a:gd name="connsiteY14" fmla="*/ 1234709 h 1234709"/>
              <a:gd name="connsiteX15" fmla="*/ 2806889 w 4343629"/>
              <a:gd name="connsiteY15" fmla="*/ 1234709 h 1234709"/>
              <a:gd name="connsiteX16" fmla="*/ 2499285 w 4343629"/>
              <a:gd name="connsiteY16" fmla="*/ 1197459 h 1234709"/>
              <a:gd name="connsiteX17" fmla="*/ 2651837 w 4343629"/>
              <a:gd name="connsiteY17" fmla="*/ 1197459 h 1234709"/>
              <a:gd name="connsiteX18" fmla="*/ 2651837 w 4343629"/>
              <a:gd name="connsiteY18" fmla="*/ 1234709 h 1234709"/>
              <a:gd name="connsiteX19" fmla="*/ 2499285 w 4343629"/>
              <a:gd name="connsiteY19" fmla="*/ 1234709 h 1234709"/>
              <a:gd name="connsiteX20" fmla="*/ 2191680 w 4343629"/>
              <a:gd name="connsiteY20" fmla="*/ 1197459 h 1234709"/>
              <a:gd name="connsiteX21" fmla="*/ 2344242 w 4343629"/>
              <a:gd name="connsiteY21" fmla="*/ 1197459 h 1234709"/>
              <a:gd name="connsiteX22" fmla="*/ 2344242 w 4343629"/>
              <a:gd name="connsiteY22" fmla="*/ 1234709 h 1234709"/>
              <a:gd name="connsiteX23" fmla="*/ 2191680 w 4343629"/>
              <a:gd name="connsiteY23" fmla="*/ 1234709 h 1234709"/>
              <a:gd name="connsiteX24" fmla="*/ 1889570 w 4343629"/>
              <a:gd name="connsiteY24" fmla="*/ 1197459 h 1234709"/>
              <a:gd name="connsiteX25" fmla="*/ 2042122 w 4343629"/>
              <a:gd name="connsiteY25" fmla="*/ 1197459 h 1234709"/>
              <a:gd name="connsiteX26" fmla="*/ 2042122 w 4343629"/>
              <a:gd name="connsiteY26" fmla="*/ 1234709 h 1234709"/>
              <a:gd name="connsiteX27" fmla="*/ 1889570 w 4343629"/>
              <a:gd name="connsiteY27" fmla="*/ 1234709 h 1234709"/>
              <a:gd name="connsiteX28" fmla="*/ 1587457 w 4343629"/>
              <a:gd name="connsiteY28" fmla="*/ 1197459 h 1234709"/>
              <a:gd name="connsiteX29" fmla="*/ 1740009 w 4343629"/>
              <a:gd name="connsiteY29" fmla="*/ 1197459 h 1234709"/>
              <a:gd name="connsiteX30" fmla="*/ 1740009 w 4343629"/>
              <a:gd name="connsiteY30" fmla="*/ 1234709 h 1234709"/>
              <a:gd name="connsiteX31" fmla="*/ 1587457 w 4343629"/>
              <a:gd name="connsiteY31" fmla="*/ 1234709 h 1234709"/>
              <a:gd name="connsiteX32" fmla="*/ 1279853 w 4343629"/>
              <a:gd name="connsiteY32" fmla="*/ 1197459 h 1234709"/>
              <a:gd name="connsiteX33" fmla="*/ 1432415 w 4343629"/>
              <a:gd name="connsiteY33" fmla="*/ 1197459 h 1234709"/>
              <a:gd name="connsiteX34" fmla="*/ 1432415 w 4343629"/>
              <a:gd name="connsiteY34" fmla="*/ 1234709 h 1234709"/>
              <a:gd name="connsiteX35" fmla="*/ 1279853 w 4343629"/>
              <a:gd name="connsiteY35" fmla="*/ 1234709 h 1234709"/>
              <a:gd name="connsiteX36" fmla="*/ 977743 w 4343629"/>
              <a:gd name="connsiteY36" fmla="*/ 1197459 h 1234709"/>
              <a:gd name="connsiteX37" fmla="*/ 1130295 w 4343629"/>
              <a:gd name="connsiteY37" fmla="*/ 1197459 h 1234709"/>
              <a:gd name="connsiteX38" fmla="*/ 1130295 w 4343629"/>
              <a:gd name="connsiteY38" fmla="*/ 1234709 h 1234709"/>
              <a:gd name="connsiteX39" fmla="*/ 977743 w 4343629"/>
              <a:gd name="connsiteY39" fmla="*/ 1234709 h 1234709"/>
              <a:gd name="connsiteX40" fmla="*/ 670139 w 4343629"/>
              <a:gd name="connsiteY40" fmla="*/ 1197459 h 1234709"/>
              <a:gd name="connsiteX41" fmla="*/ 822701 w 4343629"/>
              <a:gd name="connsiteY41" fmla="*/ 1197459 h 1234709"/>
              <a:gd name="connsiteX42" fmla="*/ 822701 w 4343629"/>
              <a:gd name="connsiteY42" fmla="*/ 1234709 h 1234709"/>
              <a:gd name="connsiteX43" fmla="*/ 670139 w 4343629"/>
              <a:gd name="connsiteY43" fmla="*/ 1234709 h 1234709"/>
              <a:gd name="connsiteX44" fmla="*/ 368025 w 4343629"/>
              <a:gd name="connsiteY44" fmla="*/ 1197459 h 1234709"/>
              <a:gd name="connsiteX45" fmla="*/ 520577 w 4343629"/>
              <a:gd name="connsiteY45" fmla="*/ 1197459 h 1234709"/>
              <a:gd name="connsiteX46" fmla="*/ 520577 w 4343629"/>
              <a:gd name="connsiteY46" fmla="*/ 1234709 h 1234709"/>
              <a:gd name="connsiteX47" fmla="*/ 368025 w 4343629"/>
              <a:gd name="connsiteY47" fmla="*/ 1234709 h 1234709"/>
              <a:gd name="connsiteX48" fmla="*/ 4158631 w 4343629"/>
              <a:gd name="connsiteY48" fmla="*/ 1148025 h 1234709"/>
              <a:gd name="connsiteX49" fmla="*/ 4178859 w 4343629"/>
              <a:gd name="connsiteY49" fmla="*/ 1179528 h 1234709"/>
              <a:gd name="connsiteX50" fmla="*/ 4024623 w 4343629"/>
              <a:gd name="connsiteY50" fmla="*/ 1229205 h 1234709"/>
              <a:gd name="connsiteX51" fmla="*/ 4020830 w 4343629"/>
              <a:gd name="connsiteY51" fmla="*/ 1191644 h 1234709"/>
              <a:gd name="connsiteX52" fmla="*/ 4158631 w 4343629"/>
              <a:gd name="connsiteY52" fmla="*/ 1148025 h 1234709"/>
              <a:gd name="connsiteX53" fmla="*/ 110710 w 4343629"/>
              <a:gd name="connsiteY53" fmla="*/ 1082109 h 1234709"/>
              <a:gd name="connsiteX54" fmla="*/ 223978 w 4343629"/>
              <a:gd name="connsiteY54" fmla="*/ 1165961 h 1234709"/>
              <a:gd name="connsiteX55" fmla="*/ 207973 w 4343629"/>
              <a:gd name="connsiteY55" fmla="*/ 1201721 h 1234709"/>
              <a:gd name="connsiteX56" fmla="*/ 82393 w 4343629"/>
              <a:gd name="connsiteY56" fmla="*/ 1106771 h 1234709"/>
              <a:gd name="connsiteX57" fmla="*/ 4302526 w 4343629"/>
              <a:gd name="connsiteY57" fmla="*/ 917321 h 1234709"/>
              <a:gd name="connsiteX58" fmla="*/ 4338190 w 4343629"/>
              <a:gd name="connsiteY58" fmla="*/ 921012 h 1234709"/>
              <a:gd name="connsiteX59" fmla="*/ 4288999 w 4343629"/>
              <a:gd name="connsiteY59" fmla="*/ 1069893 h 1234709"/>
              <a:gd name="connsiteX60" fmla="*/ 4257024 w 4343629"/>
              <a:gd name="connsiteY60" fmla="*/ 1050206 h 1234709"/>
              <a:gd name="connsiteX61" fmla="*/ 4302526 w 4343629"/>
              <a:gd name="connsiteY61" fmla="*/ 917321 h 1234709"/>
              <a:gd name="connsiteX62" fmla="*/ 0 w 4343629"/>
              <a:gd name="connsiteY62" fmla="*/ 812954 h 1234709"/>
              <a:gd name="connsiteX63" fmla="*/ 39295 w 4343629"/>
              <a:gd name="connsiteY63" fmla="*/ 812954 h 1234709"/>
              <a:gd name="connsiteX64" fmla="*/ 39295 w 4343629"/>
              <a:gd name="connsiteY64" fmla="*/ 887545 h 1234709"/>
              <a:gd name="connsiteX65" fmla="*/ 48168 w 4343629"/>
              <a:gd name="connsiteY65" fmla="*/ 962137 h 1234709"/>
              <a:gd name="connsiteX66" fmla="*/ 11408 w 4343629"/>
              <a:gd name="connsiteY66" fmla="*/ 970987 h 1234709"/>
              <a:gd name="connsiteX67" fmla="*/ 0 w 4343629"/>
              <a:gd name="connsiteY67" fmla="*/ 887545 h 1234709"/>
              <a:gd name="connsiteX68" fmla="*/ 4306462 w 4343629"/>
              <a:gd name="connsiteY68" fmla="*/ 615208 h 1234709"/>
              <a:gd name="connsiteX69" fmla="*/ 4343629 w 4343629"/>
              <a:gd name="connsiteY69" fmla="*/ 615208 h 1234709"/>
              <a:gd name="connsiteX70" fmla="*/ 4343629 w 4343629"/>
              <a:gd name="connsiteY70" fmla="*/ 767760 h 1234709"/>
              <a:gd name="connsiteX71" fmla="*/ 4306462 w 4343629"/>
              <a:gd name="connsiteY71" fmla="*/ 767760 h 1234709"/>
              <a:gd name="connsiteX72" fmla="*/ 0 w 4343629"/>
              <a:gd name="connsiteY72" fmla="*/ 505350 h 1234709"/>
              <a:gd name="connsiteX73" fmla="*/ 37248 w 4343629"/>
              <a:gd name="connsiteY73" fmla="*/ 505350 h 1234709"/>
              <a:gd name="connsiteX74" fmla="*/ 37248 w 4343629"/>
              <a:gd name="connsiteY74" fmla="*/ 657912 h 1234709"/>
              <a:gd name="connsiteX75" fmla="*/ 0 w 4343629"/>
              <a:gd name="connsiteY75" fmla="*/ 657912 h 1234709"/>
              <a:gd name="connsiteX76" fmla="*/ 4306462 w 4343629"/>
              <a:gd name="connsiteY76" fmla="*/ 307604 h 1234709"/>
              <a:gd name="connsiteX77" fmla="*/ 4343629 w 4343629"/>
              <a:gd name="connsiteY77" fmla="*/ 307604 h 1234709"/>
              <a:gd name="connsiteX78" fmla="*/ 4343629 w 4343629"/>
              <a:gd name="connsiteY78" fmla="*/ 460156 h 1234709"/>
              <a:gd name="connsiteX79" fmla="*/ 4306462 w 4343629"/>
              <a:gd name="connsiteY79" fmla="*/ 460156 h 1234709"/>
              <a:gd name="connsiteX80" fmla="*/ 0 w 4343629"/>
              <a:gd name="connsiteY80" fmla="*/ 203240 h 1234709"/>
              <a:gd name="connsiteX81" fmla="*/ 37248 w 4343629"/>
              <a:gd name="connsiteY81" fmla="*/ 203240 h 1234709"/>
              <a:gd name="connsiteX82" fmla="*/ 37248 w 4343629"/>
              <a:gd name="connsiteY82" fmla="*/ 355792 h 1234709"/>
              <a:gd name="connsiteX83" fmla="*/ 0 w 4343629"/>
              <a:gd name="connsiteY83" fmla="*/ 355792 h 1234709"/>
              <a:gd name="connsiteX84" fmla="*/ 4306462 w 4343629"/>
              <a:gd name="connsiteY84" fmla="*/ 0 h 1234709"/>
              <a:gd name="connsiteX85" fmla="*/ 4343629 w 4343629"/>
              <a:gd name="connsiteY85" fmla="*/ 0 h 1234709"/>
              <a:gd name="connsiteX86" fmla="*/ 4343629 w 4343629"/>
              <a:gd name="connsiteY86" fmla="*/ 152562 h 1234709"/>
              <a:gd name="connsiteX87" fmla="*/ 4306462 w 4343629"/>
              <a:gd name="connsiteY87" fmla="*/ 152562 h 1234709"/>
              <a:gd name="connsiteX88" fmla="*/ 0 w 4343629"/>
              <a:gd name="connsiteY88" fmla="*/ 0 h 1234709"/>
              <a:gd name="connsiteX89" fmla="*/ 37248 w 4343629"/>
              <a:gd name="connsiteY89" fmla="*/ 0 h 1234709"/>
              <a:gd name="connsiteX90" fmla="*/ 37248 w 4343629"/>
              <a:gd name="connsiteY90" fmla="*/ 48137 h 1234709"/>
              <a:gd name="connsiteX91" fmla="*/ 0 w 4343629"/>
              <a:gd name="connsiteY91" fmla="*/ 48137 h 123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343629" h="1234709">
                <a:moveTo>
                  <a:pt x="3718716" y="1197459"/>
                </a:moveTo>
                <a:lnTo>
                  <a:pt x="3871278" y="1197459"/>
                </a:lnTo>
                <a:lnTo>
                  <a:pt x="3871278" y="1234709"/>
                </a:lnTo>
                <a:lnTo>
                  <a:pt x="3718716" y="1234709"/>
                </a:lnTo>
                <a:close/>
                <a:moveTo>
                  <a:pt x="3411112" y="1197459"/>
                </a:moveTo>
                <a:lnTo>
                  <a:pt x="3563664" y="1197459"/>
                </a:lnTo>
                <a:lnTo>
                  <a:pt x="3563664" y="1234709"/>
                </a:lnTo>
                <a:lnTo>
                  <a:pt x="3411112" y="1234709"/>
                </a:lnTo>
                <a:close/>
                <a:moveTo>
                  <a:pt x="3109002" y="1197459"/>
                </a:moveTo>
                <a:lnTo>
                  <a:pt x="3261564" y="1197459"/>
                </a:lnTo>
                <a:lnTo>
                  <a:pt x="3261564" y="1234709"/>
                </a:lnTo>
                <a:lnTo>
                  <a:pt x="3109002" y="1234709"/>
                </a:lnTo>
                <a:close/>
                <a:moveTo>
                  <a:pt x="2806889" y="1197459"/>
                </a:moveTo>
                <a:lnTo>
                  <a:pt x="2959441" y="1197459"/>
                </a:lnTo>
                <a:lnTo>
                  <a:pt x="2959441" y="1234709"/>
                </a:lnTo>
                <a:lnTo>
                  <a:pt x="2806889" y="1234709"/>
                </a:lnTo>
                <a:close/>
                <a:moveTo>
                  <a:pt x="2499285" y="1197459"/>
                </a:moveTo>
                <a:lnTo>
                  <a:pt x="2651837" y="1197459"/>
                </a:lnTo>
                <a:lnTo>
                  <a:pt x="2651837" y="1234709"/>
                </a:lnTo>
                <a:lnTo>
                  <a:pt x="2499285" y="1234709"/>
                </a:lnTo>
                <a:close/>
                <a:moveTo>
                  <a:pt x="2191680" y="1197459"/>
                </a:moveTo>
                <a:lnTo>
                  <a:pt x="2344242" y="1197459"/>
                </a:lnTo>
                <a:lnTo>
                  <a:pt x="2344242" y="1234709"/>
                </a:lnTo>
                <a:lnTo>
                  <a:pt x="2191680" y="1234709"/>
                </a:lnTo>
                <a:close/>
                <a:moveTo>
                  <a:pt x="1889570" y="1197459"/>
                </a:moveTo>
                <a:lnTo>
                  <a:pt x="2042122" y="1197459"/>
                </a:lnTo>
                <a:lnTo>
                  <a:pt x="2042122" y="1234709"/>
                </a:lnTo>
                <a:lnTo>
                  <a:pt x="1889570" y="1234709"/>
                </a:lnTo>
                <a:close/>
                <a:moveTo>
                  <a:pt x="1587457" y="1197459"/>
                </a:moveTo>
                <a:lnTo>
                  <a:pt x="1740009" y="1197459"/>
                </a:lnTo>
                <a:lnTo>
                  <a:pt x="1740009" y="1234709"/>
                </a:lnTo>
                <a:lnTo>
                  <a:pt x="1587457" y="1234709"/>
                </a:lnTo>
                <a:close/>
                <a:moveTo>
                  <a:pt x="1279853" y="1197459"/>
                </a:moveTo>
                <a:lnTo>
                  <a:pt x="1432415" y="1197459"/>
                </a:lnTo>
                <a:lnTo>
                  <a:pt x="1432415" y="1234709"/>
                </a:lnTo>
                <a:lnTo>
                  <a:pt x="1279853" y="1234709"/>
                </a:lnTo>
                <a:close/>
                <a:moveTo>
                  <a:pt x="977743" y="1197459"/>
                </a:moveTo>
                <a:lnTo>
                  <a:pt x="1130295" y="1197459"/>
                </a:lnTo>
                <a:lnTo>
                  <a:pt x="1130295" y="1234709"/>
                </a:lnTo>
                <a:lnTo>
                  <a:pt x="977743" y="1234709"/>
                </a:lnTo>
                <a:close/>
                <a:moveTo>
                  <a:pt x="670139" y="1197459"/>
                </a:moveTo>
                <a:lnTo>
                  <a:pt x="822701" y="1197459"/>
                </a:lnTo>
                <a:lnTo>
                  <a:pt x="822701" y="1234709"/>
                </a:lnTo>
                <a:lnTo>
                  <a:pt x="670139" y="1234709"/>
                </a:lnTo>
                <a:close/>
                <a:moveTo>
                  <a:pt x="368025" y="1197459"/>
                </a:moveTo>
                <a:lnTo>
                  <a:pt x="520577" y="1197459"/>
                </a:lnTo>
                <a:lnTo>
                  <a:pt x="520577" y="1234709"/>
                </a:lnTo>
                <a:lnTo>
                  <a:pt x="368025" y="1234709"/>
                </a:lnTo>
                <a:close/>
                <a:moveTo>
                  <a:pt x="4158631" y="1148025"/>
                </a:moveTo>
                <a:lnTo>
                  <a:pt x="4178859" y="1179528"/>
                </a:lnTo>
                <a:cubicBezTo>
                  <a:pt x="4132082" y="1207396"/>
                  <a:pt x="4078985" y="1224359"/>
                  <a:pt x="4024623" y="1229205"/>
                </a:cubicBezTo>
                <a:lnTo>
                  <a:pt x="4020830" y="1191644"/>
                </a:lnTo>
                <a:cubicBezTo>
                  <a:pt x="4070135" y="1186798"/>
                  <a:pt x="4116911" y="1173470"/>
                  <a:pt x="4158631" y="1148025"/>
                </a:cubicBezTo>
                <a:close/>
                <a:moveTo>
                  <a:pt x="110710" y="1082109"/>
                </a:moveTo>
                <a:cubicBezTo>
                  <a:pt x="140258" y="1117869"/>
                  <a:pt x="179656" y="1147464"/>
                  <a:pt x="223978" y="1165961"/>
                </a:cubicBezTo>
                <a:lnTo>
                  <a:pt x="207973" y="1201721"/>
                </a:lnTo>
                <a:cubicBezTo>
                  <a:pt x="159957" y="1179525"/>
                  <a:pt x="115635" y="1147464"/>
                  <a:pt x="82393" y="1106771"/>
                </a:cubicBezTo>
                <a:close/>
                <a:moveTo>
                  <a:pt x="4302526" y="917321"/>
                </a:moveTo>
                <a:lnTo>
                  <a:pt x="4338190" y="921012"/>
                </a:lnTo>
                <a:cubicBezTo>
                  <a:pt x="4334501" y="972690"/>
                  <a:pt x="4317284" y="1025598"/>
                  <a:pt x="4288999" y="1069893"/>
                </a:cubicBezTo>
                <a:lnTo>
                  <a:pt x="4257024" y="1050206"/>
                </a:lnTo>
                <a:cubicBezTo>
                  <a:pt x="4282850" y="1009602"/>
                  <a:pt x="4297607" y="964077"/>
                  <a:pt x="4302526" y="917321"/>
                </a:cubicBezTo>
                <a:close/>
                <a:moveTo>
                  <a:pt x="0" y="812954"/>
                </a:moveTo>
                <a:lnTo>
                  <a:pt x="39295" y="812954"/>
                </a:lnTo>
                <a:lnTo>
                  <a:pt x="39295" y="887545"/>
                </a:lnTo>
                <a:cubicBezTo>
                  <a:pt x="39295" y="912831"/>
                  <a:pt x="41830" y="938116"/>
                  <a:pt x="48168" y="962137"/>
                </a:cubicBezTo>
                <a:lnTo>
                  <a:pt x="11408" y="970987"/>
                </a:lnTo>
                <a:cubicBezTo>
                  <a:pt x="5071" y="944437"/>
                  <a:pt x="0" y="916623"/>
                  <a:pt x="0" y="887545"/>
                </a:cubicBezTo>
                <a:close/>
                <a:moveTo>
                  <a:pt x="4306462" y="615208"/>
                </a:moveTo>
                <a:lnTo>
                  <a:pt x="4343629" y="615208"/>
                </a:lnTo>
                <a:lnTo>
                  <a:pt x="4343629" y="767760"/>
                </a:lnTo>
                <a:lnTo>
                  <a:pt x="4306462" y="767760"/>
                </a:lnTo>
                <a:close/>
                <a:moveTo>
                  <a:pt x="0" y="505350"/>
                </a:moveTo>
                <a:lnTo>
                  <a:pt x="37248" y="505350"/>
                </a:lnTo>
                <a:lnTo>
                  <a:pt x="37248" y="657912"/>
                </a:lnTo>
                <a:lnTo>
                  <a:pt x="0" y="657912"/>
                </a:lnTo>
                <a:close/>
                <a:moveTo>
                  <a:pt x="4306462" y="307604"/>
                </a:moveTo>
                <a:lnTo>
                  <a:pt x="4343629" y="307604"/>
                </a:lnTo>
                <a:lnTo>
                  <a:pt x="4343629" y="460156"/>
                </a:lnTo>
                <a:lnTo>
                  <a:pt x="4306462" y="460156"/>
                </a:lnTo>
                <a:close/>
                <a:moveTo>
                  <a:pt x="0" y="203240"/>
                </a:moveTo>
                <a:lnTo>
                  <a:pt x="37248" y="203240"/>
                </a:lnTo>
                <a:lnTo>
                  <a:pt x="37248" y="355792"/>
                </a:lnTo>
                <a:lnTo>
                  <a:pt x="0" y="355792"/>
                </a:lnTo>
                <a:close/>
                <a:moveTo>
                  <a:pt x="4306462" y="0"/>
                </a:moveTo>
                <a:lnTo>
                  <a:pt x="4343629" y="0"/>
                </a:lnTo>
                <a:lnTo>
                  <a:pt x="4343629" y="152562"/>
                </a:lnTo>
                <a:lnTo>
                  <a:pt x="4306462" y="152562"/>
                </a:lnTo>
                <a:close/>
                <a:moveTo>
                  <a:pt x="0" y="0"/>
                </a:moveTo>
                <a:lnTo>
                  <a:pt x="37248" y="0"/>
                </a:lnTo>
                <a:lnTo>
                  <a:pt x="37248" y="48137"/>
                </a:lnTo>
                <a:lnTo>
                  <a:pt x="0" y="48137"/>
                </a:lnTo>
                <a:close/>
              </a:path>
            </a:pathLst>
          </a:custGeom>
          <a:solidFill>
            <a:schemeClr val="accent6"/>
          </a:solidFill>
          <a:ln>
            <a:noFill/>
          </a:ln>
          <a:effectLst/>
        </p:spPr>
        <p:txBody>
          <a:bodyPr wrap="square" anchor="ctr">
            <a:noAutofit/>
          </a:bodyPr>
          <a:lstStyle/>
          <a:p>
            <a:endParaRPr lang="en-US" sz="900">
              <a:latin typeface="+mj-lt"/>
            </a:endParaRPr>
          </a:p>
        </p:txBody>
      </p:sp>
      <p:sp>
        <p:nvSpPr>
          <p:cNvPr id="6" name="Freeform: Shape 119">
            <a:extLst>
              <a:ext uri="{FF2B5EF4-FFF2-40B4-BE49-F238E27FC236}">
                <a16:creationId xmlns:a16="http://schemas.microsoft.com/office/drawing/2014/main" id="{3F730780-8E7B-AD4C-E359-73CDDEFEDB9B}"/>
              </a:ext>
            </a:extLst>
          </p:cNvPr>
          <p:cNvSpPr>
            <a:spLocks noChangeArrowheads="1"/>
          </p:cNvSpPr>
          <p:nvPr userDrawn="1"/>
        </p:nvSpPr>
        <p:spPr bwMode="auto">
          <a:xfrm>
            <a:off x="8238245" y="4898374"/>
            <a:ext cx="2171837" cy="617355"/>
          </a:xfrm>
          <a:custGeom>
            <a:avLst/>
            <a:gdLst>
              <a:gd name="connsiteX0" fmla="*/ 3718720 w 4343674"/>
              <a:gd name="connsiteY0" fmla="*/ 1197459 h 1234709"/>
              <a:gd name="connsiteX1" fmla="*/ 3871282 w 4343674"/>
              <a:gd name="connsiteY1" fmla="*/ 1197459 h 1234709"/>
              <a:gd name="connsiteX2" fmla="*/ 3871282 w 4343674"/>
              <a:gd name="connsiteY2" fmla="*/ 1234709 h 1234709"/>
              <a:gd name="connsiteX3" fmla="*/ 3718720 w 4343674"/>
              <a:gd name="connsiteY3" fmla="*/ 1234709 h 1234709"/>
              <a:gd name="connsiteX4" fmla="*/ 3411114 w 4343674"/>
              <a:gd name="connsiteY4" fmla="*/ 1197459 h 1234709"/>
              <a:gd name="connsiteX5" fmla="*/ 3563666 w 4343674"/>
              <a:gd name="connsiteY5" fmla="*/ 1197459 h 1234709"/>
              <a:gd name="connsiteX6" fmla="*/ 3563666 w 4343674"/>
              <a:gd name="connsiteY6" fmla="*/ 1234709 h 1234709"/>
              <a:gd name="connsiteX7" fmla="*/ 3411114 w 4343674"/>
              <a:gd name="connsiteY7" fmla="*/ 1234709 h 1234709"/>
              <a:gd name="connsiteX8" fmla="*/ 3109002 w 4343674"/>
              <a:gd name="connsiteY8" fmla="*/ 1197459 h 1234709"/>
              <a:gd name="connsiteX9" fmla="*/ 3261554 w 4343674"/>
              <a:gd name="connsiteY9" fmla="*/ 1197459 h 1234709"/>
              <a:gd name="connsiteX10" fmla="*/ 3261554 w 4343674"/>
              <a:gd name="connsiteY10" fmla="*/ 1234709 h 1234709"/>
              <a:gd name="connsiteX11" fmla="*/ 3109002 w 4343674"/>
              <a:gd name="connsiteY11" fmla="*/ 1234709 h 1234709"/>
              <a:gd name="connsiteX12" fmla="*/ 2801398 w 4343674"/>
              <a:gd name="connsiteY12" fmla="*/ 1197459 h 1234709"/>
              <a:gd name="connsiteX13" fmla="*/ 2953960 w 4343674"/>
              <a:gd name="connsiteY13" fmla="*/ 1197459 h 1234709"/>
              <a:gd name="connsiteX14" fmla="*/ 2953960 w 4343674"/>
              <a:gd name="connsiteY14" fmla="*/ 1234709 h 1234709"/>
              <a:gd name="connsiteX15" fmla="*/ 2801398 w 4343674"/>
              <a:gd name="connsiteY15" fmla="*/ 1234709 h 1234709"/>
              <a:gd name="connsiteX16" fmla="*/ 2499288 w 4343674"/>
              <a:gd name="connsiteY16" fmla="*/ 1197459 h 1234709"/>
              <a:gd name="connsiteX17" fmla="*/ 2651840 w 4343674"/>
              <a:gd name="connsiteY17" fmla="*/ 1197459 h 1234709"/>
              <a:gd name="connsiteX18" fmla="*/ 2651840 w 4343674"/>
              <a:gd name="connsiteY18" fmla="*/ 1234709 h 1234709"/>
              <a:gd name="connsiteX19" fmla="*/ 2499288 w 4343674"/>
              <a:gd name="connsiteY19" fmla="*/ 1234709 h 1234709"/>
              <a:gd name="connsiteX20" fmla="*/ 2191684 w 4343674"/>
              <a:gd name="connsiteY20" fmla="*/ 1197459 h 1234709"/>
              <a:gd name="connsiteX21" fmla="*/ 2344236 w 4343674"/>
              <a:gd name="connsiteY21" fmla="*/ 1197459 h 1234709"/>
              <a:gd name="connsiteX22" fmla="*/ 2344236 w 4343674"/>
              <a:gd name="connsiteY22" fmla="*/ 1234709 h 1234709"/>
              <a:gd name="connsiteX23" fmla="*/ 2191684 w 4343674"/>
              <a:gd name="connsiteY23" fmla="*/ 1234709 h 1234709"/>
              <a:gd name="connsiteX24" fmla="*/ 1889570 w 4343674"/>
              <a:gd name="connsiteY24" fmla="*/ 1197459 h 1234709"/>
              <a:gd name="connsiteX25" fmla="*/ 2042132 w 4343674"/>
              <a:gd name="connsiteY25" fmla="*/ 1197459 h 1234709"/>
              <a:gd name="connsiteX26" fmla="*/ 2042132 w 4343674"/>
              <a:gd name="connsiteY26" fmla="*/ 1234709 h 1234709"/>
              <a:gd name="connsiteX27" fmla="*/ 1889570 w 4343674"/>
              <a:gd name="connsiteY27" fmla="*/ 1234709 h 1234709"/>
              <a:gd name="connsiteX28" fmla="*/ 1587462 w 4343674"/>
              <a:gd name="connsiteY28" fmla="*/ 1197459 h 1234709"/>
              <a:gd name="connsiteX29" fmla="*/ 1740012 w 4343674"/>
              <a:gd name="connsiteY29" fmla="*/ 1197459 h 1234709"/>
              <a:gd name="connsiteX30" fmla="*/ 1740012 w 4343674"/>
              <a:gd name="connsiteY30" fmla="*/ 1234709 h 1234709"/>
              <a:gd name="connsiteX31" fmla="*/ 1587462 w 4343674"/>
              <a:gd name="connsiteY31" fmla="*/ 1234709 h 1234709"/>
              <a:gd name="connsiteX32" fmla="*/ 1279856 w 4343674"/>
              <a:gd name="connsiteY32" fmla="*/ 1197459 h 1234709"/>
              <a:gd name="connsiteX33" fmla="*/ 1432418 w 4343674"/>
              <a:gd name="connsiteY33" fmla="*/ 1197459 h 1234709"/>
              <a:gd name="connsiteX34" fmla="*/ 1432418 w 4343674"/>
              <a:gd name="connsiteY34" fmla="*/ 1234709 h 1234709"/>
              <a:gd name="connsiteX35" fmla="*/ 1279856 w 4343674"/>
              <a:gd name="connsiteY35" fmla="*/ 1234709 h 1234709"/>
              <a:gd name="connsiteX36" fmla="*/ 977742 w 4343674"/>
              <a:gd name="connsiteY36" fmla="*/ 1197459 h 1234709"/>
              <a:gd name="connsiteX37" fmla="*/ 1130294 w 4343674"/>
              <a:gd name="connsiteY37" fmla="*/ 1197459 h 1234709"/>
              <a:gd name="connsiteX38" fmla="*/ 1130294 w 4343674"/>
              <a:gd name="connsiteY38" fmla="*/ 1234709 h 1234709"/>
              <a:gd name="connsiteX39" fmla="*/ 977742 w 4343674"/>
              <a:gd name="connsiteY39" fmla="*/ 1234709 h 1234709"/>
              <a:gd name="connsiteX40" fmla="*/ 670138 w 4343674"/>
              <a:gd name="connsiteY40" fmla="*/ 1197459 h 1234709"/>
              <a:gd name="connsiteX41" fmla="*/ 822690 w 4343674"/>
              <a:gd name="connsiteY41" fmla="*/ 1197459 h 1234709"/>
              <a:gd name="connsiteX42" fmla="*/ 822690 w 4343674"/>
              <a:gd name="connsiteY42" fmla="*/ 1234709 h 1234709"/>
              <a:gd name="connsiteX43" fmla="*/ 670138 w 4343674"/>
              <a:gd name="connsiteY43" fmla="*/ 1234709 h 1234709"/>
              <a:gd name="connsiteX44" fmla="*/ 362534 w 4343674"/>
              <a:gd name="connsiteY44" fmla="*/ 1197459 h 1234709"/>
              <a:gd name="connsiteX45" fmla="*/ 515096 w 4343674"/>
              <a:gd name="connsiteY45" fmla="*/ 1197459 h 1234709"/>
              <a:gd name="connsiteX46" fmla="*/ 515096 w 4343674"/>
              <a:gd name="connsiteY46" fmla="*/ 1234709 h 1234709"/>
              <a:gd name="connsiteX47" fmla="*/ 362534 w 4343674"/>
              <a:gd name="connsiteY47" fmla="*/ 1234709 h 1234709"/>
              <a:gd name="connsiteX48" fmla="*/ 4158634 w 4343674"/>
              <a:gd name="connsiteY48" fmla="*/ 1148025 h 1234709"/>
              <a:gd name="connsiteX49" fmla="*/ 4178862 w 4343674"/>
              <a:gd name="connsiteY49" fmla="*/ 1179528 h 1234709"/>
              <a:gd name="connsiteX50" fmla="*/ 4024622 w 4343674"/>
              <a:gd name="connsiteY50" fmla="*/ 1229205 h 1234709"/>
              <a:gd name="connsiteX51" fmla="*/ 4020830 w 4343674"/>
              <a:gd name="connsiteY51" fmla="*/ 1191644 h 1234709"/>
              <a:gd name="connsiteX52" fmla="*/ 4158634 w 4343674"/>
              <a:gd name="connsiteY52" fmla="*/ 1148025 h 1234709"/>
              <a:gd name="connsiteX53" fmla="*/ 111944 w 4343674"/>
              <a:gd name="connsiteY53" fmla="*/ 1082109 h 1234709"/>
              <a:gd name="connsiteX54" fmla="*/ 223981 w 4343674"/>
              <a:gd name="connsiteY54" fmla="*/ 1166825 h 1234709"/>
              <a:gd name="connsiteX55" fmla="*/ 209207 w 4343674"/>
              <a:gd name="connsiteY55" fmla="*/ 1201708 h 1234709"/>
              <a:gd name="connsiteX56" fmla="*/ 82396 w 4343674"/>
              <a:gd name="connsiteY56" fmla="*/ 1107025 h 1234709"/>
              <a:gd name="connsiteX57" fmla="*/ 4300646 w 4343674"/>
              <a:gd name="connsiteY57" fmla="*/ 917321 h 1234709"/>
              <a:gd name="connsiteX58" fmla="*/ 4338208 w 4343674"/>
              <a:gd name="connsiteY58" fmla="*/ 921012 h 1234709"/>
              <a:gd name="connsiteX59" fmla="*/ 4288530 w 4343674"/>
              <a:gd name="connsiteY59" fmla="*/ 1069893 h 1234709"/>
              <a:gd name="connsiteX60" fmla="*/ 4257026 w 4343674"/>
              <a:gd name="connsiteY60" fmla="*/ 1050206 h 1234709"/>
              <a:gd name="connsiteX61" fmla="*/ 4300646 w 4343674"/>
              <a:gd name="connsiteY61" fmla="*/ 917321 h 1234709"/>
              <a:gd name="connsiteX62" fmla="*/ 0 w 4343674"/>
              <a:gd name="connsiteY62" fmla="*/ 812954 h 1234709"/>
              <a:gd name="connsiteX63" fmla="*/ 39297 w 4343674"/>
              <a:gd name="connsiteY63" fmla="*/ 812954 h 1234709"/>
              <a:gd name="connsiteX64" fmla="*/ 39297 w 4343674"/>
              <a:gd name="connsiteY64" fmla="*/ 887545 h 1234709"/>
              <a:gd name="connsiteX65" fmla="*/ 48170 w 4343674"/>
              <a:gd name="connsiteY65" fmla="*/ 962137 h 1234709"/>
              <a:gd name="connsiteX66" fmla="*/ 10141 w 4343674"/>
              <a:gd name="connsiteY66" fmla="*/ 970987 h 1234709"/>
              <a:gd name="connsiteX67" fmla="*/ 0 w 4343674"/>
              <a:gd name="connsiteY67" fmla="*/ 887545 h 1234709"/>
              <a:gd name="connsiteX68" fmla="*/ 4306462 w 4343674"/>
              <a:gd name="connsiteY68" fmla="*/ 615208 h 1234709"/>
              <a:gd name="connsiteX69" fmla="*/ 4343674 w 4343674"/>
              <a:gd name="connsiteY69" fmla="*/ 615208 h 1234709"/>
              <a:gd name="connsiteX70" fmla="*/ 4343674 w 4343674"/>
              <a:gd name="connsiteY70" fmla="*/ 767760 h 1234709"/>
              <a:gd name="connsiteX71" fmla="*/ 4306462 w 4343674"/>
              <a:gd name="connsiteY71" fmla="*/ 767760 h 1234709"/>
              <a:gd name="connsiteX72" fmla="*/ 0 w 4343674"/>
              <a:gd name="connsiteY72" fmla="*/ 505350 h 1234709"/>
              <a:gd name="connsiteX73" fmla="*/ 37250 w 4343674"/>
              <a:gd name="connsiteY73" fmla="*/ 505350 h 1234709"/>
              <a:gd name="connsiteX74" fmla="*/ 37250 w 4343674"/>
              <a:gd name="connsiteY74" fmla="*/ 657912 h 1234709"/>
              <a:gd name="connsiteX75" fmla="*/ 0 w 4343674"/>
              <a:gd name="connsiteY75" fmla="*/ 657912 h 1234709"/>
              <a:gd name="connsiteX76" fmla="*/ 4306462 w 4343674"/>
              <a:gd name="connsiteY76" fmla="*/ 307604 h 1234709"/>
              <a:gd name="connsiteX77" fmla="*/ 4343674 w 4343674"/>
              <a:gd name="connsiteY77" fmla="*/ 307604 h 1234709"/>
              <a:gd name="connsiteX78" fmla="*/ 4343674 w 4343674"/>
              <a:gd name="connsiteY78" fmla="*/ 460156 h 1234709"/>
              <a:gd name="connsiteX79" fmla="*/ 4306462 w 4343674"/>
              <a:gd name="connsiteY79" fmla="*/ 460156 h 1234709"/>
              <a:gd name="connsiteX80" fmla="*/ 0 w 4343674"/>
              <a:gd name="connsiteY80" fmla="*/ 203240 h 1234709"/>
              <a:gd name="connsiteX81" fmla="*/ 37250 w 4343674"/>
              <a:gd name="connsiteY81" fmla="*/ 203240 h 1234709"/>
              <a:gd name="connsiteX82" fmla="*/ 37250 w 4343674"/>
              <a:gd name="connsiteY82" fmla="*/ 355792 h 1234709"/>
              <a:gd name="connsiteX83" fmla="*/ 0 w 4343674"/>
              <a:gd name="connsiteY83" fmla="*/ 355792 h 1234709"/>
              <a:gd name="connsiteX84" fmla="*/ 4306462 w 4343674"/>
              <a:gd name="connsiteY84" fmla="*/ 0 h 1234709"/>
              <a:gd name="connsiteX85" fmla="*/ 4343674 w 4343674"/>
              <a:gd name="connsiteY85" fmla="*/ 0 h 1234709"/>
              <a:gd name="connsiteX86" fmla="*/ 4343674 w 4343674"/>
              <a:gd name="connsiteY86" fmla="*/ 152562 h 1234709"/>
              <a:gd name="connsiteX87" fmla="*/ 4306462 w 4343674"/>
              <a:gd name="connsiteY87" fmla="*/ 152562 h 1234709"/>
              <a:gd name="connsiteX88" fmla="*/ 0 w 4343674"/>
              <a:gd name="connsiteY88" fmla="*/ 0 h 1234709"/>
              <a:gd name="connsiteX89" fmla="*/ 37250 w 4343674"/>
              <a:gd name="connsiteY89" fmla="*/ 0 h 1234709"/>
              <a:gd name="connsiteX90" fmla="*/ 37250 w 4343674"/>
              <a:gd name="connsiteY90" fmla="*/ 48137 h 1234709"/>
              <a:gd name="connsiteX91" fmla="*/ 0 w 4343674"/>
              <a:gd name="connsiteY91" fmla="*/ 48137 h 123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343674" h="1234709">
                <a:moveTo>
                  <a:pt x="3718720" y="1197459"/>
                </a:moveTo>
                <a:lnTo>
                  <a:pt x="3871282" y="1197459"/>
                </a:lnTo>
                <a:lnTo>
                  <a:pt x="3871282" y="1234709"/>
                </a:lnTo>
                <a:lnTo>
                  <a:pt x="3718720" y="1234709"/>
                </a:lnTo>
                <a:close/>
                <a:moveTo>
                  <a:pt x="3411114" y="1197459"/>
                </a:moveTo>
                <a:lnTo>
                  <a:pt x="3563666" y="1197459"/>
                </a:lnTo>
                <a:lnTo>
                  <a:pt x="3563666" y="1234709"/>
                </a:lnTo>
                <a:lnTo>
                  <a:pt x="3411114" y="1234709"/>
                </a:lnTo>
                <a:close/>
                <a:moveTo>
                  <a:pt x="3109002" y="1197459"/>
                </a:moveTo>
                <a:lnTo>
                  <a:pt x="3261554" y="1197459"/>
                </a:lnTo>
                <a:lnTo>
                  <a:pt x="3261554" y="1234709"/>
                </a:lnTo>
                <a:lnTo>
                  <a:pt x="3109002" y="1234709"/>
                </a:lnTo>
                <a:close/>
                <a:moveTo>
                  <a:pt x="2801398" y="1197459"/>
                </a:moveTo>
                <a:lnTo>
                  <a:pt x="2953960" y="1197459"/>
                </a:lnTo>
                <a:lnTo>
                  <a:pt x="2953960" y="1234709"/>
                </a:lnTo>
                <a:lnTo>
                  <a:pt x="2801398" y="1234709"/>
                </a:lnTo>
                <a:close/>
                <a:moveTo>
                  <a:pt x="2499288" y="1197459"/>
                </a:moveTo>
                <a:lnTo>
                  <a:pt x="2651840" y="1197459"/>
                </a:lnTo>
                <a:lnTo>
                  <a:pt x="2651840" y="1234709"/>
                </a:lnTo>
                <a:lnTo>
                  <a:pt x="2499288" y="1234709"/>
                </a:lnTo>
                <a:close/>
                <a:moveTo>
                  <a:pt x="2191684" y="1197459"/>
                </a:moveTo>
                <a:lnTo>
                  <a:pt x="2344236" y="1197459"/>
                </a:lnTo>
                <a:lnTo>
                  <a:pt x="2344236" y="1234709"/>
                </a:lnTo>
                <a:lnTo>
                  <a:pt x="2191684" y="1234709"/>
                </a:lnTo>
                <a:close/>
                <a:moveTo>
                  <a:pt x="1889570" y="1197459"/>
                </a:moveTo>
                <a:lnTo>
                  <a:pt x="2042132" y="1197459"/>
                </a:lnTo>
                <a:lnTo>
                  <a:pt x="2042132" y="1234709"/>
                </a:lnTo>
                <a:lnTo>
                  <a:pt x="1889570" y="1234709"/>
                </a:lnTo>
                <a:close/>
                <a:moveTo>
                  <a:pt x="1587462" y="1197459"/>
                </a:moveTo>
                <a:lnTo>
                  <a:pt x="1740012" y="1197459"/>
                </a:lnTo>
                <a:lnTo>
                  <a:pt x="1740012" y="1234709"/>
                </a:lnTo>
                <a:lnTo>
                  <a:pt x="1587462" y="1234709"/>
                </a:lnTo>
                <a:close/>
                <a:moveTo>
                  <a:pt x="1279856" y="1197459"/>
                </a:moveTo>
                <a:lnTo>
                  <a:pt x="1432418" y="1197459"/>
                </a:lnTo>
                <a:lnTo>
                  <a:pt x="1432418" y="1234709"/>
                </a:lnTo>
                <a:lnTo>
                  <a:pt x="1279856" y="1234709"/>
                </a:lnTo>
                <a:close/>
                <a:moveTo>
                  <a:pt x="977742" y="1197459"/>
                </a:moveTo>
                <a:lnTo>
                  <a:pt x="1130294" y="1197459"/>
                </a:lnTo>
                <a:lnTo>
                  <a:pt x="1130294" y="1234709"/>
                </a:lnTo>
                <a:lnTo>
                  <a:pt x="977742" y="1234709"/>
                </a:lnTo>
                <a:close/>
                <a:moveTo>
                  <a:pt x="670138" y="1197459"/>
                </a:moveTo>
                <a:lnTo>
                  <a:pt x="822690" y="1197459"/>
                </a:lnTo>
                <a:lnTo>
                  <a:pt x="822690" y="1234709"/>
                </a:lnTo>
                <a:lnTo>
                  <a:pt x="670138" y="1234709"/>
                </a:lnTo>
                <a:close/>
                <a:moveTo>
                  <a:pt x="362534" y="1197459"/>
                </a:moveTo>
                <a:lnTo>
                  <a:pt x="515096" y="1197459"/>
                </a:lnTo>
                <a:lnTo>
                  <a:pt x="515096" y="1234709"/>
                </a:lnTo>
                <a:lnTo>
                  <a:pt x="362534" y="1234709"/>
                </a:lnTo>
                <a:close/>
                <a:moveTo>
                  <a:pt x="4158634" y="1148025"/>
                </a:moveTo>
                <a:lnTo>
                  <a:pt x="4178862" y="1179528"/>
                </a:lnTo>
                <a:cubicBezTo>
                  <a:pt x="4132086" y="1207396"/>
                  <a:pt x="4078986" y="1224359"/>
                  <a:pt x="4024622" y="1229205"/>
                </a:cubicBezTo>
                <a:lnTo>
                  <a:pt x="4020830" y="1191644"/>
                </a:lnTo>
                <a:cubicBezTo>
                  <a:pt x="4068872" y="1186798"/>
                  <a:pt x="4116914" y="1172258"/>
                  <a:pt x="4158634" y="1148025"/>
                </a:cubicBezTo>
                <a:close/>
                <a:moveTo>
                  <a:pt x="111944" y="1082109"/>
                </a:moveTo>
                <a:cubicBezTo>
                  <a:pt x="141492" y="1118238"/>
                  <a:pt x="180890" y="1148138"/>
                  <a:pt x="223981" y="1166825"/>
                </a:cubicBezTo>
                <a:lnTo>
                  <a:pt x="209207" y="1201708"/>
                </a:lnTo>
                <a:cubicBezTo>
                  <a:pt x="159960" y="1180529"/>
                  <a:pt x="116869" y="1148138"/>
                  <a:pt x="82396" y="1107025"/>
                </a:cubicBezTo>
                <a:close/>
                <a:moveTo>
                  <a:pt x="4300646" y="917321"/>
                </a:moveTo>
                <a:lnTo>
                  <a:pt x="4338208" y="921012"/>
                </a:lnTo>
                <a:cubicBezTo>
                  <a:pt x="4333360" y="972690"/>
                  <a:pt x="4316398" y="1025598"/>
                  <a:pt x="4288530" y="1069893"/>
                </a:cubicBezTo>
                <a:lnTo>
                  <a:pt x="4257026" y="1050206"/>
                </a:lnTo>
                <a:cubicBezTo>
                  <a:pt x="4281260" y="1010833"/>
                  <a:pt x="4297012" y="964077"/>
                  <a:pt x="4300646" y="917321"/>
                </a:cubicBezTo>
                <a:close/>
                <a:moveTo>
                  <a:pt x="0" y="812954"/>
                </a:moveTo>
                <a:lnTo>
                  <a:pt x="39297" y="812954"/>
                </a:lnTo>
                <a:lnTo>
                  <a:pt x="39297" y="887545"/>
                </a:lnTo>
                <a:cubicBezTo>
                  <a:pt x="39297" y="912831"/>
                  <a:pt x="41832" y="938116"/>
                  <a:pt x="48170" y="962137"/>
                </a:cubicBezTo>
                <a:lnTo>
                  <a:pt x="10141" y="970987"/>
                </a:lnTo>
                <a:cubicBezTo>
                  <a:pt x="3803" y="944437"/>
                  <a:pt x="0" y="916623"/>
                  <a:pt x="0" y="887545"/>
                </a:cubicBezTo>
                <a:close/>
                <a:moveTo>
                  <a:pt x="4306462" y="615208"/>
                </a:moveTo>
                <a:lnTo>
                  <a:pt x="4343674" y="615208"/>
                </a:lnTo>
                <a:lnTo>
                  <a:pt x="4343674" y="767760"/>
                </a:lnTo>
                <a:lnTo>
                  <a:pt x="4306462" y="767760"/>
                </a:lnTo>
                <a:close/>
                <a:moveTo>
                  <a:pt x="0" y="505350"/>
                </a:moveTo>
                <a:lnTo>
                  <a:pt x="37250" y="505350"/>
                </a:lnTo>
                <a:lnTo>
                  <a:pt x="37250" y="657912"/>
                </a:lnTo>
                <a:lnTo>
                  <a:pt x="0" y="657912"/>
                </a:lnTo>
                <a:close/>
                <a:moveTo>
                  <a:pt x="4306462" y="307604"/>
                </a:moveTo>
                <a:lnTo>
                  <a:pt x="4343674" y="307604"/>
                </a:lnTo>
                <a:lnTo>
                  <a:pt x="4343674" y="460156"/>
                </a:lnTo>
                <a:lnTo>
                  <a:pt x="4306462" y="460156"/>
                </a:lnTo>
                <a:close/>
                <a:moveTo>
                  <a:pt x="0" y="203240"/>
                </a:moveTo>
                <a:lnTo>
                  <a:pt x="37250" y="203240"/>
                </a:lnTo>
                <a:lnTo>
                  <a:pt x="37250" y="355792"/>
                </a:lnTo>
                <a:lnTo>
                  <a:pt x="0" y="355792"/>
                </a:lnTo>
                <a:close/>
                <a:moveTo>
                  <a:pt x="4306462" y="0"/>
                </a:moveTo>
                <a:lnTo>
                  <a:pt x="4343674" y="0"/>
                </a:lnTo>
                <a:lnTo>
                  <a:pt x="4343674" y="152562"/>
                </a:lnTo>
                <a:lnTo>
                  <a:pt x="4306462" y="152562"/>
                </a:lnTo>
                <a:close/>
                <a:moveTo>
                  <a:pt x="0" y="0"/>
                </a:moveTo>
                <a:lnTo>
                  <a:pt x="37250" y="0"/>
                </a:lnTo>
                <a:lnTo>
                  <a:pt x="37250" y="48137"/>
                </a:lnTo>
                <a:lnTo>
                  <a:pt x="0" y="48137"/>
                </a:lnTo>
                <a:close/>
              </a:path>
            </a:pathLst>
          </a:custGeom>
          <a:solidFill>
            <a:schemeClr val="accent6"/>
          </a:solidFill>
          <a:ln>
            <a:noFill/>
          </a:ln>
          <a:effectLst/>
        </p:spPr>
        <p:txBody>
          <a:bodyPr wrap="square" anchor="ctr">
            <a:noAutofit/>
          </a:bodyPr>
          <a:lstStyle/>
          <a:p>
            <a:endParaRPr lang="en-US" sz="900">
              <a:latin typeface="+mj-lt"/>
            </a:endParaRPr>
          </a:p>
        </p:txBody>
      </p:sp>
      <p:sp>
        <p:nvSpPr>
          <p:cNvPr id="7" name="Freeform 6">
            <a:extLst>
              <a:ext uri="{FF2B5EF4-FFF2-40B4-BE49-F238E27FC236}">
                <a16:creationId xmlns:a16="http://schemas.microsoft.com/office/drawing/2014/main" id="{E184CE7A-CA2C-B35B-3450-E21BABEC8135}"/>
              </a:ext>
            </a:extLst>
          </p:cNvPr>
          <p:cNvSpPr>
            <a:spLocks noChangeArrowheads="1"/>
          </p:cNvSpPr>
          <p:nvPr userDrawn="1"/>
        </p:nvSpPr>
        <p:spPr bwMode="auto">
          <a:xfrm>
            <a:off x="1781300" y="4898374"/>
            <a:ext cx="19225" cy="606970"/>
          </a:xfrm>
          <a:custGeom>
            <a:avLst/>
            <a:gdLst>
              <a:gd name="T0" fmla="*/ 31 w 32"/>
              <a:gd name="T1" fmla="*/ 974 h 975"/>
              <a:gd name="T2" fmla="*/ 0 w 32"/>
              <a:gd name="T3" fmla="*/ 974 h 975"/>
              <a:gd name="T4" fmla="*/ 0 w 32"/>
              <a:gd name="T5" fmla="*/ 0 h 975"/>
              <a:gd name="T6" fmla="*/ 31 w 32"/>
              <a:gd name="T7" fmla="*/ 0 h 975"/>
              <a:gd name="T8" fmla="*/ 31 w 32"/>
              <a:gd name="T9" fmla="*/ 974 h 975"/>
            </a:gdLst>
            <a:ahLst/>
            <a:cxnLst>
              <a:cxn ang="0">
                <a:pos x="T0" y="T1"/>
              </a:cxn>
              <a:cxn ang="0">
                <a:pos x="T2" y="T3"/>
              </a:cxn>
              <a:cxn ang="0">
                <a:pos x="T4" y="T5"/>
              </a:cxn>
              <a:cxn ang="0">
                <a:pos x="T6" y="T7"/>
              </a:cxn>
              <a:cxn ang="0">
                <a:pos x="T8" y="T9"/>
              </a:cxn>
            </a:cxnLst>
            <a:rect l="0" t="0" r="r" b="b"/>
            <a:pathLst>
              <a:path w="32" h="975">
                <a:moveTo>
                  <a:pt x="31" y="974"/>
                </a:moveTo>
                <a:lnTo>
                  <a:pt x="0" y="974"/>
                </a:lnTo>
                <a:lnTo>
                  <a:pt x="0" y="0"/>
                </a:lnTo>
                <a:lnTo>
                  <a:pt x="31" y="0"/>
                </a:lnTo>
                <a:lnTo>
                  <a:pt x="31" y="974"/>
                </a:lnTo>
              </a:path>
            </a:pathLst>
          </a:custGeom>
          <a:solidFill>
            <a:schemeClr val="accent6"/>
          </a:solidFill>
          <a:ln>
            <a:noFill/>
          </a:ln>
          <a:effectLst/>
        </p:spPr>
        <p:txBody>
          <a:bodyPr wrap="none" anchor="ctr"/>
          <a:lstStyle/>
          <a:p>
            <a:endParaRPr lang="en-US" sz="900">
              <a:latin typeface="+mj-lt"/>
            </a:endParaRPr>
          </a:p>
        </p:txBody>
      </p:sp>
      <p:sp>
        <p:nvSpPr>
          <p:cNvPr id="8" name="Freeform 7">
            <a:extLst>
              <a:ext uri="{FF2B5EF4-FFF2-40B4-BE49-F238E27FC236}">
                <a16:creationId xmlns:a16="http://schemas.microsoft.com/office/drawing/2014/main" id="{3BA5E3CC-B363-84F9-F32E-EFE9EA5116CA}"/>
              </a:ext>
            </a:extLst>
          </p:cNvPr>
          <p:cNvSpPr>
            <a:spLocks noChangeArrowheads="1"/>
          </p:cNvSpPr>
          <p:nvPr userDrawn="1"/>
        </p:nvSpPr>
        <p:spPr bwMode="auto">
          <a:xfrm>
            <a:off x="1682427" y="5395485"/>
            <a:ext cx="219718" cy="219718"/>
          </a:xfrm>
          <a:custGeom>
            <a:avLst/>
            <a:gdLst>
              <a:gd name="T0" fmla="*/ 353 w 354"/>
              <a:gd name="T1" fmla="*/ 177 h 354"/>
              <a:gd name="T2" fmla="*/ 353 w 354"/>
              <a:gd name="T3" fmla="*/ 177 h 354"/>
              <a:gd name="T4" fmla="*/ 176 w 354"/>
              <a:gd name="T5" fmla="*/ 353 h 354"/>
              <a:gd name="T6" fmla="*/ 176 w 354"/>
              <a:gd name="T7" fmla="*/ 353 h 354"/>
              <a:gd name="T8" fmla="*/ 0 w 354"/>
              <a:gd name="T9" fmla="*/ 177 h 354"/>
              <a:gd name="T10" fmla="*/ 0 w 354"/>
              <a:gd name="T11" fmla="*/ 177 h 354"/>
              <a:gd name="T12" fmla="*/ 176 w 354"/>
              <a:gd name="T13" fmla="*/ 0 h 354"/>
              <a:gd name="T14" fmla="*/ 176 w 354"/>
              <a:gd name="T15" fmla="*/ 0 h 354"/>
              <a:gd name="T16" fmla="*/ 353 w 354"/>
              <a:gd name="T17" fmla="*/ 17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354">
                <a:moveTo>
                  <a:pt x="353" y="177"/>
                </a:moveTo>
                <a:lnTo>
                  <a:pt x="353" y="177"/>
                </a:lnTo>
                <a:cubicBezTo>
                  <a:pt x="353" y="274"/>
                  <a:pt x="274" y="353"/>
                  <a:pt x="176" y="353"/>
                </a:cubicBezTo>
                <a:lnTo>
                  <a:pt x="176" y="353"/>
                </a:lnTo>
                <a:cubicBezTo>
                  <a:pt x="79" y="353"/>
                  <a:pt x="0" y="274"/>
                  <a:pt x="0" y="177"/>
                </a:cubicBezTo>
                <a:lnTo>
                  <a:pt x="0" y="177"/>
                </a:lnTo>
                <a:cubicBezTo>
                  <a:pt x="0" y="79"/>
                  <a:pt x="79" y="0"/>
                  <a:pt x="176" y="0"/>
                </a:cubicBezTo>
                <a:lnTo>
                  <a:pt x="176" y="0"/>
                </a:lnTo>
                <a:cubicBezTo>
                  <a:pt x="274" y="0"/>
                  <a:pt x="353" y="79"/>
                  <a:pt x="353" y="177"/>
                </a:cubicBezTo>
              </a:path>
            </a:pathLst>
          </a:custGeom>
          <a:solidFill>
            <a:schemeClr val="accent6"/>
          </a:solidFill>
          <a:ln>
            <a:noFill/>
          </a:ln>
          <a:effectLst/>
        </p:spPr>
        <p:txBody>
          <a:bodyPr wrap="none" anchor="ctr"/>
          <a:lstStyle/>
          <a:p>
            <a:endParaRPr lang="en-US" sz="900">
              <a:latin typeface="+mj-lt"/>
            </a:endParaRPr>
          </a:p>
        </p:txBody>
      </p:sp>
      <p:sp>
        <p:nvSpPr>
          <p:cNvPr id="9" name="Freeform 8">
            <a:extLst>
              <a:ext uri="{FF2B5EF4-FFF2-40B4-BE49-F238E27FC236}">
                <a16:creationId xmlns:a16="http://schemas.microsoft.com/office/drawing/2014/main" id="{BE880DDF-5052-E11C-0B1C-9F19D15924A6}"/>
              </a:ext>
            </a:extLst>
          </p:cNvPr>
          <p:cNvSpPr>
            <a:spLocks noChangeArrowheads="1"/>
          </p:cNvSpPr>
          <p:nvPr userDrawn="1"/>
        </p:nvSpPr>
        <p:spPr bwMode="auto">
          <a:xfrm>
            <a:off x="10391476" y="2168385"/>
            <a:ext cx="19226" cy="606970"/>
          </a:xfrm>
          <a:custGeom>
            <a:avLst/>
            <a:gdLst>
              <a:gd name="T0" fmla="*/ 30 w 31"/>
              <a:gd name="T1" fmla="*/ 973 h 974"/>
              <a:gd name="T2" fmla="*/ 0 w 31"/>
              <a:gd name="T3" fmla="*/ 973 h 974"/>
              <a:gd name="T4" fmla="*/ 0 w 31"/>
              <a:gd name="T5" fmla="*/ 0 h 974"/>
              <a:gd name="T6" fmla="*/ 30 w 31"/>
              <a:gd name="T7" fmla="*/ 0 h 974"/>
              <a:gd name="T8" fmla="*/ 30 w 31"/>
              <a:gd name="T9" fmla="*/ 973 h 974"/>
            </a:gdLst>
            <a:ahLst/>
            <a:cxnLst>
              <a:cxn ang="0">
                <a:pos x="T0" y="T1"/>
              </a:cxn>
              <a:cxn ang="0">
                <a:pos x="T2" y="T3"/>
              </a:cxn>
              <a:cxn ang="0">
                <a:pos x="T4" y="T5"/>
              </a:cxn>
              <a:cxn ang="0">
                <a:pos x="T6" y="T7"/>
              </a:cxn>
              <a:cxn ang="0">
                <a:pos x="T8" y="T9"/>
              </a:cxn>
            </a:cxnLst>
            <a:rect l="0" t="0" r="r" b="b"/>
            <a:pathLst>
              <a:path w="31" h="974">
                <a:moveTo>
                  <a:pt x="30" y="973"/>
                </a:moveTo>
                <a:lnTo>
                  <a:pt x="0" y="973"/>
                </a:lnTo>
                <a:lnTo>
                  <a:pt x="0" y="0"/>
                </a:lnTo>
                <a:lnTo>
                  <a:pt x="30" y="0"/>
                </a:lnTo>
                <a:lnTo>
                  <a:pt x="30" y="973"/>
                </a:lnTo>
              </a:path>
            </a:pathLst>
          </a:custGeom>
          <a:solidFill>
            <a:schemeClr val="accent6"/>
          </a:solidFill>
          <a:ln>
            <a:noFill/>
          </a:ln>
          <a:effectLst/>
        </p:spPr>
        <p:txBody>
          <a:bodyPr wrap="none" anchor="ctr"/>
          <a:lstStyle/>
          <a:p>
            <a:endParaRPr lang="en-US" sz="900">
              <a:latin typeface="+mj-lt"/>
            </a:endParaRPr>
          </a:p>
        </p:txBody>
      </p:sp>
      <p:sp>
        <p:nvSpPr>
          <p:cNvPr id="10" name="Freeform 9">
            <a:extLst>
              <a:ext uri="{FF2B5EF4-FFF2-40B4-BE49-F238E27FC236}">
                <a16:creationId xmlns:a16="http://schemas.microsoft.com/office/drawing/2014/main" id="{CA8CF752-BDC5-9276-C5E2-9E8077B01928}"/>
              </a:ext>
            </a:extLst>
          </p:cNvPr>
          <p:cNvSpPr>
            <a:spLocks noChangeArrowheads="1"/>
          </p:cNvSpPr>
          <p:nvPr userDrawn="1"/>
        </p:nvSpPr>
        <p:spPr bwMode="auto">
          <a:xfrm>
            <a:off x="10289857" y="2058526"/>
            <a:ext cx="219718" cy="222465"/>
          </a:xfrm>
          <a:custGeom>
            <a:avLst/>
            <a:gdLst>
              <a:gd name="T0" fmla="*/ 0 w 354"/>
              <a:gd name="T1" fmla="*/ 177 h 355"/>
              <a:gd name="T2" fmla="*/ 0 w 354"/>
              <a:gd name="T3" fmla="*/ 177 h 355"/>
              <a:gd name="T4" fmla="*/ 176 w 354"/>
              <a:gd name="T5" fmla="*/ 0 h 355"/>
              <a:gd name="T6" fmla="*/ 176 w 354"/>
              <a:gd name="T7" fmla="*/ 0 h 355"/>
              <a:gd name="T8" fmla="*/ 353 w 354"/>
              <a:gd name="T9" fmla="*/ 177 h 355"/>
              <a:gd name="T10" fmla="*/ 353 w 354"/>
              <a:gd name="T11" fmla="*/ 177 h 355"/>
              <a:gd name="T12" fmla="*/ 176 w 354"/>
              <a:gd name="T13" fmla="*/ 354 h 355"/>
              <a:gd name="T14" fmla="*/ 176 w 354"/>
              <a:gd name="T15" fmla="*/ 354 h 355"/>
              <a:gd name="T16" fmla="*/ 0 w 354"/>
              <a:gd name="T17"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355">
                <a:moveTo>
                  <a:pt x="0" y="177"/>
                </a:moveTo>
                <a:lnTo>
                  <a:pt x="0" y="177"/>
                </a:lnTo>
                <a:cubicBezTo>
                  <a:pt x="0" y="79"/>
                  <a:pt x="79" y="0"/>
                  <a:pt x="176" y="0"/>
                </a:cubicBezTo>
                <a:lnTo>
                  <a:pt x="176" y="0"/>
                </a:lnTo>
                <a:cubicBezTo>
                  <a:pt x="274" y="0"/>
                  <a:pt x="353" y="79"/>
                  <a:pt x="353" y="177"/>
                </a:cubicBezTo>
                <a:lnTo>
                  <a:pt x="353" y="177"/>
                </a:lnTo>
                <a:cubicBezTo>
                  <a:pt x="353" y="274"/>
                  <a:pt x="274" y="354"/>
                  <a:pt x="176" y="354"/>
                </a:cubicBezTo>
                <a:lnTo>
                  <a:pt x="176" y="354"/>
                </a:lnTo>
                <a:cubicBezTo>
                  <a:pt x="79" y="354"/>
                  <a:pt x="0" y="274"/>
                  <a:pt x="0" y="177"/>
                </a:cubicBezTo>
              </a:path>
            </a:pathLst>
          </a:custGeom>
          <a:solidFill>
            <a:schemeClr val="accent6"/>
          </a:solidFill>
          <a:ln>
            <a:noFill/>
          </a:ln>
          <a:effectLst/>
        </p:spPr>
        <p:txBody>
          <a:bodyPr wrap="none" anchor="ctr"/>
          <a:lstStyle/>
          <a:p>
            <a:endParaRPr lang="en-US" sz="900">
              <a:latin typeface="+mj-lt"/>
            </a:endParaRPr>
          </a:p>
        </p:txBody>
      </p:sp>
      <p:sp>
        <p:nvSpPr>
          <p:cNvPr id="11" name="Freeform 10">
            <a:extLst>
              <a:ext uri="{FF2B5EF4-FFF2-40B4-BE49-F238E27FC236}">
                <a16:creationId xmlns:a16="http://schemas.microsoft.com/office/drawing/2014/main" id="{5F0AC1A9-35BE-B0A0-032E-0F880BB5F511}"/>
              </a:ext>
            </a:extLst>
          </p:cNvPr>
          <p:cNvSpPr>
            <a:spLocks noChangeArrowheads="1"/>
          </p:cNvSpPr>
          <p:nvPr userDrawn="1"/>
        </p:nvSpPr>
        <p:spPr bwMode="auto">
          <a:xfrm>
            <a:off x="9529085" y="2775355"/>
            <a:ext cx="1741261" cy="2125766"/>
          </a:xfrm>
          <a:custGeom>
            <a:avLst/>
            <a:gdLst>
              <a:gd name="T0" fmla="*/ 2752 w 2794"/>
              <a:gd name="T1" fmla="*/ 3089 h 3411"/>
              <a:gd name="T2" fmla="*/ 2752 w 2794"/>
              <a:gd name="T3" fmla="*/ 3089 h 3411"/>
              <a:gd name="T4" fmla="*/ 2471 w 2794"/>
              <a:gd name="T5" fmla="*/ 3370 h 3411"/>
              <a:gd name="T6" fmla="*/ 321 w 2794"/>
              <a:gd name="T7" fmla="*/ 3370 h 3411"/>
              <a:gd name="T8" fmla="*/ 321 w 2794"/>
              <a:gd name="T9" fmla="*/ 3370 h 3411"/>
              <a:gd name="T10" fmla="*/ 41 w 2794"/>
              <a:gd name="T11" fmla="*/ 3089 h 3411"/>
              <a:gd name="T12" fmla="*/ 41 w 2794"/>
              <a:gd name="T13" fmla="*/ 935 h 3411"/>
              <a:gd name="T14" fmla="*/ 2752 w 2794"/>
              <a:gd name="T15" fmla="*/ 935 h 3411"/>
              <a:gd name="T16" fmla="*/ 2752 w 2794"/>
              <a:gd name="T17" fmla="*/ 3089 h 3411"/>
              <a:gd name="T18" fmla="*/ 2471 w 2794"/>
              <a:gd name="T19" fmla="*/ 0 h 3411"/>
              <a:gd name="T20" fmla="*/ 1725 w 2794"/>
              <a:gd name="T21" fmla="*/ 0 h 3411"/>
              <a:gd name="T22" fmla="*/ 1725 w 2794"/>
              <a:gd name="T23" fmla="*/ 0 h 3411"/>
              <a:gd name="T24" fmla="*/ 1396 w 2794"/>
              <a:gd name="T25" fmla="*/ 239 h 3411"/>
              <a:gd name="T26" fmla="*/ 1396 w 2794"/>
              <a:gd name="T27" fmla="*/ 239 h 3411"/>
              <a:gd name="T28" fmla="*/ 1067 w 2794"/>
              <a:gd name="T29" fmla="*/ 0 h 3411"/>
              <a:gd name="T30" fmla="*/ 321 w 2794"/>
              <a:gd name="T31" fmla="*/ 0 h 3411"/>
              <a:gd name="T32" fmla="*/ 321 w 2794"/>
              <a:gd name="T33" fmla="*/ 0 h 3411"/>
              <a:gd name="T34" fmla="*/ 0 w 2794"/>
              <a:gd name="T35" fmla="*/ 321 h 3411"/>
              <a:gd name="T36" fmla="*/ 0 w 2794"/>
              <a:gd name="T37" fmla="*/ 3089 h 3411"/>
              <a:gd name="T38" fmla="*/ 0 w 2794"/>
              <a:gd name="T39" fmla="*/ 3089 h 3411"/>
              <a:gd name="T40" fmla="*/ 321 w 2794"/>
              <a:gd name="T41" fmla="*/ 3410 h 3411"/>
              <a:gd name="T42" fmla="*/ 2471 w 2794"/>
              <a:gd name="T43" fmla="*/ 3410 h 3411"/>
              <a:gd name="T44" fmla="*/ 2471 w 2794"/>
              <a:gd name="T45" fmla="*/ 3410 h 3411"/>
              <a:gd name="T46" fmla="*/ 2793 w 2794"/>
              <a:gd name="T47" fmla="*/ 3089 h 3411"/>
              <a:gd name="T48" fmla="*/ 2793 w 2794"/>
              <a:gd name="T49" fmla="*/ 321 h 3411"/>
              <a:gd name="T50" fmla="*/ 2793 w 2794"/>
              <a:gd name="T51" fmla="*/ 321 h 3411"/>
              <a:gd name="T52" fmla="*/ 2471 w 2794"/>
              <a:gd name="T53" fmla="*/ 0 h 3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94" h="3411">
                <a:moveTo>
                  <a:pt x="2752" y="3089"/>
                </a:moveTo>
                <a:lnTo>
                  <a:pt x="2752" y="3089"/>
                </a:lnTo>
                <a:cubicBezTo>
                  <a:pt x="2752" y="3244"/>
                  <a:pt x="2626" y="3370"/>
                  <a:pt x="2471" y="3370"/>
                </a:cubicBezTo>
                <a:lnTo>
                  <a:pt x="321" y="3370"/>
                </a:lnTo>
                <a:lnTo>
                  <a:pt x="321" y="3370"/>
                </a:lnTo>
                <a:cubicBezTo>
                  <a:pt x="167" y="3370"/>
                  <a:pt x="41" y="3244"/>
                  <a:pt x="41" y="3089"/>
                </a:cubicBezTo>
                <a:lnTo>
                  <a:pt x="41" y="935"/>
                </a:lnTo>
                <a:lnTo>
                  <a:pt x="2752" y="935"/>
                </a:lnTo>
                <a:lnTo>
                  <a:pt x="2752" y="3089"/>
                </a:lnTo>
                <a:close/>
                <a:moveTo>
                  <a:pt x="2471" y="0"/>
                </a:moveTo>
                <a:lnTo>
                  <a:pt x="1725" y="0"/>
                </a:lnTo>
                <a:lnTo>
                  <a:pt x="1725" y="0"/>
                </a:lnTo>
                <a:cubicBezTo>
                  <a:pt x="1680" y="139"/>
                  <a:pt x="1550" y="239"/>
                  <a:pt x="1396" y="239"/>
                </a:cubicBezTo>
                <a:lnTo>
                  <a:pt x="1396" y="239"/>
                </a:lnTo>
                <a:cubicBezTo>
                  <a:pt x="1242" y="239"/>
                  <a:pt x="1112" y="139"/>
                  <a:pt x="1067" y="0"/>
                </a:cubicBezTo>
                <a:lnTo>
                  <a:pt x="321" y="0"/>
                </a:lnTo>
                <a:lnTo>
                  <a:pt x="321" y="0"/>
                </a:lnTo>
                <a:cubicBezTo>
                  <a:pt x="144" y="0"/>
                  <a:pt x="0" y="145"/>
                  <a:pt x="0" y="321"/>
                </a:cubicBezTo>
                <a:lnTo>
                  <a:pt x="0" y="3089"/>
                </a:lnTo>
                <a:lnTo>
                  <a:pt x="0" y="3089"/>
                </a:lnTo>
                <a:cubicBezTo>
                  <a:pt x="0" y="3266"/>
                  <a:pt x="144" y="3410"/>
                  <a:pt x="321" y="3410"/>
                </a:cubicBezTo>
                <a:lnTo>
                  <a:pt x="2471" y="3410"/>
                </a:lnTo>
                <a:lnTo>
                  <a:pt x="2471" y="3410"/>
                </a:lnTo>
                <a:cubicBezTo>
                  <a:pt x="2648" y="3410"/>
                  <a:pt x="2793" y="3266"/>
                  <a:pt x="2793" y="3089"/>
                </a:cubicBezTo>
                <a:lnTo>
                  <a:pt x="2793" y="321"/>
                </a:lnTo>
                <a:lnTo>
                  <a:pt x="2793" y="321"/>
                </a:lnTo>
                <a:cubicBezTo>
                  <a:pt x="2793" y="145"/>
                  <a:pt x="2648" y="0"/>
                  <a:pt x="2471" y="0"/>
                </a:cubicBezTo>
                <a:close/>
              </a:path>
            </a:pathLst>
          </a:custGeom>
          <a:solidFill>
            <a:schemeClr val="accent5"/>
          </a:solidFill>
          <a:ln>
            <a:noFill/>
          </a:ln>
          <a:effectLst/>
        </p:spPr>
        <p:txBody>
          <a:bodyPr wrap="none" anchor="ctr"/>
          <a:lstStyle/>
          <a:p>
            <a:endParaRPr lang="en-US" sz="900">
              <a:latin typeface="+mj-lt"/>
            </a:endParaRPr>
          </a:p>
        </p:txBody>
      </p:sp>
      <p:sp>
        <p:nvSpPr>
          <p:cNvPr id="12" name="Freeform 11">
            <a:extLst>
              <a:ext uri="{FF2B5EF4-FFF2-40B4-BE49-F238E27FC236}">
                <a16:creationId xmlns:a16="http://schemas.microsoft.com/office/drawing/2014/main" id="{EE3669F2-0BD4-46B5-2485-4A37C938724C}"/>
              </a:ext>
            </a:extLst>
          </p:cNvPr>
          <p:cNvSpPr>
            <a:spLocks noChangeArrowheads="1"/>
          </p:cNvSpPr>
          <p:nvPr userDrawn="1"/>
        </p:nvSpPr>
        <p:spPr bwMode="auto">
          <a:xfrm>
            <a:off x="7378601" y="2775355"/>
            <a:ext cx="1741261" cy="2125766"/>
          </a:xfrm>
          <a:custGeom>
            <a:avLst/>
            <a:gdLst>
              <a:gd name="T0" fmla="*/ 2752 w 2794"/>
              <a:gd name="T1" fmla="*/ 3089 h 3411"/>
              <a:gd name="T2" fmla="*/ 2752 w 2794"/>
              <a:gd name="T3" fmla="*/ 3089 h 3411"/>
              <a:gd name="T4" fmla="*/ 2472 w 2794"/>
              <a:gd name="T5" fmla="*/ 3370 h 3411"/>
              <a:gd name="T6" fmla="*/ 322 w 2794"/>
              <a:gd name="T7" fmla="*/ 3370 h 3411"/>
              <a:gd name="T8" fmla="*/ 322 w 2794"/>
              <a:gd name="T9" fmla="*/ 3370 h 3411"/>
              <a:gd name="T10" fmla="*/ 41 w 2794"/>
              <a:gd name="T11" fmla="*/ 3089 h 3411"/>
              <a:gd name="T12" fmla="*/ 41 w 2794"/>
              <a:gd name="T13" fmla="*/ 935 h 3411"/>
              <a:gd name="T14" fmla="*/ 2752 w 2794"/>
              <a:gd name="T15" fmla="*/ 935 h 3411"/>
              <a:gd name="T16" fmla="*/ 2752 w 2794"/>
              <a:gd name="T17" fmla="*/ 3089 h 3411"/>
              <a:gd name="T18" fmla="*/ 2472 w 2794"/>
              <a:gd name="T19" fmla="*/ 0 h 3411"/>
              <a:gd name="T20" fmla="*/ 1726 w 2794"/>
              <a:gd name="T21" fmla="*/ 0 h 3411"/>
              <a:gd name="T22" fmla="*/ 1726 w 2794"/>
              <a:gd name="T23" fmla="*/ 0 h 3411"/>
              <a:gd name="T24" fmla="*/ 1397 w 2794"/>
              <a:gd name="T25" fmla="*/ 239 h 3411"/>
              <a:gd name="T26" fmla="*/ 1397 w 2794"/>
              <a:gd name="T27" fmla="*/ 239 h 3411"/>
              <a:gd name="T28" fmla="*/ 1067 w 2794"/>
              <a:gd name="T29" fmla="*/ 0 h 3411"/>
              <a:gd name="T30" fmla="*/ 322 w 2794"/>
              <a:gd name="T31" fmla="*/ 0 h 3411"/>
              <a:gd name="T32" fmla="*/ 322 w 2794"/>
              <a:gd name="T33" fmla="*/ 0 h 3411"/>
              <a:gd name="T34" fmla="*/ 0 w 2794"/>
              <a:gd name="T35" fmla="*/ 321 h 3411"/>
              <a:gd name="T36" fmla="*/ 0 w 2794"/>
              <a:gd name="T37" fmla="*/ 3089 h 3411"/>
              <a:gd name="T38" fmla="*/ 0 w 2794"/>
              <a:gd name="T39" fmla="*/ 3089 h 3411"/>
              <a:gd name="T40" fmla="*/ 322 w 2794"/>
              <a:gd name="T41" fmla="*/ 3410 h 3411"/>
              <a:gd name="T42" fmla="*/ 2472 w 2794"/>
              <a:gd name="T43" fmla="*/ 3410 h 3411"/>
              <a:gd name="T44" fmla="*/ 2472 w 2794"/>
              <a:gd name="T45" fmla="*/ 3410 h 3411"/>
              <a:gd name="T46" fmla="*/ 2793 w 2794"/>
              <a:gd name="T47" fmla="*/ 3089 h 3411"/>
              <a:gd name="T48" fmla="*/ 2793 w 2794"/>
              <a:gd name="T49" fmla="*/ 321 h 3411"/>
              <a:gd name="T50" fmla="*/ 2793 w 2794"/>
              <a:gd name="T51" fmla="*/ 321 h 3411"/>
              <a:gd name="T52" fmla="*/ 2472 w 2794"/>
              <a:gd name="T53" fmla="*/ 0 h 3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94" h="3411">
                <a:moveTo>
                  <a:pt x="2752" y="3089"/>
                </a:moveTo>
                <a:lnTo>
                  <a:pt x="2752" y="3089"/>
                </a:lnTo>
                <a:cubicBezTo>
                  <a:pt x="2752" y="3244"/>
                  <a:pt x="2626" y="3370"/>
                  <a:pt x="2472" y="3370"/>
                </a:cubicBezTo>
                <a:lnTo>
                  <a:pt x="322" y="3370"/>
                </a:lnTo>
                <a:lnTo>
                  <a:pt x="322" y="3370"/>
                </a:lnTo>
                <a:cubicBezTo>
                  <a:pt x="167" y="3370"/>
                  <a:pt x="41" y="3244"/>
                  <a:pt x="41" y="3089"/>
                </a:cubicBezTo>
                <a:lnTo>
                  <a:pt x="41" y="935"/>
                </a:lnTo>
                <a:lnTo>
                  <a:pt x="2752" y="935"/>
                </a:lnTo>
                <a:lnTo>
                  <a:pt x="2752" y="3089"/>
                </a:lnTo>
                <a:close/>
                <a:moveTo>
                  <a:pt x="2472" y="0"/>
                </a:moveTo>
                <a:lnTo>
                  <a:pt x="1726" y="0"/>
                </a:lnTo>
                <a:lnTo>
                  <a:pt x="1726" y="0"/>
                </a:lnTo>
                <a:cubicBezTo>
                  <a:pt x="1681" y="139"/>
                  <a:pt x="1551" y="239"/>
                  <a:pt x="1397" y="239"/>
                </a:cubicBezTo>
                <a:lnTo>
                  <a:pt x="1397" y="239"/>
                </a:lnTo>
                <a:cubicBezTo>
                  <a:pt x="1243" y="239"/>
                  <a:pt x="1113" y="139"/>
                  <a:pt x="1067" y="0"/>
                </a:cubicBezTo>
                <a:lnTo>
                  <a:pt x="322" y="0"/>
                </a:lnTo>
                <a:lnTo>
                  <a:pt x="322" y="0"/>
                </a:lnTo>
                <a:cubicBezTo>
                  <a:pt x="145" y="0"/>
                  <a:pt x="0" y="145"/>
                  <a:pt x="0" y="321"/>
                </a:cubicBezTo>
                <a:lnTo>
                  <a:pt x="0" y="3089"/>
                </a:lnTo>
                <a:lnTo>
                  <a:pt x="0" y="3089"/>
                </a:lnTo>
                <a:cubicBezTo>
                  <a:pt x="0" y="3266"/>
                  <a:pt x="145" y="3410"/>
                  <a:pt x="322" y="3410"/>
                </a:cubicBezTo>
                <a:lnTo>
                  <a:pt x="2472" y="3410"/>
                </a:lnTo>
                <a:lnTo>
                  <a:pt x="2472" y="3410"/>
                </a:lnTo>
                <a:cubicBezTo>
                  <a:pt x="2649" y="3410"/>
                  <a:pt x="2793" y="3266"/>
                  <a:pt x="2793" y="3089"/>
                </a:cubicBezTo>
                <a:lnTo>
                  <a:pt x="2793" y="321"/>
                </a:lnTo>
                <a:lnTo>
                  <a:pt x="2793" y="321"/>
                </a:lnTo>
                <a:cubicBezTo>
                  <a:pt x="2793" y="145"/>
                  <a:pt x="2649" y="0"/>
                  <a:pt x="2472" y="0"/>
                </a:cubicBezTo>
                <a:close/>
              </a:path>
            </a:pathLst>
          </a:custGeom>
          <a:solidFill>
            <a:schemeClr val="accent4"/>
          </a:solidFill>
          <a:ln>
            <a:noFill/>
          </a:ln>
          <a:effectLst/>
        </p:spPr>
        <p:txBody>
          <a:bodyPr wrap="none" anchor="ctr"/>
          <a:lstStyle/>
          <a:p>
            <a:endParaRPr lang="en-US" sz="900">
              <a:latin typeface="+mj-lt"/>
            </a:endParaRPr>
          </a:p>
        </p:txBody>
      </p:sp>
      <p:sp>
        <p:nvSpPr>
          <p:cNvPr id="13" name="Freeform 12">
            <a:extLst>
              <a:ext uri="{FF2B5EF4-FFF2-40B4-BE49-F238E27FC236}">
                <a16:creationId xmlns:a16="http://schemas.microsoft.com/office/drawing/2014/main" id="{22A27900-8274-5261-B2FD-4F116FD81ED6}"/>
              </a:ext>
            </a:extLst>
          </p:cNvPr>
          <p:cNvSpPr>
            <a:spLocks noChangeArrowheads="1"/>
          </p:cNvSpPr>
          <p:nvPr userDrawn="1"/>
        </p:nvSpPr>
        <p:spPr bwMode="auto">
          <a:xfrm>
            <a:off x="8056978" y="2519933"/>
            <a:ext cx="381760" cy="381760"/>
          </a:xfrm>
          <a:custGeom>
            <a:avLst/>
            <a:gdLst>
              <a:gd name="T0" fmla="*/ 306 w 612"/>
              <a:gd name="T1" fmla="*/ 0 h 611"/>
              <a:gd name="T2" fmla="*/ 306 w 612"/>
              <a:gd name="T3" fmla="*/ 0 h 611"/>
              <a:gd name="T4" fmla="*/ 0 w 612"/>
              <a:gd name="T5" fmla="*/ 305 h 611"/>
              <a:gd name="T6" fmla="*/ 0 w 612"/>
              <a:gd name="T7" fmla="*/ 305 h 611"/>
              <a:gd name="T8" fmla="*/ 306 w 612"/>
              <a:gd name="T9" fmla="*/ 610 h 611"/>
              <a:gd name="T10" fmla="*/ 306 w 612"/>
              <a:gd name="T11" fmla="*/ 610 h 611"/>
              <a:gd name="T12" fmla="*/ 611 w 612"/>
              <a:gd name="T13" fmla="*/ 305 h 611"/>
              <a:gd name="T14" fmla="*/ 611 w 612"/>
              <a:gd name="T15" fmla="*/ 305 h 611"/>
              <a:gd name="T16" fmla="*/ 306 w 612"/>
              <a:gd name="T17"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1">
                <a:moveTo>
                  <a:pt x="306" y="0"/>
                </a:moveTo>
                <a:lnTo>
                  <a:pt x="306" y="0"/>
                </a:lnTo>
                <a:cubicBezTo>
                  <a:pt x="137" y="0"/>
                  <a:pt x="0" y="136"/>
                  <a:pt x="0" y="305"/>
                </a:cubicBezTo>
                <a:lnTo>
                  <a:pt x="0" y="305"/>
                </a:lnTo>
                <a:cubicBezTo>
                  <a:pt x="0" y="474"/>
                  <a:pt x="137" y="610"/>
                  <a:pt x="306" y="610"/>
                </a:cubicBezTo>
                <a:lnTo>
                  <a:pt x="306" y="610"/>
                </a:lnTo>
                <a:cubicBezTo>
                  <a:pt x="474" y="610"/>
                  <a:pt x="611" y="474"/>
                  <a:pt x="611" y="305"/>
                </a:cubicBezTo>
                <a:lnTo>
                  <a:pt x="611" y="305"/>
                </a:lnTo>
                <a:cubicBezTo>
                  <a:pt x="611" y="136"/>
                  <a:pt x="474" y="0"/>
                  <a:pt x="306" y="0"/>
                </a:cubicBezTo>
              </a:path>
            </a:pathLst>
          </a:custGeom>
          <a:solidFill>
            <a:schemeClr val="accent4"/>
          </a:solidFill>
          <a:ln>
            <a:noFill/>
          </a:ln>
          <a:effectLst/>
        </p:spPr>
        <p:txBody>
          <a:bodyPr wrap="none" anchor="ctr"/>
          <a:lstStyle/>
          <a:p>
            <a:endParaRPr lang="en-US" sz="900">
              <a:latin typeface="+mj-lt"/>
            </a:endParaRPr>
          </a:p>
        </p:txBody>
      </p:sp>
      <p:sp>
        <p:nvSpPr>
          <p:cNvPr id="14" name="Freeform 13">
            <a:extLst>
              <a:ext uri="{FF2B5EF4-FFF2-40B4-BE49-F238E27FC236}">
                <a16:creationId xmlns:a16="http://schemas.microsoft.com/office/drawing/2014/main" id="{849B4A96-B60D-2E61-D41A-B8CEE03CEF94}"/>
              </a:ext>
            </a:extLst>
          </p:cNvPr>
          <p:cNvSpPr>
            <a:spLocks noChangeArrowheads="1"/>
          </p:cNvSpPr>
          <p:nvPr userDrawn="1"/>
        </p:nvSpPr>
        <p:spPr bwMode="auto">
          <a:xfrm>
            <a:off x="3074885" y="2775355"/>
            <a:ext cx="1738515" cy="2125766"/>
          </a:xfrm>
          <a:custGeom>
            <a:avLst/>
            <a:gdLst>
              <a:gd name="T0" fmla="*/ 2751 w 2793"/>
              <a:gd name="T1" fmla="*/ 3089 h 3411"/>
              <a:gd name="T2" fmla="*/ 2751 w 2793"/>
              <a:gd name="T3" fmla="*/ 3089 h 3411"/>
              <a:gd name="T4" fmla="*/ 2471 w 2793"/>
              <a:gd name="T5" fmla="*/ 3370 h 3411"/>
              <a:gd name="T6" fmla="*/ 321 w 2793"/>
              <a:gd name="T7" fmla="*/ 3370 h 3411"/>
              <a:gd name="T8" fmla="*/ 321 w 2793"/>
              <a:gd name="T9" fmla="*/ 3370 h 3411"/>
              <a:gd name="T10" fmla="*/ 41 w 2793"/>
              <a:gd name="T11" fmla="*/ 3089 h 3411"/>
              <a:gd name="T12" fmla="*/ 41 w 2793"/>
              <a:gd name="T13" fmla="*/ 935 h 3411"/>
              <a:gd name="T14" fmla="*/ 2751 w 2793"/>
              <a:gd name="T15" fmla="*/ 935 h 3411"/>
              <a:gd name="T16" fmla="*/ 2751 w 2793"/>
              <a:gd name="T17" fmla="*/ 3089 h 3411"/>
              <a:gd name="T18" fmla="*/ 2471 w 2793"/>
              <a:gd name="T19" fmla="*/ 0 h 3411"/>
              <a:gd name="T20" fmla="*/ 1725 w 2793"/>
              <a:gd name="T21" fmla="*/ 0 h 3411"/>
              <a:gd name="T22" fmla="*/ 1725 w 2793"/>
              <a:gd name="T23" fmla="*/ 0 h 3411"/>
              <a:gd name="T24" fmla="*/ 1396 w 2793"/>
              <a:gd name="T25" fmla="*/ 239 h 3411"/>
              <a:gd name="T26" fmla="*/ 1396 w 2793"/>
              <a:gd name="T27" fmla="*/ 239 h 3411"/>
              <a:gd name="T28" fmla="*/ 1067 w 2793"/>
              <a:gd name="T29" fmla="*/ 0 h 3411"/>
              <a:gd name="T30" fmla="*/ 321 w 2793"/>
              <a:gd name="T31" fmla="*/ 0 h 3411"/>
              <a:gd name="T32" fmla="*/ 321 w 2793"/>
              <a:gd name="T33" fmla="*/ 0 h 3411"/>
              <a:gd name="T34" fmla="*/ 0 w 2793"/>
              <a:gd name="T35" fmla="*/ 321 h 3411"/>
              <a:gd name="T36" fmla="*/ 0 w 2793"/>
              <a:gd name="T37" fmla="*/ 3089 h 3411"/>
              <a:gd name="T38" fmla="*/ 0 w 2793"/>
              <a:gd name="T39" fmla="*/ 3089 h 3411"/>
              <a:gd name="T40" fmla="*/ 321 w 2793"/>
              <a:gd name="T41" fmla="*/ 3410 h 3411"/>
              <a:gd name="T42" fmla="*/ 2471 w 2793"/>
              <a:gd name="T43" fmla="*/ 3410 h 3411"/>
              <a:gd name="T44" fmla="*/ 2471 w 2793"/>
              <a:gd name="T45" fmla="*/ 3410 h 3411"/>
              <a:gd name="T46" fmla="*/ 2792 w 2793"/>
              <a:gd name="T47" fmla="*/ 3089 h 3411"/>
              <a:gd name="T48" fmla="*/ 2792 w 2793"/>
              <a:gd name="T49" fmla="*/ 321 h 3411"/>
              <a:gd name="T50" fmla="*/ 2792 w 2793"/>
              <a:gd name="T51" fmla="*/ 321 h 3411"/>
              <a:gd name="T52" fmla="*/ 2471 w 2793"/>
              <a:gd name="T53" fmla="*/ 0 h 3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93" h="3411">
                <a:moveTo>
                  <a:pt x="2751" y="3089"/>
                </a:moveTo>
                <a:lnTo>
                  <a:pt x="2751" y="3089"/>
                </a:lnTo>
                <a:cubicBezTo>
                  <a:pt x="2751" y="3244"/>
                  <a:pt x="2625" y="3370"/>
                  <a:pt x="2471" y="3370"/>
                </a:cubicBezTo>
                <a:lnTo>
                  <a:pt x="321" y="3370"/>
                </a:lnTo>
                <a:lnTo>
                  <a:pt x="321" y="3370"/>
                </a:lnTo>
                <a:cubicBezTo>
                  <a:pt x="167" y="3370"/>
                  <a:pt x="41" y="3244"/>
                  <a:pt x="41" y="3089"/>
                </a:cubicBezTo>
                <a:lnTo>
                  <a:pt x="41" y="935"/>
                </a:lnTo>
                <a:lnTo>
                  <a:pt x="2751" y="935"/>
                </a:lnTo>
                <a:lnTo>
                  <a:pt x="2751" y="3089"/>
                </a:lnTo>
                <a:close/>
                <a:moveTo>
                  <a:pt x="2471" y="0"/>
                </a:moveTo>
                <a:lnTo>
                  <a:pt x="1725" y="0"/>
                </a:lnTo>
                <a:lnTo>
                  <a:pt x="1725" y="0"/>
                </a:lnTo>
                <a:cubicBezTo>
                  <a:pt x="1680" y="139"/>
                  <a:pt x="1550" y="239"/>
                  <a:pt x="1396" y="239"/>
                </a:cubicBezTo>
                <a:lnTo>
                  <a:pt x="1396" y="239"/>
                </a:lnTo>
                <a:cubicBezTo>
                  <a:pt x="1242" y="239"/>
                  <a:pt x="1112" y="139"/>
                  <a:pt x="1067" y="0"/>
                </a:cubicBezTo>
                <a:lnTo>
                  <a:pt x="321" y="0"/>
                </a:lnTo>
                <a:lnTo>
                  <a:pt x="321" y="0"/>
                </a:lnTo>
                <a:cubicBezTo>
                  <a:pt x="144" y="0"/>
                  <a:pt x="0" y="145"/>
                  <a:pt x="0" y="321"/>
                </a:cubicBezTo>
                <a:lnTo>
                  <a:pt x="0" y="3089"/>
                </a:lnTo>
                <a:lnTo>
                  <a:pt x="0" y="3089"/>
                </a:lnTo>
                <a:cubicBezTo>
                  <a:pt x="0" y="3266"/>
                  <a:pt x="144" y="3410"/>
                  <a:pt x="321" y="3410"/>
                </a:cubicBezTo>
                <a:lnTo>
                  <a:pt x="2471" y="3410"/>
                </a:lnTo>
                <a:lnTo>
                  <a:pt x="2471" y="3410"/>
                </a:lnTo>
                <a:cubicBezTo>
                  <a:pt x="2648" y="3410"/>
                  <a:pt x="2792" y="3266"/>
                  <a:pt x="2792" y="3089"/>
                </a:cubicBezTo>
                <a:lnTo>
                  <a:pt x="2792" y="321"/>
                </a:lnTo>
                <a:lnTo>
                  <a:pt x="2792" y="321"/>
                </a:lnTo>
                <a:cubicBezTo>
                  <a:pt x="2792" y="145"/>
                  <a:pt x="2648" y="0"/>
                  <a:pt x="2471" y="0"/>
                </a:cubicBezTo>
                <a:close/>
              </a:path>
            </a:pathLst>
          </a:custGeom>
          <a:solidFill>
            <a:schemeClr val="accent2"/>
          </a:solidFill>
          <a:ln>
            <a:noFill/>
          </a:ln>
          <a:effectLst/>
        </p:spPr>
        <p:txBody>
          <a:bodyPr wrap="none" anchor="ctr"/>
          <a:lstStyle/>
          <a:p>
            <a:endParaRPr lang="en-US" sz="900">
              <a:latin typeface="+mj-lt"/>
            </a:endParaRPr>
          </a:p>
        </p:txBody>
      </p:sp>
      <p:sp>
        <p:nvSpPr>
          <p:cNvPr id="15" name="Freeform 14">
            <a:extLst>
              <a:ext uri="{FF2B5EF4-FFF2-40B4-BE49-F238E27FC236}">
                <a16:creationId xmlns:a16="http://schemas.microsoft.com/office/drawing/2014/main" id="{15E1A1AA-637B-2A37-04D3-747D4AB34CAA}"/>
              </a:ext>
            </a:extLst>
          </p:cNvPr>
          <p:cNvSpPr>
            <a:spLocks noChangeArrowheads="1"/>
          </p:cNvSpPr>
          <p:nvPr userDrawn="1"/>
        </p:nvSpPr>
        <p:spPr bwMode="auto">
          <a:xfrm>
            <a:off x="5225370" y="2775355"/>
            <a:ext cx="1738514" cy="2125766"/>
          </a:xfrm>
          <a:custGeom>
            <a:avLst/>
            <a:gdLst>
              <a:gd name="T0" fmla="*/ 2751 w 2793"/>
              <a:gd name="T1" fmla="*/ 3089 h 3411"/>
              <a:gd name="T2" fmla="*/ 2751 w 2793"/>
              <a:gd name="T3" fmla="*/ 3089 h 3411"/>
              <a:gd name="T4" fmla="*/ 2470 w 2793"/>
              <a:gd name="T5" fmla="*/ 3370 h 3411"/>
              <a:gd name="T6" fmla="*/ 322 w 2793"/>
              <a:gd name="T7" fmla="*/ 3370 h 3411"/>
              <a:gd name="T8" fmla="*/ 322 w 2793"/>
              <a:gd name="T9" fmla="*/ 3370 h 3411"/>
              <a:gd name="T10" fmla="*/ 41 w 2793"/>
              <a:gd name="T11" fmla="*/ 3089 h 3411"/>
              <a:gd name="T12" fmla="*/ 41 w 2793"/>
              <a:gd name="T13" fmla="*/ 935 h 3411"/>
              <a:gd name="T14" fmla="*/ 2751 w 2793"/>
              <a:gd name="T15" fmla="*/ 935 h 3411"/>
              <a:gd name="T16" fmla="*/ 2751 w 2793"/>
              <a:gd name="T17" fmla="*/ 3089 h 3411"/>
              <a:gd name="T18" fmla="*/ 2470 w 2793"/>
              <a:gd name="T19" fmla="*/ 0 h 3411"/>
              <a:gd name="T20" fmla="*/ 1725 w 2793"/>
              <a:gd name="T21" fmla="*/ 0 h 3411"/>
              <a:gd name="T22" fmla="*/ 1725 w 2793"/>
              <a:gd name="T23" fmla="*/ 0 h 3411"/>
              <a:gd name="T24" fmla="*/ 1396 w 2793"/>
              <a:gd name="T25" fmla="*/ 239 h 3411"/>
              <a:gd name="T26" fmla="*/ 1396 w 2793"/>
              <a:gd name="T27" fmla="*/ 239 h 3411"/>
              <a:gd name="T28" fmla="*/ 1067 w 2793"/>
              <a:gd name="T29" fmla="*/ 0 h 3411"/>
              <a:gd name="T30" fmla="*/ 322 w 2793"/>
              <a:gd name="T31" fmla="*/ 0 h 3411"/>
              <a:gd name="T32" fmla="*/ 322 w 2793"/>
              <a:gd name="T33" fmla="*/ 0 h 3411"/>
              <a:gd name="T34" fmla="*/ 0 w 2793"/>
              <a:gd name="T35" fmla="*/ 321 h 3411"/>
              <a:gd name="T36" fmla="*/ 0 w 2793"/>
              <a:gd name="T37" fmla="*/ 3089 h 3411"/>
              <a:gd name="T38" fmla="*/ 0 w 2793"/>
              <a:gd name="T39" fmla="*/ 3089 h 3411"/>
              <a:gd name="T40" fmla="*/ 322 w 2793"/>
              <a:gd name="T41" fmla="*/ 3410 h 3411"/>
              <a:gd name="T42" fmla="*/ 2470 w 2793"/>
              <a:gd name="T43" fmla="*/ 3410 h 3411"/>
              <a:gd name="T44" fmla="*/ 2470 w 2793"/>
              <a:gd name="T45" fmla="*/ 3410 h 3411"/>
              <a:gd name="T46" fmla="*/ 2792 w 2793"/>
              <a:gd name="T47" fmla="*/ 3089 h 3411"/>
              <a:gd name="T48" fmla="*/ 2792 w 2793"/>
              <a:gd name="T49" fmla="*/ 321 h 3411"/>
              <a:gd name="T50" fmla="*/ 2792 w 2793"/>
              <a:gd name="T51" fmla="*/ 321 h 3411"/>
              <a:gd name="T52" fmla="*/ 2470 w 2793"/>
              <a:gd name="T53" fmla="*/ 0 h 3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93" h="3411">
                <a:moveTo>
                  <a:pt x="2751" y="3089"/>
                </a:moveTo>
                <a:lnTo>
                  <a:pt x="2751" y="3089"/>
                </a:lnTo>
                <a:cubicBezTo>
                  <a:pt x="2751" y="3244"/>
                  <a:pt x="2625" y="3370"/>
                  <a:pt x="2470" y="3370"/>
                </a:cubicBezTo>
                <a:lnTo>
                  <a:pt x="322" y="3370"/>
                </a:lnTo>
                <a:lnTo>
                  <a:pt x="322" y="3370"/>
                </a:lnTo>
                <a:cubicBezTo>
                  <a:pt x="167" y="3370"/>
                  <a:pt x="41" y="3244"/>
                  <a:pt x="41" y="3089"/>
                </a:cubicBezTo>
                <a:lnTo>
                  <a:pt x="41" y="935"/>
                </a:lnTo>
                <a:lnTo>
                  <a:pt x="2751" y="935"/>
                </a:lnTo>
                <a:lnTo>
                  <a:pt x="2751" y="3089"/>
                </a:lnTo>
                <a:close/>
                <a:moveTo>
                  <a:pt x="2470" y="0"/>
                </a:moveTo>
                <a:lnTo>
                  <a:pt x="1725" y="0"/>
                </a:lnTo>
                <a:lnTo>
                  <a:pt x="1725" y="0"/>
                </a:lnTo>
                <a:cubicBezTo>
                  <a:pt x="1679" y="139"/>
                  <a:pt x="1549" y="239"/>
                  <a:pt x="1396" y="239"/>
                </a:cubicBezTo>
                <a:lnTo>
                  <a:pt x="1396" y="239"/>
                </a:lnTo>
                <a:cubicBezTo>
                  <a:pt x="1242" y="239"/>
                  <a:pt x="1112" y="139"/>
                  <a:pt x="1067" y="0"/>
                </a:cubicBezTo>
                <a:lnTo>
                  <a:pt x="322" y="0"/>
                </a:lnTo>
                <a:lnTo>
                  <a:pt x="322" y="0"/>
                </a:lnTo>
                <a:cubicBezTo>
                  <a:pt x="144" y="0"/>
                  <a:pt x="0" y="145"/>
                  <a:pt x="0" y="321"/>
                </a:cubicBezTo>
                <a:lnTo>
                  <a:pt x="0" y="3089"/>
                </a:lnTo>
                <a:lnTo>
                  <a:pt x="0" y="3089"/>
                </a:lnTo>
                <a:cubicBezTo>
                  <a:pt x="0" y="3266"/>
                  <a:pt x="144" y="3410"/>
                  <a:pt x="322" y="3410"/>
                </a:cubicBezTo>
                <a:lnTo>
                  <a:pt x="2470" y="3410"/>
                </a:lnTo>
                <a:lnTo>
                  <a:pt x="2470" y="3410"/>
                </a:lnTo>
                <a:cubicBezTo>
                  <a:pt x="2648" y="3410"/>
                  <a:pt x="2792" y="3266"/>
                  <a:pt x="2792" y="3089"/>
                </a:cubicBezTo>
                <a:lnTo>
                  <a:pt x="2792" y="321"/>
                </a:lnTo>
                <a:lnTo>
                  <a:pt x="2792" y="321"/>
                </a:lnTo>
                <a:cubicBezTo>
                  <a:pt x="2792" y="145"/>
                  <a:pt x="2648" y="0"/>
                  <a:pt x="2470" y="0"/>
                </a:cubicBezTo>
                <a:close/>
              </a:path>
            </a:pathLst>
          </a:custGeom>
          <a:solidFill>
            <a:schemeClr val="accent3"/>
          </a:solidFill>
          <a:ln>
            <a:noFill/>
          </a:ln>
          <a:effectLst/>
        </p:spPr>
        <p:txBody>
          <a:bodyPr wrap="none" anchor="ctr"/>
          <a:lstStyle/>
          <a:p>
            <a:endParaRPr lang="en-US" sz="900">
              <a:latin typeface="+mj-lt"/>
            </a:endParaRPr>
          </a:p>
        </p:txBody>
      </p:sp>
      <p:sp>
        <p:nvSpPr>
          <p:cNvPr id="16" name="Freeform 15">
            <a:extLst>
              <a:ext uri="{FF2B5EF4-FFF2-40B4-BE49-F238E27FC236}">
                <a16:creationId xmlns:a16="http://schemas.microsoft.com/office/drawing/2014/main" id="{1BF65A2F-A938-0BBC-4580-88B2A31FE9BA}"/>
              </a:ext>
            </a:extLst>
          </p:cNvPr>
          <p:cNvSpPr>
            <a:spLocks noChangeArrowheads="1"/>
          </p:cNvSpPr>
          <p:nvPr userDrawn="1"/>
        </p:nvSpPr>
        <p:spPr bwMode="auto">
          <a:xfrm>
            <a:off x="921654" y="2775355"/>
            <a:ext cx="1741261" cy="2125766"/>
          </a:xfrm>
          <a:custGeom>
            <a:avLst/>
            <a:gdLst>
              <a:gd name="T0" fmla="*/ 2752 w 2794"/>
              <a:gd name="T1" fmla="*/ 3089 h 3411"/>
              <a:gd name="T2" fmla="*/ 2752 w 2794"/>
              <a:gd name="T3" fmla="*/ 3089 h 3411"/>
              <a:gd name="T4" fmla="*/ 2471 w 2794"/>
              <a:gd name="T5" fmla="*/ 3370 h 3411"/>
              <a:gd name="T6" fmla="*/ 322 w 2794"/>
              <a:gd name="T7" fmla="*/ 3370 h 3411"/>
              <a:gd name="T8" fmla="*/ 322 w 2794"/>
              <a:gd name="T9" fmla="*/ 3370 h 3411"/>
              <a:gd name="T10" fmla="*/ 41 w 2794"/>
              <a:gd name="T11" fmla="*/ 3089 h 3411"/>
              <a:gd name="T12" fmla="*/ 41 w 2794"/>
              <a:gd name="T13" fmla="*/ 935 h 3411"/>
              <a:gd name="T14" fmla="*/ 2752 w 2794"/>
              <a:gd name="T15" fmla="*/ 935 h 3411"/>
              <a:gd name="T16" fmla="*/ 2752 w 2794"/>
              <a:gd name="T17" fmla="*/ 3089 h 3411"/>
              <a:gd name="T18" fmla="*/ 2471 w 2794"/>
              <a:gd name="T19" fmla="*/ 0 h 3411"/>
              <a:gd name="T20" fmla="*/ 1726 w 2794"/>
              <a:gd name="T21" fmla="*/ 0 h 3411"/>
              <a:gd name="T22" fmla="*/ 1726 w 2794"/>
              <a:gd name="T23" fmla="*/ 0 h 3411"/>
              <a:gd name="T24" fmla="*/ 1396 w 2794"/>
              <a:gd name="T25" fmla="*/ 239 h 3411"/>
              <a:gd name="T26" fmla="*/ 1396 w 2794"/>
              <a:gd name="T27" fmla="*/ 239 h 3411"/>
              <a:gd name="T28" fmla="*/ 1067 w 2794"/>
              <a:gd name="T29" fmla="*/ 0 h 3411"/>
              <a:gd name="T30" fmla="*/ 322 w 2794"/>
              <a:gd name="T31" fmla="*/ 0 h 3411"/>
              <a:gd name="T32" fmla="*/ 322 w 2794"/>
              <a:gd name="T33" fmla="*/ 0 h 3411"/>
              <a:gd name="T34" fmla="*/ 0 w 2794"/>
              <a:gd name="T35" fmla="*/ 321 h 3411"/>
              <a:gd name="T36" fmla="*/ 0 w 2794"/>
              <a:gd name="T37" fmla="*/ 3089 h 3411"/>
              <a:gd name="T38" fmla="*/ 0 w 2794"/>
              <a:gd name="T39" fmla="*/ 3089 h 3411"/>
              <a:gd name="T40" fmla="*/ 322 w 2794"/>
              <a:gd name="T41" fmla="*/ 3410 h 3411"/>
              <a:gd name="T42" fmla="*/ 2471 w 2794"/>
              <a:gd name="T43" fmla="*/ 3410 h 3411"/>
              <a:gd name="T44" fmla="*/ 2471 w 2794"/>
              <a:gd name="T45" fmla="*/ 3410 h 3411"/>
              <a:gd name="T46" fmla="*/ 2793 w 2794"/>
              <a:gd name="T47" fmla="*/ 3089 h 3411"/>
              <a:gd name="T48" fmla="*/ 2793 w 2794"/>
              <a:gd name="T49" fmla="*/ 321 h 3411"/>
              <a:gd name="T50" fmla="*/ 2793 w 2794"/>
              <a:gd name="T51" fmla="*/ 321 h 3411"/>
              <a:gd name="T52" fmla="*/ 2471 w 2794"/>
              <a:gd name="T53" fmla="*/ 0 h 3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94" h="3411">
                <a:moveTo>
                  <a:pt x="2752" y="3089"/>
                </a:moveTo>
                <a:lnTo>
                  <a:pt x="2752" y="3089"/>
                </a:lnTo>
                <a:cubicBezTo>
                  <a:pt x="2752" y="3244"/>
                  <a:pt x="2626" y="3370"/>
                  <a:pt x="2471" y="3370"/>
                </a:cubicBezTo>
                <a:lnTo>
                  <a:pt x="322" y="3370"/>
                </a:lnTo>
                <a:lnTo>
                  <a:pt x="322" y="3370"/>
                </a:lnTo>
                <a:cubicBezTo>
                  <a:pt x="167" y="3370"/>
                  <a:pt x="41" y="3244"/>
                  <a:pt x="41" y="3089"/>
                </a:cubicBezTo>
                <a:lnTo>
                  <a:pt x="41" y="935"/>
                </a:lnTo>
                <a:lnTo>
                  <a:pt x="2752" y="935"/>
                </a:lnTo>
                <a:lnTo>
                  <a:pt x="2752" y="3089"/>
                </a:lnTo>
                <a:close/>
                <a:moveTo>
                  <a:pt x="2471" y="0"/>
                </a:moveTo>
                <a:lnTo>
                  <a:pt x="1726" y="0"/>
                </a:lnTo>
                <a:lnTo>
                  <a:pt x="1726" y="0"/>
                </a:lnTo>
                <a:cubicBezTo>
                  <a:pt x="1681" y="139"/>
                  <a:pt x="1550" y="239"/>
                  <a:pt x="1396" y="239"/>
                </a:cubicBezTo>
                <a:lnTo>
                  <a:pt x="1396" y="239"/>
                </a:lnTo>
                <a:cubicBezTo>
                  <a:pt x="1243" y="239"/>
                  <a:pt x="1113" y="139"/>
                  <a:pt x="1067" y="0"/>
                </a:cubicBezTo>
                <a:lnTo>
                  <a:pt x="322" y="0"/>
                </a:lnTo>
                <a:lnTo>
                  <a:pt x="322" y="0"/>
                </a:lnTo>
                <a:cubicBezTo>
                  <a:pt x="144" y="0"/>
                  <a:pt x="0" y="145"/>
                  <a:pt x="0" y="321"/>
                </a:cubicBezTo>
                <a:lnTo>
                  <a:pt x="0" y="3089"/>
                </a:lnTo>
                <a:lnTo>
                  <a:pt x="0" y="3089"/>
                </a:lnTo>
                <a:cubicBezTo>
                  <a:pt x="0" y="3266"/>
                  <a:pt x="144" y="3410"/>
                  <a:pt x="322" y="3410"/>
                </a:cubicBezTo>
                <a:lnTo>
                  <a:pt x="2471" y="3410"/>
                </a:lnTo>
                <a:lnTo>
                  <a:pt x="2471" y="3410"/>
                </a:lnTo>
                <a:cubicBezTo>
                  <a:pt x="2649" y="3410"/>
                  <a:pt x="2793" y="3266"/>
                  <a:pt x="2793" y="3089"/>
                </a:cubicBezTo>
                <a:lnTo>
                  <a:pt x="2793" y="321"/>
                </a:lnTo>
                <a:lnTo>
                  <a:pt x="2793" y="321"/>
                </a:lnTo>
                <a:cubicBezTo>
                  <a:pt x="2793" y="145"/>
                  <a:pt x="2649" y="0"/>
                  <a:pt x="2471" y="0"/>
                </a:cubicBezTo>
                <a:close/>
              </a:path>
            </a:pathLst>
          </a:custGeom>
          <a:solidFill>
            <a:schemeClr val="accent1"/>
          </a:solidFill>
          <a:ln>
            <a:noFill/>
          </a:ln>
          <a:effectLst/>
        </p:spPr>
        <p:txBody>
          <a:bodyPr wrap="none" anchor="ctr"/>
          <a:lstStyle/>
          <a:p>
            <a:endParaRPr lang="en-US" sz="900">
              <a:latin typeface="+mj-lt"/>
            </a:endParaRPr>
          </a:p>
        </p:txBody>
      </p:sp>
      <p:sp>
        <p:nvSpPr>
          <p:cNvPr id="17" name="Freeform 16">
            <a:extLst>
              <a:ext uri="{FF2B5EF4-FFF2-40B4-BE49-F238E27FC236}">
                <a16:creationId xmlns:a16="http://schemas.microsoft.com/office/drawing/2014/main" id="{3C4237B7-A6B0-A2D7-0B13-C1259C044762}"/>
              </a:ext>
            </a:extLst>
          </p:cNvPr>
          <p:cNvSpPr>
            <a:spLocks noChangeArrowheads="1"/>
          </p:cNvSpPr>
          <p:nvPr userDrawn="1"/>
        </p:nvSpPr>
        <p:spPr bwMode="auto">
          <a:xfrm>
            <a:off x="1602778" y="2519933"/>
            <a:ext cx="381760" cy="381760"/>
          </a:xfrm>
          <a:custGeom>
            <a:avLst/>
            <a:gdLst>
              <a:gd name="T0" fmla="*/ 305 w 612"/>
              <a:gd name="T1" fmla="*/ 0 h 611"/>
              <a:gd name="T2" fmla="*/ 305 w 612"/>
              <a:gd name="T3" fmla="*/ 0 h 611"/>
              <a:gd name="T4" fmla="*/ 0 w 612"/>
              <a:gd name="T5" fmla="*/ 305 h 611"/>
              <a:gd name="T6" fmla="*/ 0 w 612"/>
              <a:gd name="T7" fmla="*/ 305 h 611"/>
              <a:gd name="T8" fmla="*/ 305 w 612"/>
              <a:gd name="T9" fmla="*/ 610 h 611"/>
              <a:gd name="T10" fmla="*/ 305 w 612"/>
              <a:gd name="T11" fmla="*/ 610 h 611"/>
              <a:gd name="T12" fmla="*/ 611 w 612"/>
              <a:gd name="T13" fmla="*/ 305 h 611"/>
              <a:gd name="T14" fmla="*/ 611 w 612"/>
              <a:gd name="T15" fmla="*/ 305 h 611"/>
              <a:gd name="T16" fmla="*/ 305 w 612"/>
              <a:gd name="T17"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1">
                <a:moveTo>
                  <a:pt x="305" y="0"/>
                </a:moveTo>
                <a:lnTo>
                  <a:pt x="305" y="0"/>
                </a:lnTo>
                <a:cubicBezTo>
                  <a:pt x="137" y="0"/>
                  <a:pt x="0" y="136"/>
                  <a:pt x="0" y="305"/>
                </a:cubicBezTo>
                <a:lnTo>
                  <a:pt x="0" y="305"/>
                </a:lnTo>
                <a:cubicBezTo>
                  <a:pt x="0" y="474"/>
                  <a:pt x="137" y="610"/>
                  <a:pt x="305" y="610"/>
                </a:cubicBezTo>
                <a:lnTo>
                  <a:pt x="305" y="610"/>
                </a:lnTo>
                <a:cubicBezTo>
                  <a:pt x="474" y="610"/>
                  <a:pt x="611" y="474"/>
                  <a:pt x="611" y="305"/>
                </a:cubicBezTo>
                <a:lnTo>
                  <a:pt x="611" y="305"/>
                </a:lnTo>
                <a:cubicBezTo>
                  <a:pt x="611" y="136"/>
                  <a:pt x="474" y="0"/>
                  <a:pt x="305" y="0"/>
                </a:cubicBezTo>
              </a:path>
            </a:pathLst>
          </a:custGeom>
          <a:solidFill>
            <a:schemeClr val="accent1"/>
          </a:solidFill>
          <a:ln>
            <a:noFill/>
          </a:ln>
          <a:effectLst/>
        </p:spPr>
        <p:txBody>
          <a:bodyPr wrap="none" anchor="ctr"/>
          <a:lstStyle/>
          <a:p>
            <a:endParaRPr lang="en-US" sz="900">
              <a:latin typeface="+mj-lt"/>
            </a:endParaRPr>
          </a:p>
        </p:txBody>
      </p:sp>
      <p:sp>
        <p:nvSpPr>
          <p:cNvPr id="18" name="Freeform 17">
            <a:extLst>
              <a:ext uri="{FF2B5EF4-FFF2-40B4-BE49-F238E27FC236}">
                <a16:creationId xmlns:a16="http://schemas.microsoft.com/office/drawing/2014/main" id="{DD885CA3-8601-6CBE-1C75-CC7C37671191}"/>
              </a:ext>
            </a:extLst>
          </p:cNvPr>
          <p:cNvSpPr>
            <a:spLocks noChangeArrowheads="1"/>
          </p:cNvSpPr>
          <p:nvPr userDrawn="1"/>
        </p:nvSpPr>
        <p:spPr bwMode="auto">
          <a:xfrm>
            <a:off x="3753264" y="2519933"/>
            <a:ext cx="381758" cy="381760"/>
          </a:xfrm>
          <a:custGeom>
            <a:avLst/>
            <a:gdLst>
              <a:gd name="T0" fmla="*/ 305 w 611"/>
              <a:gd name="T1" fmla="*/ 0 h 611"/>
              <a:gd name="T2" fmla="*/ 305 w 611"/>
              <a:gd name="T3" fmla="*/ 0 h 611"/>
              <a:gd name="T4" fmla="*/ 0 w 611"/>
              <a:gd name="T5" fmla="*/ 305 h 611"/>
              <a:gd name="T6" fmla="*/ 0 w 611"/>
              <a:gd name="T7" fmla="*/ 305 h 611"/>
              <a:gd name="T8" fmla="*/ 305 w 611"/>
              <a:gd name="T9" fmla="*/ 610 h 611"/>
              <a:gd name="T10" fmla="*/ 305 w 611"/>
              <a:gd name="T11" fmla="*/ 610 h 611"/>
              <a:gd name="T12" fmla="*/ 610 w 611"/>
              <a:gd name="T13" fmla="*/ 305 h 611"/>
              <a:gd name="T14" fmla="*/ 610 w 611"/>
              <a:gd name="T15" fmla="*/ 305 h 611"/>
              <a:gd name="T16" fmla="*/ 305 w 611"/>
              <a:gd name="T17"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1" h="611">
                <a:moveTo>
                  <a:pt x="305" y="0"/>
                </a:moveTo>
                <a:lnTo>
                  <a:pt x="305" y="0"/>
                </a:lnTo>
                <a:cubicBezTo>
                  <a:pt x="136" y="0"/>
                  <a:pt x="0" y="136"/>
                  <a:pt x="0" y="305"/>
                </a:cubicBezTo>
                <a:lnTo>
                  <a:pt x="0" y="305"/>
                </a:lnTo>
                <a:cubicBezTo>
                  <a:pt x="0" y="474"/>
                  <a:pt x="136" y="610"/>
                  <a:pt x="305" y="610"/>
                </a:cubicBezTo>
                <a:lnTo>
                  <a:pt x="305" y="610"/>
                </a:lnTo>
                <a:cubicBezTo>
                  <a:pt x="474" y="610"/>
                  <a:pt x="610" y="474"/>
                  <a:pt x="610" y="305"/>
                </a:cubicBezTo>
                <a:lnTo>
                  <a:pt x="610" y="305"/>
                </a:lnTo>
                <a:cubicBezTo>
                  <a:pt x="610" y="136"/>
                  <a:pt x="474" y="0"/>
                  <a:pt x="305" y="0"/>
                </a:cubicBezTo>
              </a:path>
            </a:pathLst>
          </a:custGeom>
          <a:solidFill>
            <a:schemeClr val="accent2"/>
          </a:solidFill>
          <a:ln>
            <a:noFill/>
          </a:ln>
          <a:effectLst/>
        </p:spPr>
        <p:txBody>
          <a:bodyPr wrap="none" anchor="ctr"/>
          <a:lstStyle/>
          <a:p>
            <a:endParaRPr lang="en-US" sz="900">
              <a:latin typeface="+mj-lt"/>
            </a:endParaRPr>
          </a:p>
        </p:txBody>
      </p:sp>
      <p:sp>
        <p:nvSpPr>
          <p:cNvPr id="19" name="Freeform 18">
            <a:extLst>
              <a:ext uri="{FF2B5EF4-FFF2-40B4-BE49-F238E27FC236}">
                <a16:creationId xmlns:a16="http://schemas.microsoft.com/office/drawing/2014/main" id="{9E4E693D-A329-9848-9018-8F51C7E82DD1}"/>
              </a:ext>
            </a:extLst>
          </p:cNvPr>
          <p:cNvSpPr>
            <a:spLocks noChangeArrowheads="1"/>
          </p:cNvSpPr>
          <p:nvPr userDrawn="1"/>
        </p:nvSpPr>
        <p:spPr bwMode="auto">
          <a:xfrm>
            <a:off x="5906494" y="2519933"/>
            <a:ext cx="381758" cy="381760"/>
          </a:xfrm>
          <a:custGeom>
            <a:avLst/>
            <a:gdLst>
              <a:gd name="T0" fmla="*/ 305 w 611"/>
              <a:gd name="T1" fmla="*/ 0 h 611"/>
              <a:gd name="T2" fmla="*/ 305 w 611"/>
              <a:gd name="T3" fmla="*/ 0 h 611"/>
              <a:gd name="T4" fmla="*/ 0 w 611"/>
              <a:gd name="T5" fmla="*/ 305 h 611"/>
              <a:gd name="T6" fmla="*/ 0 w 611"/>
              <a:gd name="T7" fmla="*/ 305 h 611"/>
              <a:gd name="T8" fmla="*/ 305 w 611"/>
              <a:gd name="T9" fmla="*/ 610 h 611"/>
              <a:gd name="T10" fmla="*/ 305 w 611"/>
              <a:gd name="T11" fmla="*/ 610 h 611"/>
              <a:gd name="T12" fmla="*/ 610 w 611"/>
              <a:gd name="T13" fmla="*/ 305 h 611"/>
              <a:gd name="T14" fmla="*/ 610 w 611"/>
              <a:gd name="T15" fmla="*/ 305 h 611"/>
              <a:gd name="T16" fmla="*/ 305 w 611"/>
              <a:gd name="T17"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1" h="611">
                <a:moveTo>
                  <a:pt x="305" y="0"/>
                </a:moveTo>
                <a:lnTo>
                  <a:pt x="305" y="0"/>
                </a:lnTo>
                <a:cubicBezTo>
                  <a:pt x="136" y="0"/>
                  <a:pt x="0" y="136"/>
                  <a:pt x="0" y="305"/>
                </a:cubicBezTo>
                <a:lnTo>
                  <a:pt x="0" y="305"/>
                </a:lnTo>
                <a:cubicBezTo>
                  <a:pt x="0" y="474"/>
                  <a:pt x="136" y="610"/>
                  <a:pt x="305" y="610"/>
                </a:cubicBezTo>
                <a:lnTo>
                  <a:pt x="305" y="610"/>
                </a:lnTo>
                <a:cubicBezTo>
                  <a:pt x="473" y="610"/>
                  <a:pt x="610" y="474"/>
                  <a:pt x="610" y="305"/>
                </a:cubicBezTo>
                <a:lnTo>
                  <a:pt x="610" y="305"/>
                </a:lnTo>
                <a:cubicBezTo>
                  <a:pt x="610" y="136"/>
                  <a:pt x="473" y="0"/>
                  <a:pt x="305" y="0"/>
                </a:cubicBezTo>
              </a:path>
            </a:pathLst>
          </a:custGeom>
          <a:solidFill>
            <a:schemeClr val="accent3"/>
          </a:solidFill>
          <a:ln>
            <a:noFill/>
          </a:ln>
          <a:effectLst/>
        </p:spPr>
        <p:txBody>
          <a:bodyPr wrap="none" anchor="ctr"/>
          <a:lstStyle/>
          <a:p>
            <a:endParaRPr lang="en-US" sz="900">
              <a:latin typeface="+mj-lt"/>
            </a:endParaRPr>
          </a:p>
        </p:txBody>
      </p:sp>
      <p:sp>
        <p:nvSpPr>
          <p:cNvPr id="20" name="Freeform 19">
            <a:extLst>
              <a:ext uri="{FF2B5EF4-FFF2-40B4-BE49-F238E27FC236}">
                <a16:creationId xmlns:a16="http://schemas.microsoft.com/office/drawing/2014/main" id="{2A0F699D-97CF-E0E5-9D6B-148DA98144D9}"/>
              </a:ext>
            </a:extLst>
          </p:cNvPr>
          <p:cNvSpPr>
            <a:spLocks noChangeArrowheads="1"/>
          </p:cNvSpPr>
          <p:nvPr userDrawn="1"/>
        </p:nvSpPr>
        <p:spPr bwMode="auto">
          <a:xfrm>
            <a:off x="10210209" y="2519933"/>
            <a:ext cx="381760" cy="381760"/>
          </a:xfrm>
          <a:custGeom>
            <a:avLst/>
            <a:gdLst>
              <a:gd name="T0" fmla="*/ 305 w 612"/>
              <a:gd name="T1" fmla="*/ 0 h 611"/>
              <a:gd name="T2" fmla="*/ 305 w 612"/>
              <a:gd name="T3" fmla="*/ 0 h 611"/>
              <a:gd name="T4" fmla="*/ 0 w 612"/>
              <a:gd name="T5" fmla="*/ 305 h 611"/>
              <a:gd name="T6" fmla="*/ 0 w 612"/>
              <a:gd name="T7" fmla="*/ 305 h 611"/>
              <a:gd name="T8" fmla="*/ 305 w 612"/>
              <a:gd name="T9" fmla="*/ 610 h 611"/>
              <a:gd name="T10" fmla="*/ 305 w 612"/>
              <a:gd name="T11" fmla="*/ 610 h 611"/>
              <a:gd name="T12" fmla="*/ 611 w 612"/>
              <a:gd name="T13" fmla="*/ 305 h 611"/>
              <a:gd name="T14" fmla="*/ 611 w 612"/>
              <a:gd name="T15" fmla="*/ 305 h 611"/>
              <a:gd name="T16" fmla="*/ 305 w 612"/>
              <a:gd name="T17"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1">
                <a:moveTo>
                  <a:pt x="305" y="0"/>
                </a:moveTo>
                <a:lnTo>
                  <a:pt x="305" y="0"/>
                </a:lnTo>
                <a:cubicBezTo>
                  <a:pt x="136" y="0"/>
                  <a:pt x="0" y="136"/>
                  <a:pt x="0" y="305"/>
                </a:cubicBezTo>
                <a:lnTo>
                  <a:pt x="0" y="305"/>
                </a:lnTo>
                <a:cubicBezTo>
                  <a:pt x="0" y="474"/>
                  <a:pt x="136" y="610"/>
                  <a:pt x="305" y="610"/>
                </a:cubicBezTo>
                <a:lnTo>
                  <a:pt x="305" y="610"/>
                </a:lnTo>
                <a:cubicBezTo>
                  <a:pt x="474" y="610"/>
                  <a:pt x="611" y="474"/>
                  <a:pt x="611" y="305"/>
                </a:cubicBezTo>
                <a:lnTo>
                  <a:pt x="611" y="305"/>
                </a:lnTo>
                <a:cubicBezTo>
                  <a:pt x="611" y="136"/>
                  <a:pt x="474" y="0"/>
                  <a:pt x="305" y="0"/>
                </a:cubicBezTo>
              </a:path>
            </a:pathLst>
          </a:custGeom>
          <a:solidFill>
            <a:schemeClr val="accent5"/>
          </a:solidFill>
          <a:ln>
            <a:noFill/>
          </a:ln>
          <a:effectLst/>
        </p:spPr>
        <p:txBody>
          <a:bodyPr wrap="none" anchor="ctr"/>
          <a:lstStyle/>
          <a:p>
            <a:endParaRPr lang="en-US" sz="900">
              <a:latin typeface="+mj-lt"/>
            </a:endParaRPr>
          </a:p>
        </p:txBody>
      </p:sp>
      <p:sp>
        <p:nvSpPr>
          <p:cNvPr id="38" name="Title 1">
            <a:extLst>
              <a:ext uri="{FF2B5EF4-FFF2-40B4-BE49-F238E27FC236}">
                <a16:creationId xmlns:a16="http://schemas.microsoft.com/office/drawing/2014/main" id="{AF17FE54-D092-8D57-52C3-CF81578B35CF}"/>
              </a:ext>
            </a:extLst>
          </p:cNvPr>
          <p:cNvSpPr>
            <a:spLocks noGrp="1"/>
          </p:cNvSpPr>
          <p:nvPr>
            <p:ph type="title"/>
          </p:nvPr>
        </p:nvSpPr>
        <p:spPr>
          <a:xfrm>
            <a:off x="838200" y="365126"/>
            <a:ext cx="10515600" cy="735762"/>
          </a:xfrm>
        </p:spPr>
        <p:txBody>
          <a:bodyPr>
            <a:normAutofit/>
          </a:bodyPr>
          <a:lstStyle>
            <a:lvl1pPr algn="ctr">
              <a:defRPr sz="3600">
                <a:solidFill>
                  <a:srgbClr val="014D63"/>
                </a:solidFill>
              </a:defRPr>
            </a:lvl1pPr>
          </a:lstStyle>
          <a:p>
            <a:r>
              <a:rPr lang="en-US"/>
              <a:t>Click to edit Master title style</a:t>
            </a:r>
          </a:p>
        </p:txBody>
      </p:sp>
      <p:sp>
        <p:nvSpPr>
          <p:cNvPr id="39" name="Text Placeholder 35">
            <a:extLst>
              <a:ext uri="{FF2B5EF4-FFF2-40B4-BE49-F238E27FC236}">
                <a16:creationId xmlns:a16="http://schemas.microsoft.com/office/drawing/2014/main" id="{59B6FA44-7E75-3ECB-8DFE-500140230B8D}"/>
              </a:ext>
            </a:extLst>
          </p:cNvPr>
          <p:cNvSpPr>
            <a:spLocks noGrp="1"/>
          </p:cNvSpPr>
          <p:nvPr>
            <p:ph type="body" sz="quarter" idx="19" hasCustomPrompt="1"/>
          </p:nvPr>
        </p:nvSpPr>
        <p:spPr>
          <a:xfrm>
            <a:off x="1644067" y="2557345"/>
            <a:ext cx="293690" cy="331694"/>
          </a:xfrm>
        </p:spPr>
        <p:txBody>
          <a:bodyPr anchor="b">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a:t>
            </a:r>
          </a:p>
        </p:txBody>
      </p:sp>
      <p:sp>
        <p:nvSpPr>
          <p:cNvPr id="40" name="Text Placeholder 35">
            <a:extLst>
              <a:ext uri="{FF2B5EF4-FFF2-40B4-BE49-F238E27FC236}">
                <a16:creationId xmlns:a16="http://schemas.microsoft.com/office/drawing/2014/main" id="{14D241DD-EF6D-2586-C323-48AF1E3DC02E}"/>
              </a:ext>
            </a:extLst>
          </p:cNvPr>
          <p:cNvSpPr>
            <a:spLocks noGrp="1"/>
          </p:cNvSpPr>
          <p:nvPr>
            <p:ph type="body" sz="quarter" idx="20" hasCustomPrompt="1"/>
          </p:nvPr>
        </p:nvSpPr>
        <p:spPr>
          <a:xfrm>
            <a:off x="3800859" y="2557345"/>
            <a:ext cx="293690" cy="331694"/>
          </a:xfrm>
        </p:spPr>
        <p:txBody>
          <a:bodyPr anchor="b">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a:t>
            </a:r>
          </a:p>
        </p:txBody>
      </p:sp>
      <p:sp>
        <p:nvSpPr>
          <p:cNvPr id="41" name="Text Placeholder 35">
            <a:extLst>
              <a:ext uri="{FF2B5EF4-FFF2-40B4-BE49-F238E27FC236}">
                <a16:creationId xmlns:a16="http://schemas.microsoft.com/office/drawing/2014/main" id="{0F2C3360-588A-9B9B-D5C8-206EC5537FA5}"/>
              </a:ext>
            </a:extLst>
          </p:cNvPr>
          <p:cNvSpPr>
            <a:spLocks noGrp="1"/>
          </p:cNvSpPr>
          <p:nvPr>
            <p:ph type="body" sz="quarter" idx="21" hasCustomPrompt="1"/>
          </p:nvPr>
        </p:nvSpPr>
        <p:spPr>
          <a:xfrm>
            <a:off x="5947711" y="2557345"/>
            <a:ext cx="293690" cy="331694"/>
          </a:xfrm>
        </p:spPr>
        <p:txBody>
          <a:bodyPr anchor="b">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a:t>
            </a:r>
          </a:p>
        </p:txBody>
      </p:sp>
      <p:sp>
        <p:nvSpPr>
          <p:cNvPr id="42" name="Text Placeholder 35">
            <a:extLst>
              <a:ext uri="{FF2B5EF4-FFF2-40B4-BE49-F238E27FC236}">
                <a16:creationId xmlns:a16="http://schemas.microsoft.com/office/drawing/2014/main" id="{D9EBA03C-A4A9-2104-CDEC-F97505D092AD}"/>
              </a:ext>
            </a:extLst>
          </p:cNvPr>
          <p:cNvSpPr>
            <a:spLocks noGrp="1"/>
          </p:cNvSpPr>
          <p:nvPr>
            <p:ph type="body" sz="quarter" idx="22" hasCustomPrompt="1"/>
          </p:nvPr>
        </p:nvSpPr>
        <p:spPr>
          <a:xfrm>
            <a:off x="8104502" y="2557345"/>
            <a:ext cx="293690" cy="331694"/>
          </a:xfrm>
        </p:spPr>
        <p:txBody>
          <a:bodyPr anchor="b">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a:t>
            </a:r>
          </a:p>
        </p:txBody>
      </p:sp>
      <p:sp>
        <p:nvSpPr>
          <p:cNvPr id="43" name="Text Placeholder 35">
            <a:extLst>
              <a:ext uri="{FF2B5EF4-FFF2-40B4-BE49-F238E27FC236}">
                <a16:creationId xmlns:a16="http://schemas.microsoft.com/office/drawing/2014/main" id="{26A144F7-5F08-892D-B705-9420F97130DF}"/>
              </a:ext>
            </a:extLst>
          </p:cNvPr>
          <p:cNvSpPr>
            <a:spLocks noGrp="1"/>
          </p:cNvSpPr>
          <p:nvPr>
            <p:ph type="body" sz="quarter" idx="23" hasCustomPrompt="1"/>
          </p:nvPr>
        </p:nvSpPr>
        <p:spPr>
          <a:xfrm>
            <a:off x="10251355" y="2557345"/>
            <a:ext cx="293690" cy="331694"/>
          </a:xfrm>
        </p:spPr>
        <p:txBody>
          <a:bodyPr anchor="b">
            <a:noAutofit/>
          </a:bodyPr>
          <a:lstStyle>
            <a:lvl1pPr marL="0" indent="0" algn="ctr">
              <a:buNone/>
              <a:defRPr sz="18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a:t>
            </a:r>
          </a:p>
        </p:txBody>
      </p:sp>
      <p:sp>
        <p:nvSpPr>
          <p:cNvPr id="44" name="Text Placeholder 35">
            <a:extLst>
              <a:ext uri="{FF2B5EF4-FFF2-40B4-BE49-F238E27FC236}">
                <a16:creationId xmlns:a16="http://schemas.microsoft.com/office/drawing/2014/main" id="{5EFCCA7B-2E5F-5A0C-29CC-798840608FA2}"/>
              </a:ext>
            </a:extLst>
          </p:cNvPr>
          <p:cNvSpPr>
            <a:spLocks noGrp="1"/>
          </p:cNvSpPr>
          <p:nvPr>
            <p:ph type="body" sz="quarter" idx="58" hasCustomPrompt="1"/>
          </p:nvPr>
        </p:nvSpPr>
        <p:spPr>
          <a:xfrm>
            <a:off x="1017063" y="2953856"/>
            <a:ext cx="1528473" cy="331694"/>
          </a:xfrm>
        </p:spPr>
        <p:txBody>
          <a:bodyPr anchor="b">
            <a:noAutofit/>
          </a:bodyPr>
          <a:lstStyle>
            <a:lvl1pPr marL="0" indent="0" algn="ctr">
              <a:buNone/>
              <a:defRPr sz="1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5" name="Text Placeholder 35">
            <a:extLst>
              <a:ext uri="{FF2B5EF4-FFF2-40B4-BE49-F238E27FC236}">
                <a16:creationId xmlns:a16="http://schemas.microsoft.com/office/drawing/2014/main" id="{44FBEF08-C24B-2A1A-594B-707D799CEA5C}"/>
              </a:ext>
            </a:extLst>
          </p:cNvPr>
          <p:cNvSpPr>
            <a:spLocks noGrp="1"/>
          </p:cNvSpPr>
          <p:nvPr>
            <p:ph type="body" sz="quarter" idx="62" hasCustomPrompt="1"/>
          </p:nvPr>
        </p:nvSpPr>
        <p:spPr>
          <a:xfrm>
            <a:off x="3170293" y="2953856"/>
            <a:ext cx="1528473" cy="331694"/>
          </a:xfrm>
        </p:spPr>
        <p:txBody>
          <a:bodyPr anchor="b">
            <a:noAutofit/>
          </a:bodyPr>
          <a:lstStyle>
            <a:lvl1pPr marL="0" indent="0" algn="ctr">
              <a:buNone/>
              <a:defRPr sz="1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6" name="Text Placeholder 35">
            <a:extLst>
              <a:ext uri="{FF2B5EF4-FFF2-40B4-BE49-F238E27FC236}">
                <a16:creationId xmlns:a16="http://schemas.microsoft.com/office/drawing/2014/main" id="{7959733A-5A20-78CF-6606-E6E793163246}"/>
              </a:ext>
            </a:extLst>
          </p:cNvPr>
          <p:cNvSpPr>
            <a:spLocks noGrp="1"/>
          </p:cNvSpPr>
          <p:nvPr>
            <p:ph type="body" sz="quarter" idx="66" hasCustomPrompt="1"/>
          </p:nvPr>
        </p:nvSpPr>
        <p:spPr>
          <a:xfrm>
            <a:off x="5332169" y="2953856"/>
            <a:ext cx="1528473" cy="331694"/>
          </a:xfrm>
        </p:spPr>
        <p:txBody>
          <a:bodyPr anchor="b">
            <a:noAutofit/>
          </a:bodyPr>
          <a:lstStyle>
            <a:lvl1pPr marL="0" indent="0" algn="ctr">
              <a:buNone/>
              <a:defRPr sz="1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8" name="Text Placeholder 35">
            <a:extLst>
              <a:ext uri="{FF2B5EF4-FFF2-40B4-BE49-F238E27FC236}">
                <a16:creationId xmlns:a16="http://schemas.microsoft.com/office/drawing/2014/main" id="{AF8FCDD0-3C4C-D4CB-957D-BE66E3CC4703}"/>
              </a:ext>
            </a:extLst>
          </p:cNvPr>
          <p:cNvSpPr>
            <a:spLocks noGrp="1"/>
          </p:cNvSpPr>
          <p:nvPr>
            <p:ph type="body" sz="quarter" idx="67" hasCustomPrompt="1"/>
          </p:nvPr>
        </p:nvSpPr>
        <p:spPr>
          <a:xfrm>
            <a:off x="7479022" y="2953856"/>
            <a:ext cx="1528473" cy="331694"/>
          </a:xfrm>
        </p:spPr>
        <p:txBody>
          <a:bodyPr anchor="b">
            <a:noAutofit/>
          </a:bodyPr>
          <a:lstStyle>
            <a:lvl1pPr marL="0" indent="0" algn="ctr">
              <a:buNone/>
              <a:defRPr sz="1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49" name="Text Placeholder 35">
            <a:extLst>
              <a:ext uri="{FF2B5EF4-FFF2-40B4-BE49-F238E27FC236}">
                <a16:creationId xmlns:a16="http://schemas.microsoft.com/office/drawing/2014/main" id="{D2AF8480-36C4-52AC-C2C2-C38F7D34D95C}"/>
              </a:ext>
            </a:extLst>
          </p:cNvPr>
          <p:cNvSpPr>
            <a:spLocks noGrp="1"/>
          </p:cNvSpPr>
          <p:nvPr>
            <p:ph type="body" sz="quarter" idx="68" hasCustomPrompt="1"/>
          </p:nvPr>
        </p:nvSpPr>
        <p:spPr>
          <a:xfrm>
            <a:off x="9615935" y="2953856"/>
            <a:ext cx="1528473" cy="331694"/>
          </a:xfrm>
        </p:spPr>
        <p:txBody>
          <a:bodyPr anchor="b">
            <a:noAutofit/>
          </a:bodyPr>
          <a:lstStyle>
            <a:lvl1pPr marL="0" indent="0" algn="ctr">
              <a:buNone/>
              <a:defRPr sz="1400" b="1">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50" name="Text Placeholder 2">
            <a:extLst>
              <a:ext uri="{FF2B5EF4-FFF2-40B4-BE49-F238E27FC236}">
                <a16:creationId xmlns:a16="http://schemas.microsoft.com/office/drawing/2014/main" id="{30A9F062-42D3-7057-073A-9F958331C879}"/>
              </a:ext>
            </a:extLst>
          </p:cNvPr>
          <p:cNvSpPr>
            <a:spLocks noGrp="1"/>
          </p:cNvSpPr>
          <p:nvPr>
            <p:ph type="body" idx="39" hasCustomPrompt="1"/>
          </p:nvPr>
        </p:nvSpPr>
        <p:spPr>
          <a:xfrm>
            <a:off x="959092" y="3378626"/>
            <a:ext cx="1701076" cy="1519748"/>
          </a:xfrm>
        </p:spPr>
        <p:txBody>
          <a:bodyPr anchor="ctr">
            <a:normAutofit/>
          </a:bodyPr>
          <a:lstStyle>
            <a:lvl1pPr marL="0" indent="0" algn="ctr">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52" name="Text Placeholder 2">
            <a:extLst>
              <a:ext uri="{FF2B5EF4-FFF2-40B4-BE49-F238E27FC236}">
                <a16:creationId xmlns:a16="http://schemas.microsoft.com/office/drawing/2014/main" id="{04443BFA-0C28-3F6B-122F-B522C55BE0CC}"/>
              </a:ext>
            </a:extLst>
          </p:cNvPr>
          <p:cNvSpPr>
            <a:spLocks noGrp="1"/>
          </p:cNvSpPr>
          <p:nvPr>
            <p:ph type="body" idx="69" hasCustomPrompt="1"/>
          </p:nvPr>
        </p:nvSpPr>
        <p:spPr>
          <a:xfrm>
            <a:off x="3096005" y="3378626"/>
            <a:ext cx="1701076" cy="1519748"/>
          </a:xfrm>
        </p:spPr>
        <p:txBody>
          <a:bodyPr anchor="ctr">
            <a:normAutofit/>
          </a:bodyPr>
          <a:lstStyle>
            <a:lvl1pPr marL="0" indent="0" algn="ctr">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53" name="Text Placeholder 2">
            <a:extLst>
              <a:ext uri="{FF2B5EF4-FFF2-40B4-BE49-F238E27FC236}">
                <a16:creationId xmlns:a16="http://schemas.microsoft.com/office/drawing/2014/main" id="{60A78ED0-55EA-2EA6-2869-56E7ECCAB781}"/>
              </a:ext>
            </a:extLst>
          </p:cNvPr>
          <p:cNvSpPr>
            <a:spLocks noGrp="1"/>
          </p:cNvSpPr>
          <p:nvPr>
            <p:ph type="body" idx="70" hasCustomPrompt="1"/>
          </p:nvPr>
        </p:nvSpPr>
        <p:spPr>
          <a:xfrm>
            <a:off x="5242857" y="3378626"/>
            <a:ext cx="1701076" cy="1519748"/>
          </a:xfrm>
        </p:spPr>
        <p:txBody>
          <a:bodyPr anchor="ctr">
            <a:normAutofit/>
          </a:bodyPr>
          <a:lstStyle>
            <a:lvl1pPr marL="0" indent="0" algn="ctr">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54" name="Text Placeholder 2">
            <a:extLst>
              <a:ext uri="{FF2B5EF4-FFF2-40B4-BE49-F238E27FC236}">
                <a16:creationId xmlns:a16="http://schemas.microsoft.com/office/drawing/2014/main" id="{54E214BD-A7CA-D6C8-CCDA-C0B2DFFE8858}"/>
              </a:ext>
            </a:extLst>
          </p:cNvPr>
          <p:cNvSpPr>
            <a:spLocks noGrp="1"/>
          </p:cNvSpPr>
          <p:nvPr>
            <p:ph type="body" idx="71" hasCustomPrompt="1"/>
          </p:nvPr>
        </p:nvSpPr>
        <p:spPr>
          <a:xfrm>
            <a:off x="7399649" y="3378626"/>
            <a:ext cx="1701076" cy="1519748"/>
          </a:xfrm>
        </p:spPr>
        <p:txBody>
          <a:bodyPr anchor="ctr">
            <a:normAutofit/>
          </a:bodyPr>
          <a:lstStyle>
            <a:lvl1pPr marL="0" indent="0" algn="ctr">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55" name="Text Placeholder 2">
            <a:extLst>
              <a:ext uri="{FF2B5EF4-FFF2-40B4-BE49-F238E27FC236}">
                <a16:creationId xmlns:a16="http://schemas.microsoft.com/office/drawing/2014/main" id="{54281A98-BB4D-2C36-58BD-7799F8D2DE43}"/>
              </a:ext>
            </a:extLst>
          </p:cNvPr>
          <p:cNvSpPr>
            <a:spLocks noGrp="1"/>
          </p:cNvSpPr>
          <p:nvPr>
            <p:ph type="body" idx="72" hasCustomPrompt="1"/>
          </p:nvPr>
        </p:nvSpPr>
        <p:spPr>
          <a:xfrm>
            <a:off x="9546502" y="3378626"/>
            <a:ext cx="1701076" cy="1519748"/>
          </a:xfrm>
        </p:spPr>
        <p:txBody>
          <a:bodyPr anchor="ctr">
            <a:normAutofit/>
          </a:bodyPr>
          <a:lstStyle>
            <a:lvl1pPr marL="0" indent="0" algn="ctr">
              <a:lnSpc>
                <a:spcPct val="150000"/>
              </a:lnSpc>
              <a:buNone/>
              <a:defRPr sz="900">
                <a:solidFill>
                  <a:srgbClr val="014D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56" name="Text Placeholder 35">
            <a:extLst>
              <a:ext uri="{FF2B5EF4-FFF2-40B4-BE49-F238E27FC236}">
                <a16:creationId xmlns:a16="http://schemas.microsoft.com/office/drawing/2014/main" id="{86C1D068-35C5-FE83-347A-406376E447CA}"/>
              </a:ext>
            </a:extLst>
          </p:cNvPr>
          <p:cNvSpPr>
            <a:spLocks noGrp="1"/>
          </p:cNvSpPr>
          <p:nvPr>
            <p:ph type="body" sz="quarter" idx="73" hasCustomPrompt="1"/>
          </p:nvPr>
        </p:nvSpPr>
        <p:spPr>
          <a:xfrm>
            <a:off x="1017063" y="5712759"/>
            <a:ext cx="1528473" cy="331694"/>
          </a:xfrm>
        </p:spPr>
        <p:txBody>
          <a:bodyPr anchor="b">
            <a:noAutofit/>
          </a:bodyPr>
          <a:lstStyle>
            <a:lvl1pPr marL="0" indent="0" algn="ctr">
              <a:buNone/>
              <a:defRPr sz="14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START</a:t>
            </a:r>
          </a:p>
        </p:txBody>
      </p:sp>
      <p:sp>
        <p:nvSpPr>
          <p:cNvPr id="58" name="Text Placeholder 35">
            <a:extLst>
              <a:ext uri="{FF2B5EF4-FFF2-40B4-BE49-F238E27FC236}">
                <a16:creationId xmlns:a16="http://schemas.microsoft.com/office/drawing/2014/main" id="{1C4F2C84-5AE0-4316-A2E6-37D24BDDDF80}"/>
              </a:ext>
            </a:extLst>
          </p:cNvPr>
          <p:cNvSpPr>
            <a:spLocks noGrp="1"/>
          </p:cNvSpPr>
          <p:nvPr>
            <p:ph type="body" sz="quarter" idx="74" hasCustomPrompt="1"/>
          </p:nvPr>
        </p:nvSpPr>
        <p:spPr>
          <a:xfrm>
            <a:off x="9644229" y="1607898"/>
            <a:ext cx="1528473" cy="331694"/>
          </a:xfrm>
        </p:spPr>
        <p:txBody>
          <a:bodyPr anchor="b">
            <a:noAutofit/>
          </a:bodyPr>
          <a:lstStyle>
            <a:lvl1pPr marL="0" indent="0" algn="ctr">
              <a:buNone/>
              <a:defRPr sz="1400" b="1">
                <a:solidFill>
                  <a:srgbClr val="00416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MILESTONE</a:t>
            </a:r>
          </a:p>
        </p:txBody>
      </p:sp>
    </p:spTree>
    <p:extLst>
      <p:ext uri="{BB962C8B-B14F-4D97-AF65-F5344CB8AC3E}">
        <p14:creationId xmlns:p14="http://schemas.microsoft.com/office/powerpoint/2010/main" val="364840607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06AA12FB-9C44-3248-0C54-126859B79B24}"/>
              </a:ext>
            </a:extLst>
          </p:cNvPr>
          <p:cNvSpPr/>
          <p:nvPr userDrawn="1"/>
        </p:nvSpPr>
        <p:spPr>
          <a:xfrm rot="10800000" flipH="1">
            <a:off x="0" y="6721475"/>
            <a:ext cx="12192000" cy="136526"/>
          </a:xfrm>
          <a:prstGeom prst="rect">
            <a:avLst/>
          </a:prstGeom>
          <a:gradFill>
            <a:gsLst>
              <a:gs pos="95000">
                <a:schemeClr val="accent1"/>
              </a:gs>
              <a:gs pos="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a:extLst>
              <a:ext uri="{FF2B5EF4-FFF2-40B4-BE49-F238E27FC236}">
                <a16:creationId xmlns:a16="http://schemas.microsoft.com/office/drawing/2014/main" id="{212C1EEA-04A6-D909-9DEF-5832C5468FB5}"/>
              </a:ext>
            </a:extLst>
          </p:cNvPr>
          <p:cNvSpPr>
            <a:spLocks noChangeArrowheads="1"/>
          </p:cNvSpPr>
          <p:nvPr userDrawn="1"/>
        </p:nvSpPr>
        <p:spPr bwMode="auto">
          <a:xfrm>
            <a:off x="721163" y="1337610"/>
            <a:ext cx="10716718" cy="4869486"/>
          </a:xfrm>
          <a:custGeom>
            <a:avLst/>
            <a:gdLst>
              <a:gd name="T0" fmla="*/ 16598 w 17205"/>
              <a:gd name="T1" fmla="*/ 932 h 7820"/>
              <a:gd name="T2" fmla="*/ 17204 w 17205"/>
              <a:gd name="T3" fmla="*/ 116 h 7820"/>
              <a:gd name="T4" fmla="*/ 16194 w 17205"/>
              <a:gd name="T5" fmla="*/ 0 h 7820"/>
              <a:gd name="T6" fmla="*/ 16356 w 17205"/>
              <a:gd name="T7" fmla="*/ 373 h 7820"/>
              <a:gd name="T8" fmla="*/ 734 w 17205"/>
              <a:gd name="T9" fmla="*/ 7143 h 7820"/>
              <a:gd name="T10" fmla="*/ 283 w 17205"/>
              <a:gd name="T11" fmla="*/ 7032 h 7820"/>
              <a:gd name="T12" fmla="*/ 84 w 17205"/>
              <a:gd name="T13" fmla="*/ 7536 h 7820"/>
              <a:gd name="T14" fmla="*/ 588 w 17205"/>
              <a:gd name="T15" fmla="*/ 7736 h 7820"/>
              <a:gd name="T16" fmla="*/ 815 w 17205"/>
              <a:gd name="T17" fmla="*/ 7330 h 7820"/>
              <a:gd name="T18" fmla="*/ 16437 w 17205"/>
              <a:gd name="T19" fmla="*/ 559 h 7820"/>
              <a:gd name="T20" fmla="*/ 16598 w 17205"/>
              <a:gd name="T21" fmla="*/ 932 h 7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05" h="7820">
                <a:moveTo>
                  <a:pt x="16598" y="932"/>
                </a:moveTo>
                <a:lnTo>
                  <a:pt x="17204" y="116"/>
                </a:lnTo>
                <a:lnTo>
                  <a:pt x="16194" y="0"/>
                </a:lnTo>
                <a:lnTo>
                  <a:pt x="16356" y="373"/>
                </a:lnTo>
                <a:lnTo>
                  <a:pt x="734" y="7143"/>
                </a:lnTo>
                <a:cubicBezTo>
                  <a:pt x="628" y="7012"/>
                  <a:pt x="445" y="6962"/>
                  <a:pt x="283" y="7032"/>
                </a:cubicBezTo>
                <a:cubicBezTo>
                  <a:pt x="89" y="7116"/>
                  <a:pt x="0" y="7342"/>
                  <a:pt x="84" y="7536"/>
                </a:cubicBezTo>
                <a:cubicBezTo>
                  <a:pt x="168" y="7730"/>
                  <a:pt x="394" y="7819"/>
                  <a:pt x="588" y="7736"/>
                </a:cubicBezTo>
                <a:cubicBezTo>
                  <a:pt x="750" y="7665"/>
                  <a:pt x="839" y="7497"/>
                  <a:pt x="815" y="7330"/>
                </a:cubicBezTo>
                <a:lnTo>
                  <a:pt x="16437" y="559"/>
                </a:lnTo>
                <a:lnTo>
                  <a:pt x="16598" y="932"/>
                </a:lnTo>
              </a:path>
            </a:pathLst>
          </a:custGeom>
          <a:solidFill>
            <a:schemeClr val="accent6"/>
          </a:solidFill>
          <a:ln>
            <a:noFill/>
          </a:ln>
          <a:effectLst/>
        </p:spPr>
        <p:txBody>
          <a:bodyPr wrap="none" anchor="ctr"/>
          <a:lstStyle/>
          <a:p>
            <a:endParaRPr lang="en-US" sz="900">
              <a:latin typeface="+mj-lt"/>
            </a:endParaRPr>
          </a:p>
        </p:txBody>
      </p:sp>
      <p:sp>
        <p:nvSpPr>
          <p:cNvPr id="4" name="Freeform 3">
            <a:extLst>
              <a:ext uri="{FF2B5EF4-FFF2-40B4-BE49-F238E27FC236}">
                <a16:creationId xmlns:a16="http://schemas.microsoft.com/office/drawing/2014/main" id="{F38B357C-75AE-3D43-2B25-D13C5F37E3CA}"/>
              </a:ext>
            </a:extLst>
          </p:cNvPr>
          <p:cNvSpPr>
            <a:spLocks noChangeArrowheads="1"/>
          </p:cNvSpPr>
          <p:nvPr userDrawn="1"/>
        </p:nvSpPr>
        <p:spPr bwMode="auto">
          <a:xfrm>
            <a:off x="1536863" y="4649850"/>
            <a:ext cx="1466614" cy="1466614"/>
          </a:xfrm>
          <a:custGeom>
            <a:avLst/>
            <a:gdLst>
              <a:gd name="T0" fmla="*/ 2353 w 2354"/>
              <a:gd name="T1" fmla="*/ 1176 h 2355"/>
              <a:gd name="T2" fmla="*/ 1177 w 2354"/>
              <a:gd name="T3" fmla="*/ 2354 h 2355"/>
              <a:gd name="T4" fmla="*/ 0 w 2354"/>
              <a:gd name="T5" fmla="*/ 1176 h 2355"/>
              <a:gd name="T6" fmla="*/ 1177 w 2354"/>
              <a:gd name="T7" fmla="*/ 0 h 2355"/>
              <a:gd name="T8" fmla="*/ 2353 w 2354"/>
              <a:gd name="T9" fmla="*/ 1176 h 2355"/>
            </a:gdLst>
            <a:ahLst/>
            <a:cxnLst>
              <a:cxn ang="0">
                <a:pos x="T0" y="T1"/>
              </a:cxn>
              <a:cxn ang="0">
                <a:pos x="T2" y="T3"/>
              </a:cxn>
              <a:cxn ang="0">
                <a:pos x="T4" y="T5"/>
              </a:cxn>
              <a:cxn ang="0">
                <a:pos x="T6" y="T7"/>
              </a:cxn>
              <a:cxn ang="0">
                <a:pos x="T8" y="T9"/>
              </a:cxn>
            </a:cxnLst>
            <a:rect l="0" t="0" r="r" b="b"/>
            <a:pathLst>
              <a:path w="2354" h="2355">
                <a:moveTo>
                  <a:pt x="2353" y="1176"/>
                </a:moveTo>
                <a:cubicBezTo>
                  <a:pt x="2353" y="1826"/>
                  <a:pt x="1826" y="2354"/>
                  <a:pt x="1177" y="2354"/>
                </a:cubicBezTo>
                <a:cubicBezTo>
                  <a:pt x="527" y="2354"/>
                  <a:pt x="0" y="1826"/>
                  <a:pt x="0" y="1176"/>
                </a:cubicBezTo>
                <a:cubicBezTo>
                  <a:pt x="0" y="527"/>
                  <a:pt x="527" y="0"/>
                  <a:pt x="1177" y="0"/>
                </a:cubicBezTo>
                <a:cubicBezTo>
                  <a:pt x="1826" y="0"/>
                  <a:pt x="2353" y="527"/>
                  <a:pt x="2353" y="1176"/>
                </a:cubicBezTo>
              </a:path>
            </a:pathLst>
          </a:custGeom>
          <a:solidFill>
            <a:schemeClr val="accent1"/>
          </a:solidFill>
          <a:ln>
            <a:noFill/>
          </a:ln>
          <a:effectLst/>
        </p:spPr>
        <p:txBody>
          <a:bodyPr wrap="none" anchor="ctr"/>
          <a:lstStyle/>
          <a:p>
            <a:endParaRPr lang="en-US" sz="900">
              <a:latin typeface="+mj-lt"/>
            </a:endParaRPr>
          </a:p>
        </p:txBody>
      </p:sp>
      <p:sp>
        <p:nvSpPr>
          <p:cNvPr id="5" name="Freeform 4">
            <a:extLst>
              <a:ext uri="{FF2B5EF4-FFF2-40B4-BE49-F238E27FC236}">
                <a16:creationId xmlns:a16="http://schemas.microsoft.com/office/drawing/2014/main" id="{A547D695-1BA5-1581-8F81-0995FE8D1071}"/>
              </a:ext>
            </a:extLst>
          </p:cNvPr>
          <p:cNvSpPr>
            <a:spLocks noChangeArrowheads="1"/>
          </p:cNvSpPr>
          <p:nvPr userDrawn="1"/>
        </p:nvSpPr>
        <p:spPr bwMode="auto">
          <a:xfrm>
            <a:off x="4091078" y="3543023"/>
            <a:ext cx="1466614" cy="1466614"/>
          </a:xfrm>
          <a:custGeom>
            <a:avLst/>
            <a:gdLst>
              <a:gd name="T0" fmla="*/ 2354 w 2355"/>
              <a:gd name="T1" fmla="*/ 1177 h 2355"/>
              <a:gd name="T2" fmla="*/ 1177 w 2355"/>
              <a:gd name="T3" fmla="*/ 2354 h 2355"/>
              <a:gd name="T4" fmla="*/ 0 w 2355"/>
              <a:gd name="T5" fmla="*/ 1177 h 2355"/>
              <a:gd name="T6" fmla="*/ 1177 w 2355"/>
              <a:gd name="T7" fmla="*/ 0 h 2355"/>
              <a:gd name="T8" fmla="*/ 2354 w 2355"/>
              <a:gd name="T9" fmla="*/ 1177 h 2355"/>
            </a:gdLst>
            <a:ahLst/>
            <a:cxnLst>
              <a:cxn ang="0">
                <a:pos x="T0" y="T1"/>
              </a:cxn>
              <a:cxn ang="0">
                <a:pos x="T2" y="T3"/>
              </a:cxn>
              <a:cxn ang="0">
                <a:pos x="T4" y="T5"/>
              </a:cxn>
              <a:cxn ang="0">
                <a:pos x="T6" y="T7"/>
              </a:cxn>
              <a:cxn ang="0">
                <a:pos x="T8" y="T9"/>
              </a:cxn>
            </a:cxnLst>
            <a:rect l="0" t="0" r="r" b="b"/>
            <a:pathLst>
              <a:path w="2355" h="2355">
                <a:moveTo>
                  <a:pt x="2354" y="1177"/>
                </a:moveTo>
                <a:cubicBezTo>
                  <a:pt x="2354" y="1827"/>
                  <a:pt x="1827" y="2354"/>
                  <a:pt x="1177" y="2354"/>
                </a:cubicBezTo>
                <a:cubicBezTo>
                  <a:pt x="527" y="2354"/>
                  <a:pt x="0" y="1827"/>
                  <a:pt x="0" y="1177"/>
                </a:cubicBezTo>
                <a:cubicBezTo>
                  <a:pt x="0" y="527"/>
                  <a:pt x="527" y="0"/>
                  <a:pt x="1177" y="0"/>
                </a:cubicBezTo>
                <a:cubicBezTo>
                  <a:pt x="1827" y="0"/>
                  <a:pt x="2354" y="527"/>
                  <a:pt x="2354" y="1177"/>
                </a:cubicBezTo>
              </a:path>
            </a:pathLst>
          </a:custGeom>
          <a:solidFill>
            <a:schemeClr val="accent2"/>
          </a:solidFill>
          <a:ln>
            <a:noFill/>
          </a:ln>
          <a:effectLst/>
        </p:spPr>
        <p:txBody>
          <a:bodyPr wrap="none" anchor="ctr"/>
          <a:lstStyle/>
          <a:p>
            <a:endParaRPr lang="en-US" sz="900">
              <a:latin typeface="+mj-lt"/>
            </a:endParaRPr>
          </a:p>
        </p:txBody>
      </p:sp>
      <p:sp>
        <p:nvSpPr>
          <p:cNvPr id="6" name="Freeform 5">
            <a:extLst>
              <a:ext uri="{FF2B5EF4-FFF2-40B4-BE49-F238E27FC236}">
                <a16:creationId xmlns:a16="http://schemas.microsoft.com/office/drawing/2014/main" id="{2D2DC5CD-2AA0-153C-D9FD-04E104298DA7}"/>
              </a:ext>
            </a:extLst>
          </p:cNvPr>
          <p:cNvSpPr>
            <a:spLocks noChangeArrowheads="1"/>
          </p:cNvSpPr>
          <p:nvPr userDrawn="1"/>
        </p:nvSpPr>
        <p:spPr bwMode="auto">
          <a:xfrm>
            <a:off x="6642548" y="2436197"/>
            <a:ext cx="1466614" cy="1466614"/>
          </a:xfrm>
          <a:custGeom>
            <a:avLst/>
            <a:gdLst>
              <a:gd name="T0" fmla="*/ 2353 w 2354"/>
              <a:gd name="T1" fmla="*/ 1178 h 2355"/>
              <a:gd name="T2" fmla="*/ 1176 w 2354"/>
              <a:gd name="T3" fmla="*/ 2354 h 2355"/>
              <a:gd name="T4" fmla="*/ 0 w 2354"/>
              <a:gd name="T5" fmla="*/ 1178 h 2355"/>
              <a:gd name="T6" fmla="*/ 1176 w 2354"/>
              <a:gd name="T7" fmla="*/ 0 h 2355"/>
              <a:gd name="T8" fmla="*/ 2353 w 2354"/>
              <a:gd name="T9" fmla="*/ 1178 h 2355"/>
            </a:gdLst>
            <a:ahLst/>
            <a:cxnLst>
              <a:cxn ang="0">
                <a:pos x="T0" y="T1"/>
              </a:cxn>
              <a:cxn ang="0">
                <a:pos x="T2" y="T3"/>
              </a:cxn>
              <a:cxn ang="0">
                <a:pos x="T4" y="T5"/>
              </a:cxn>
              <a:cxn ang="0">
                <a:pos x="T6" y="T7"/>
              </a:cxn>
              <a:cxn ang="0">
                <a:pos x="T8" y="T9"/>
              </a:cxn>
            </a:cxnLst>
            <a:rect l="0" t="0" r="r" b="b"/>
            <a:pathLst>
              <a:path w="2354" h="2355">
                <a:moveTo>
                  <a:pt x="2353" y="1178"/>
                </a:moveTo>
                <a:cubicBezTo>
                  <a:pt x="2353" y="1827"/>
                  <a:pt x="1826" y="2354"/>
                  <a:pt x="1176" y="2354"/>
                </a:cubicBezTo>
                <a:cubicBezTo>
                  <a:pt x="526" y="2354"/>
                  <a:pt x="0" y="1827"/>
                  <a:pt x="0" y="1178"/>
                </a:cubicBezTo>
                <a:cubicBezTo>
                  <a:pt x="0" y="527"/>
                  <a:pt x="526" y="0"/>
                  <a:pt x="1176" y="0"/>
                </a:cubicBezTo>
                <a:cubicBezTo>
                  <a:pt x="1826" y="0"/>
                  <a:pt x="2353" y="527"/>
                  <a:pt x="2353" y="1178"/>
                </a:cubicBezTo>
              </a:path>
            </a:pathLst>
          </a:custGeom>
          <a:solidFill>
            <a:schemeClr val="accent3"/>
          </a:solidFill>
          <a:ln>
            <a:noFill/>
          </a:ln>
          <a:effectLst/>
        </p:spPr>
        <p:txBody>
          <a:bodyPr wrap="none" anchor="ctr"/>
          <a:lstStyle/>
          <a:p>
            <a:endParaRPr lang="en-US" sz="900">
              <a:latin typeface="+mj-lt"/>
            </a:endParaRPr>
          </a:p>
        </p:txBody>
      </p:sp>
      <p:sp>
        <p:nvSpPr>
          <p:cNvPr id="7" name="Freeform 6">
            <a:extLst>
              <a:ext uri="{FF2B5EF4-FFF2-40B4-BE49-F238E27FC236}">
                <a16:creationId xmlns:a16="http://schemas.microsoft.com/office/drawing/2014/main" id="{9071905E-F6B5-51A9-66AA-CF503DE00939}"/>
              </a:ext>
            </a:extLst>
          </p:cNvPr>
          <p:cNvSpPr>
            <a:spLocks noChangeArrowheads="1"/>
          </p:cNvSpPr>
          <p:nvPr userDrawn="1"/>
        </p:nvSpPr>
        <p:spPr bwMode="auto">
          <a:xfrm>
            <a:off x="9194016" y="1329370"/>
            <a:ext cx="1466614" cy="1466614"/>
          </a:xfrm>
          <a:custGeom>
            <a:avLst/>
            <a:gdLst>
              <a:gd name="T0" fmla="*/ 2354 w 2355"/>
              <a:gd name="T1" fmla="*/ 1177 h 2355"/>
              <a:gd name="T2" fmla="*/ 1177 w 2355"/>
              <a:gd name="T3" fmla="*/ 2354 h 2355"/>
              <a:gd name="T4" fmla="*/ 0 w 2355"/>
              <a:gd name="T5" fmla="*/ 1177 h 2355"/>
              <a:gd name="T6" fmla="*/ 1177 w 2355"/>
              <a:gd name="T7" fmla="*/ 0 h 2355"/>
              <a:gd name="T8" fmla="*/ 2354 w 2355"/>
              <a:gd name="T9" fmla="*/ 1177 h 2355"/>
            </a:gdLst>
            <a:ahLst/>
            <a:cxnLst>
              <a:cxn ang="0">
                <a:pos x="T0" y="T1"/>
              </a:cxn>
              <a:cxn ang="0">
                <a:pos x="T2" y="T3"/>
              </a:cxn>
              <a:cxn ang="0">
                <a:pos x="T4" y="T5"/>
              </a:cxn>
              <a:cxn ang="0">
                <a:pos x="T6" y="T7"/>
              </a:cxn>
              <a:cxn ang="0">
                <a:pos x="T8" y="T9"/>
              </a:cxn>
            </a:cxnLst>
            <a:rect l="0" t="0" r="r" b="b"/>
            <a:pathLst>
              <a:path w="2355" h="2355">
                <a:moveTo>
                  <a:pt x="2354" y="1177"/>
                </a:moveTo>
                <a:cubicBezTo>
                  <a:pt x="2354" y="1826"/>
                  <a:pt x="1827" y="2354"/>
                  <a:pt x="1177" y="2354"/>
                </a:cubicBezTo>
                <a:cubicBezTo>
                  <a:pt x="527" y="2354"/>
                  <a:pt x="0" y="1826"/>
                  <a:pt x="0" y="1177"/>
                </a:cubicBezTo>
                <a:cubicBezTo>
                  <a:pt x="0" y="527"/>
                  <a:pt x="527" y="0"/>
                  <a:pt x="1177" y="0"/>
                </a:cubicBezTo>
                <a:cubicBezTo>
                  <a:pt x="1827" y="0"/>
                  <a:pt x="2354" y="527"/>
                  <a:pt x="2354" y="1177"/>
                </a:cubicBezTo>
              </a:path>
            </a:pathLst>
          </a:custGeom>
          <a:solidFill>
            <a:schemeClr val="accent4"/>
          </a:solidFill>
          <a:ln>
            <a:noFill/>
          </a:ln>
          <a:effectLst/>
        </p:spPr>
        <p:txBody>
          <a:bodyPr wrap="none" anchor="ctr"/>
          <a:lstStyle/>
          <a:p>
            <a:endParaRPr lang="en-US" sz="900">
              <a:latin typeface="+mj-lt"/>
            </a:endParaRPr>
          </a:p>
        </p:txBody>
      </p:sp>
      <p:sp>
        <p:nvSpPr>
          <p:cNvPr id="8" name="Freeform 7">
            <a:extLst>
              <a:ext uri="{FF2B5EF4-FFF2-40B4-BE49-F238E27FC236}">
                <a16:creationId xmlns:a16="http://schemas.microsoft.com/office/drawing/2014/main" id="{0E0CD08F-BB2A-4098-1AC7-4BF0AF8EE624}"/>
              </a:ext>
            </a:extLst>
          </p:cNvPr>
          <p:cNvSpPr>
            <a:spLocks noChangeArrowheads="1"/>
          </p:cNvSpPr>
          <p:nvPr userDrawn="1"/>
        </p:nvSpPr>
        <p:spPr bwMode="auto">
          <a:xfrm>
            <a:off x="1897492" y="5028863"/>
            <a:ext cx="1104080" cy="1087601"/>
          </a:xfrm>
          <a:custGeom>
            <a:avLst/>
            <a:gdLst>
              <a:gd name="T0" fmla="*/ 1773 w 1774"/>
              <a:gd name="T1" fmla="*/ 539 h 1746"/>
              <a:gd name="T2" fmla="*/ 1234 w 1774"/>
              <a:gd name="T3" fmla="*/ 0 h 1746"/>
              <a:gd name="T4" fmla="*/ 1450 w 1774"/>
              <a:gd name="T5" fmla="*/ 567 h 1746"/>
              <a:gd name="T6" fmla="*/ 597 w 1774"/>
              <a:gd name="T7" fmla="*/ 1421 h 1746"/>
              <a:gd name="T8" fmla="*/ 0 w 1774"/>
              <a:gd name="T9" fmla="*/ 1177 h 1746"/>
              <a:gd name="T10" fmla="*/ 567 w 1774"/>
              <a:gd name="T11" fmla="*/ 1744 h 1746"/>
              <a:gd name="T12" fmla="*/ 597 w 1774"/>
              <a:gd name="T13" fmla="*/ 1745 h 1746"/>
              <a:gd name="T14" fmla="*/ 1773 w 1774"/>
              <a:gd name="T15" fmla="*/ 567 h 1746"/>
              <a:gd name="T16" fmla="*/ 1773 w 1774"/>
              <a:gd name="T17" fmla="*/ 539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4" h="1746">
                <a:moveTo>
                  <a:pt x="1773" y="539"/>
                </a:moveTo>
                <a:lnTo>
                  <a:pt x="1234" y="0"/>
                </a:lnTo>
                <a:cubicBezTo>
                  <a:pt x="1368" y="151"/>
                  <a:pt x="1450" y="350"/>
                  <a:pt x="1450" y="567"/>
                </a:cubicBezTo>
                <a:cubicBezTo>
                  <a:pt x="1450" y="1039"/>
                  <a:pt x="1068" y="1421"/>
                  <a:pt x="597" y="1421"/>
                </a:cubicBezTo>
                <a:cubicBezTo>
                  <a:pt x="364" y="1421"/>
                  <a:pt x="153" y="1327"/>
                  <a:pt x="0" y="1177"/>
                </a:cubicBezTo>
                <a:lnTo>
                  <a:pt x="567" y="1744"/>
                </a:lnTo>
                <a:cubicBezTo>
                  <a:pt x="576" y="1744"/>
                  <a:pt x="586" y="1745"/>
                  <a:pt x="597" y="1745"/>
                </a:cubicBezTo>
                <a:cubicBezTo>
                  <a:pt x="1246" y="1745"/>
                  <a:pt x="1773" y="1217"/>
                  <a:pt x="1773" y="567"/>
                </a:cubicBezTo>
                <a:cubicBezTo>
                  <a:pt x="1773" y="558"/>
                  <a:pt x="1773" y="549"/>
                  <a:pt x="1773" y="539"/>
                </a:cubicBezTo>
              </a:path>
            </a:pathLst>
          </a:custGeom>
          <a:solidFill>
            <a:schemeClr val="accent1"/>
          </a:solidFill>
          <a:ln>
            <a:noFill/>
          </a:ln>
          <a:effectLst/>
        </p:spPr>
        <p:txBody>
          <a:bodyPr wrap="none" anchor="ctr"/>
          <a:lstStyle/>
          <a:p>
            <a:endParaRPr lang="en-US" sz="900">
              <a:latin typeface="+mj-lt"/>
            </a:endParaRPr>
          </a:p>
        </p:txBody>
      </p:sp>
      <p:sp>
        <p:nvSpPr>
          <p:cNvPr id="9" name="Freeform 8">
            <a:extLst>
              <a:ext uri="{FF2B5EF4-FFF2-40B4-BE49-F238E27FC236}">
                <a16:creationId xmlns:a16="http://schemas.microsoft.com/office/drawing/2014/main" id="{7BD052C1-6D4E-526B-047E-2507AF9CBC20}"/>
              </a:ext>
            </a:extLst>
          </p:cNvPr>
          <p:cNvSpPr>
            <a:spLocks noChangeArrowheads="1"/>
          </p:cNvSpPr>
          <p:nvPr userDrawn="1"/>
        </p:nvSpPr>
        <p:spPr bwMode="auto">
          <a:xfrm>
            <a:off x="4448961" y="3922035"/>
            <a:ext cx="1106826" cy="1087601"/>
          </a:xfrm>
          <a:custGeom>
            <a:avLst/>
            <a:gdLst>
              <a:gd name="T0" fmla="*/ 1773 w 1775"/>
              <a:gd name="T1" fmla="*/ 539 h 1745"/>
              <a:gd name="T2" fmla="*/ 1235 w 1775"/>
              <a:gd name="T3" fmla="*/ 0 h 1745"/>
              <a:gd name="T4" fmla="*/ 1450 w 1775"/>
              <a:gd name="T5" fmla="*/ 567 h 1745"/>
              <a:gd name="T6" fmla="*/ 597 w 1775"/>
              <a:gd name="T7" fmla="*/ 1420 h 1745"/>
              <a:gd name="T8" fmla="*/ 0 w 1775"/>
              <a:gd name="T9" fmla="*/ 1176 h 1745"/>
              <a:gd name="T10" fmla="*/ 567 w 1775"/>
              <a:gd name="T11" fmla="*/ 1743 h 1745"/>
              <a:gd name="T12" fmla="*/ 597 w 1775"/>
              <a:gd name="T13" fmla="*/ 1744 h 1745"/>
              <a:gd name="T14" fmla="*/ 1774 w 1775"/>
              <a:gd name="T15" fmla="*/ 567 h 1745"/>
              <a:gd name="T16" fmla="*/ 1773 w 1775"/>
              <a:gd name="T17" fmla="*/ 53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5" h="1745">
                <a:moveTo>
                  <a:pt x="1773" y="539"/>
                </a:moveTo>
                <a:lnTo>
                  <a:pt x="1235" y="0"/>
                </a:lnTo>
                <a:cubicBezTo>
                  <a:pt x="1368" y="151"/>
                  <a:pt x="1450" y="350"/>
                  <a:pt x="1450" y="567"/>
                </a:cubicBezTo>
                <a:cubicBezTo>
                  <a:pt x="1450" y="1038"/>
                  <a:pt x="1068" y="1420"/>
                  <a:pt x="597" y="1420"/>
                </a:cubicBezTo>
                <a:cubicBezTo>
                  <a:pt x="364" y="1420"/>
                  <a:pt x="154" y="1327"/>
                  <a:pt x="0" y="1176"/>
                </a:cubicBezTo>
                <a:lnTo>
                  <a:pt x="567" y="1743"/>
                </a:lnTo>
                <a:cubicBezTo>
                  <a:pt x="577" y="1743"/>
                  <a:pt x="587" y="1744"/>
                  <a:pt x="597" y="1744"/>
                </a:cubicBezTo>
                <a:cubicBezTo>
                  <a:pt x="1247" y="1744"/>
                  <a:pt x="1774" y="1217"/>
                  <a:pt x="1774" y="567"/>
                </a:cubicBezTo>
                <a:cubicBezTo>
                  <a:pt x="1774" y="557"/>
                  <a:pt x="1773" y="548"/>
                  <a:pt x="1773" y="539"/>
                </a:cubicBezTo>
              </a:path>
            </a:pathLst>
          </a:custGeom>
          <a:solidFill>
            <a:schemeClr val="accent2"/>
          </a:solidFill>
          <a:ln>
            <a:noFill/>
          </a:ln>
          <a:effectLst/>
        </p:spPr>
        <p:txBody>
          <a:bodyPr wrap="none" anchor="ctr"/>
          <a:lstStyle/>
          <a:p>
            <a:endParaRPr lang="en-US" sz="900">
              <a:latin typeface="+mj-lt"/>
            </a:endParaRPr>
          </a:p>
        </p:txBody>
      </p:sp>
      <p:sp>
        <p:nvSpPr>
          <p:cNvPr id="10" name="Freeform 9">
            <a:extLst>
              <a:ext uri="{FF2B5EF4-FFF2-40B4-BE49-F238E27FC236}">
                <a16:creationId xmlns:a16="http://schemas.microsoft.com/office/drawing/2014/main" id="{4EFA2E66-953E-EA1A-FCC2-E419559BD262}"/>
              </a:ext>
            </a:extLst>
          </p:cNvPr>
          <p:cNvSpPr>
            <a:spLocks noChangeArrowheads="1"/>
          </p:cNvSpPr>
          <p:nvPr userDrawn="1"/>
        </p:nvSpPr>
        <p:spPr bwMode="auto">
          <a:xfrm>
            <a:off x="7003177" y="2815210"/>
            <a:ext cx="1104080" cy="1084854"/>
          </a:xfrm>
          <a:custGeom>
            <a:avLst/>
            <a:gdLst>
              <a:gd name="T0" fmla="*/ 1773 w 1774"/>
              <a:gd name="T1" fmla="*/ 539 h 1744"/>
              <a:gd name="T2" fmla="*/ 1234 w 1774"/>
              <a:gd name="T3" fmla="*/ 0 h 1744"/>
              <a:gd name="T4" fmla="*/ 1449 w 1774"/>
              <a:gd name="T5" fmla="*/ 567 h 1744"/>
              <a:gd name="T6" fmla="*/ 596 w 1774"/>
              <a:gd name="T7" fmla="*/ 1420 h 1744"/>
              <a:gd name="T8" fmla="*/ 0 w 1774"/>
              <a:gd name="T9" fmla="*/ 1176 h 1744"/>
              <a:gd name="T10" fmla="*/ 566 w 1774"/>
              <a:gd name="T11" fmla="*/ 1743 h 1744"/>
              <a:gd name="T12" fmla="*/ 596 w 1774"/>
              <a:gd name="T13" fmla="*/ 1743 h 1744"/>
              <a:gd name="T14" fmla="*/ 1773 w 1774"/>
              <a:gd name="T15" fmla="*/ 567 h 1744"/>
              <a:gd name="T16" fmla="*/ 1773 w 1774"/>
              <a:gd name="T17" fmla="*/ 539 h 1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4" h="1744">
                <a:moveTo>
                  <a:pt x="1773" y="539"/>
                </a:moveTo>
                <a:lnTo>
                  <a:pt x="1234" y="0"/>
                </a:lnTo>
                <a:cubicBezTo>
                  <a:pt x="1368" y="150"/>
                  <a:pt x="1449" y="349"/>
                  <a:pt x="1449" y="567"/>
                </a:cubicBezTo>
                <a:cubicBezTo>
                  <a:pt x="1449" y="1037"/>
                  <a:pt x="1068" y="1420"/>
                  <a:pt x="596" y="1420"/>
                </a:cubicBezTo>
                <a:cubicBezTo>
                  <a:pt x="364" y="1420"/>
                  <a:pt x="153" y="1327"/>
                  <a:pt x="0" y="1176"/>
                </a:cubicBezTo>
                <a:lnTo>
                  <a:pt x="566" y="1743"/>
                </a:lnTo>
                <a:cubicBezTo>
                  <a:pt x="576" y="1743"/>
                  <a:pt x="587" y="1743"/>
                  <a:pt x="596" y="1743"/>
                </a:cubicBezTo>
                <a:cubicBezTo>
                  <a:pt x="1246" y="1743"/>
                  <a:pt x="1773" y="1216"/>
                  <a:pt x="1773" y="567"/>
                </a:cubicBezTo>
                <a:cubicBezTo>
                  <a:pt x="1773" y="557"/>
                  <a:pt x="1773" y="548"/>
                  <a:pt x="1773" y="539"/>
                </a:cubicBezTo>
              </a:path>
            </a:pathLst>
          </a:custGeom>
          <a:solidFill>
            <a:schemeClr val="accent3"/>
          </a:solidFill>
          <a:ln>
            <a:noFill/>
          </a:ln>
          <a:effectLst/>
        </p:spPr>
        <p:txBody>
          <a:bodyPr wrap="none" anchor="ctr"/>
          <a:lstStyle/>
          <a:p>
            <a:endParaRPr lang="en-US" sz="900">
              <a:latin typeface="+mj-lt"/>
            </a:endParaRPr>
          </a:p>
        </p:txBody>
      </p:sp>
      <p:sp>
        <p:nvSpPr>
          <p:cNvPr id="11" name="Freeform 10">
            <a:extLst>
              <a:ext uri="{FF2B5EF4-FFF2-40B4-BE49-F238E27FC236}">
                <a16:creationId xmlns:a16="http://schemas.microsoft.com/office/drawing/2014/main" id="{A3C2F531-2489-F004-F929-AF5FF8C20B33}"/>
              </a:ext>
            </a:extLst>
          </p:cNvPr>
          <p:cNvSpPr>
            <a:spLocks noChangeArrowheads="1"/>
          </p:cNvSpPr>
          <p:nvPr userDrawn="1"/>
        </p:nvSpPr>
        <p:spPr bwMode="auto">
          <a:xfrm>
            <a:off x="9554645" y="1708383"/>
            <a:ext cx="1106828" cy="1087601"/>
          </a:xfrm>
          <a:custGeom>
            <a:avLst/>
            <a:gdLst>
              <a:gd name="T0" fmla="*/ 1773 w 1775"/>
              <a:gd name="T1" fmla="*/ 539 h 1745"/>
              <a:gd name="T2" fmla="*/ 1234 w 1775"/>
              <a:gd name="T3" fmla="*/ 0 h 1745"/>
              <a:gd name="T4" fmla="*/ 1450 w 1775"/>
              <a:gd name="T5" fmla="*/ 567 h 1745"/>
              <a:gd name="T6" fmla="*/ 597 w 1775"/>
              <a:gd name="T7" fmla="*/ 1420 h 1745"/>
              <a:gd name="T8" fmla="*/ 0 w 1775"/>
              <a:gd name="T9" fmla="*/ 1176 h 1745"/>
              <a:gd name="T10" fmla="*/ 566 w 1775"/>
              <a:gd name="T11" fmla="*/ 1743 h 1745"/>
              <a:gd name="T12" fmla="*/ 597 w 1775"/>
              <a:gd name="T13" fmla="*/ 1744 h 1745"/>
              <a:gd name="T14" fmla="*/ 1774 w 1775"/>
              <a:gd name="T15" fmla="*/ 567 h 1745"/>
              <a:gd name="T16" fmla="*/ 1773 w 1775"/>
              <a:gd name="T17" fmla="*/ 53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5" h="1745">
                <a:moveTo>
                  <a:pt x="1773" y="539"/>
                </a:moveTo>
                <a:lnTo>
                  <a:pt x="1234" y="0"/>
                </a:lnTo>
                <a:cubicBezTo>
                  <a:pt x="1369" y="151"/>
                  <a:pt x="1450" y="349"/>
                  <a:pt x="1450" y="567"/>
                </a:cubicBezTo>
                <a:cubicBezTo>
                  <a:pt x="1450" y="1038"/>
                  <a:pt x="1068" y="1420"/>
                  <a:pt x="597" y="1420"/>
                </a:cubicBezTo>
                <a:cubicBezTo>
                  <a:pt x="364" y="1420"/>
                  <a:pt x="154" y="1327"/>
                  <a:pt x="0" y="1176"/>
                </a:cubicBezTo>
                <a:lnTo>
                  <a:pt x="566" y="1743"/>
                </a:lnTo>
                <a:cubicBezTo>
                  <a:pt x="577" y="1744"/>
                  <a:pt x="587" y="1744"/>
                  <a:pt x="597" y="1744"/>
                </a:cubicBezTo>
                <a:cubicBezTo>
                  <a:pt x="1247" y="1744"/>
                  <a:pt x="1774" y="1216"/>
                  <a:pt x="1774" y="567"/>
                </a:cubicBezTo>
                <a:cubicBezTo>
                  <a:pt x="1774" y="557"/>
                  <a:pt x="1773" y="548"/>
                  <a:pt x="1773" y="539"/>
                </a:cubicBezTo>
              </a:path>
            </a:pathLst>
          </a:custGeom>
          <a:solidFill>
            <a:schemeClr val="accent4"/>
          </a:solidFill>
          <a:ln>
            <a:noFill/>
          </a:ln>
          <a:effectLst/>
        </p:spPr>
        <p:txBody>
          <a:bodyPr wrap="none" anchor="ctr"/>
          <a:lstStyle/>
          <a:p>
            <a:endParaRPr lang="en-US" sz="900">
              <a:latin typeface="+mj-lt"/>
            </a:endParaRPr>
          </a:p>
        </p:txBody>
      </p:sp>
      <p:sp>
        <p:nvSpPr>
          <p:cNvPr id="12" name="Freeform 369">
            <a:extLst>
              <a:ext uri="{FF2B5EF4-FFF2-40B4-BE49-F238E27FC236}">
                <a16:creationId xmlns:a16="http://schemas.microsoft.com/office/drawing/2014/main" id="{D96FA4D2-0DD8-E641-CC56-B581C51A911B}"/>
              </a:ext>
            </a:extLst>
          </p:cNvPr>
          <p:cNvSpPr>
            <a:spLocks noChangeArrowheads="1"/>
          </p:cNvSpPr>
          <p:nvPr userDrawn="1"/>
        </p:nvSpPr>
        <p:spPr bwMode="auto">
          <a:xfrm>
            <a:off x="1896665" y="5030577"/>
            <a:ext cx="1104080" cy="1087601"/>
          </a:xfrm>
          <a:custGeom>
            <a:avLst/>
            <a:gdLst>
              <a:gd name="T0" fmla="*/ 1773 w 1774"/>
              <a:gd name="T1" fmla="*/ 539 h 1746"/>
              <a:gd name="T2" fmla="*/ 1234 w 1774"/>
              <a:gd name="T3" fmla="*/ 0 h 1746"/>
              <a:gd name="T4" fmla="*/ 1450 w 1774"/>
              <a:gd name="T5" fmla="*/ 567 h 1746"/>
              <a:gd name="T6" fmla="*/ 597 w 1774"/>
              <a:gd name="T7" fmla="*/ 1421 h 1746"/>
              <a:gd name="T8" fmla="*/ 0 w 1774"/>
              <a:gd name="T9" fmla="*/ 1177 h 1746"/>
              <a:gd name="T10" fmla="*/ 567 w 1774"/>
              <a:gd name="T11" fmla="*/ 1744 h 1746"/>
              <a:gd name="T12" fmla="*/ 597 w 1774"/>
              <a:gd name="T13" fmla="*/ 1745 h 1746"/>
              <a:gd name="T14" fmla="*/ 1773 w 1774"/>
              <a:gd name="T15" fmla="*/ 567 h 1746"/>
              <a:gd name="T16" fmla="*/ 1773 w 1774"/>
              <a:gd name="T17" fmla="*/ 539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4" h="1746">
                <a:moveTo>
                  <a:pt x="1773" y="539"/>
                </a:moveTo>
                <a:lnTo>
                  <a:pt x="1234" y="0"/>
                </a:lnTo>
                <a:cubicBezTo>
                  <a:pt x="1368" y="151"/>
                  <a:pt x="1450" y="350"/>
                  <a:pt x="1450" y="567"/>
                </a:cubicBezTo>
                <a:cubicBezTo>
                  <a:pt x="1450" y="1039"/>
                  <a:pt x="1068" y="1421"/>
                  <a:pt x="597" y="1421"/>
                </a:cubicBezTo>
                <a:cubicBezTo>
                  <a:pt x="364" y="1421"/>
                  <a:pt x="153" y="1327"/>
                  <a:pt x="0" y="1177"/>
                </a:cubicBezTo>
                <a:lnTo>
                  <a:pt x="567" y="1744"/>
                </a:lnTo>
                <a:cubicBezTo>
                  <a:pt x="576" y="1744"/>
                  <a:pt x="586" y="1745"/>
                  <a:pt x="597" y="1745"/>
                </a:cubicBezTo>
                <a:cubicBezTo>
                  <a:pt x="1246" y="1745"/>
                  <a:pt x="1773" y="1217"/>
                  <a:pt x="1773" y="567"/>
                </a:cubicBezTo>
                <a:cubicBezTo>
                  <a:pt x="1773" y="558"/>
                  <a:pt x="1773" y="549"/>
                  <a:pt x="1773" y="539"/>
                </a:cubicBezTo>
              </a:path>
            </a:pathLst>
          </a:custGeom>
          <a:solidFill>
            <a:srgbClr val="000000">
              <a:alpha val="25098"/>
            </a:srgbClr>
          </a:solidFill>
          <a:ln>
            <a:noFill/>
          </a:ln>
          <a:effectLst/>
        </p:spPr>
        <p:txBody>
          <a:bodyPr wrap="none" anchor="ctr"/>
          <a:lstStyle/>
          <a:p>
            <a:endParaRPr lang="en-US" sz="900">
              <a:latin typeface="+mj-lt"/>
            </a:endParaRPr>
          </a:p>
        </p:txBody>
      </p:sp>
      <p:sp>
        <p:nvSpPr>
          <p:cNvPr id="13" name="Freeform 371">
            <a:extLst>
              <a:ext uri="{FF2B5EF4-FFF2-40B4-BE49-F238E27FC236}">
                <a16:creationId xmlns:a16="http://schemas.microsoft.com/office/drawing/2014/main" id="{D19AB630-9613-AE75-4648-8D17D20999C4}"/>
              </a:ext>
            </a:extLst>
          </p:cNvPr>
          <p:cNvSpPr>
            <a:spLocks noChangeArrowheads="1"/>
          </p:cNvSpPr>
          <p:nvPr userDrawn="1"/>
        </p:nvSpPr>
        <p:spPr bwMode="auto">
          <a:xfrm>
            <a:off x="4448135" y="3923750"/>
            <a:ext cx="1106826" cy="1087601"/>
          </a:xfrm>
          <a:custGeom>
            <a:avLst/>
            <a:gdLst>
              <a:gd name="T0" fmla="*/ 1773 w 1775"/>
              <a:gd name="T1" fmla="*/ 539 h 1745"/>
              <a:gd name="T2" fmla="*/ 1235 w 1775"/>
              <a:gd name="T3" fmla="*/ 0 h 1745"/>
              <a:gd name="T4" fmla="*/ 1450 w 1775"/>
              <a:gd name="T5" fmla="*/ 567 h 1745"/>
              <a:gd name="T6" fmla="*/ 597 w 1775"/>
              <a:gd name="T7" fmla="*/ 1420 h 1745"/>
              <a:gd name="T8" fmla="*/ 0 w 1775"/>
              <a:gd name="T9" fmla="*/ 1176 h 1745"/>
              <a:gd name="T10" fmla="*/ 567 w 1775"/>
              <a:gd name="T11" fmla="*/ 1743 h 1745"/>
              <a:gd name="T12" fmla="*/ 597 w 1775"/>
              <a:gd name="T13" fmla="*/ 1744 h 1745"/>
              <a:gd name="T14" fmla="*/ 1774 w 1775"/>
              <a:gd name="T15" fmla="*/ 567 h 1745"/>
              <a:gd name="T16" fmla="*/ 1773 w 1775"/>
              <a:gd name="T17" fmla="*/ 53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5" h="1745">
                <a:moveTo>
                  <a:pt x="1773" y="539"/>
                </a:moveTo>
                <a:lnTo>
                  <a:pt x="1235" y="0"/>
                </a:lnTo>
                <a:cubicBezTo>
                  <a:pt x="1368" y="151"/>
                  <a:pt x="1450" y="350"/>
                  <a:pt x="1450" y="567"/>
                </a:cubicBezTo>
                <a:cubicBezTo>
                  <a:pt x="1450" y="1038"/>
                  <a:pt x="1068" y="1420"/>
                  <a:pt x="597" y="1420"/>
                </a:cubicBezTo>
                <a:cubicBezTo>
                  <a:pt x="364" y="1420"/>
                  <a:pt x="154" y="1327"/>
                  <a:pt x="0" y="1176"/>
                </a:cubicBezTo>
                <a:lnTo>
                  <a:pt x="567" y="1743"/>
                </a:lnTo>
                <a:cubicBezTo>
                  <a:pt x="577" y="1743"/>
                  <a:pt x="587" y="1744"/>
                  <a:pt x="597" y="1744"/>
                </a:cubicBezTo>
                <a:cubicBezTo>
                  <a:pt x="1247" y="1744"/>
                  <a:pt x="1774" y="1217"/>
                  <a:pt x="1774" y="567"/>
                </a:cubicBezTo>
                <a:cubicBezTo>
                  <a:pt x="1774" y="557"/>
                  <a:pt x="1773" y="548"/>
                  <a:pt x="1773" y="539"/>
                </a:cubicBezTo>
              </a:path>
            </a:pathLst>
          </a:custGeom>
          <a:solidFill>
            <a:srgbClr val="000000">
              <a:alpha val="25098"/>
            </a:srgbClr>
          </a:solidFill>
          <a:ln>
            <a:noFill/>
          </a:ln>
          <a:effectLst/>
        </p:spPr>
        <p:txBody>
          <a:bodyPr wrap="none" anchor="ctr"/>
          <a:lstStyle/>
          <a:p>
            <a:endParaRPr lang="en-US" sz="900">
              <a:latin typeface="+mj-lt"/>
            </a:endParaRPr>
          </a:p>
        </p:txBody>
      </p:sp>
      <p:sp>
        <p:nvSpPr>
          <p:cNvPr id="14" name="Freeform 373">
            <a:extLst>
              <a:ext uri="{FF2B5EF4-FFF2-40B4-BE49-F238E27FC236}">
                <a16:creationId xmlns:a16="http://schemas.microsoft.com/office/drawing/2014/main" id="{48D34033-7BB4-835B-CB8C-C92EC6B217AC}"/>
              </a:ext>
            </a:extLst>
          </p:cNvPr>
          <p:cNvSpPr>
            <a:spLocks noChangeArrowheads="1"/>
          </p:cNvSpPr>
          <p:nvPr userDrawn="1"/>
        </p:nvSpPr>
        <p:spPr bwMode="auto">
          <a:xfrm>
            <a:off x="7002350" y="2816924"/>
            <a:ext cx="1104080" cy="1084854"/>
          </a:xfrm>
          <a:custGeom>
            <a:avLst/>
            <a:gdLst>
              <a:gd name="T0" fmla="*/ 1773 w 1774"/>
              <a:gd name="T1" fmla="*/ 539 h 1744"/>
              <a:gd name="T2" fmla="*/ 1234 w 1774"/>
              <a:gd name="T3" fmla="*/ 0 h 1744"/>
              <a:gd name="T4" fmla="*/ 1449 w 1774"/>
              <a:gd name="T5" fmla="*/ 567 h 1744"/>
              <a:gd name="T6" fmla="*/ 596 w 1774"/>
              <a:gd name="T7" fmla="*/ 1420 h 1744"/>
              <a:gd name="T8" fmla="*/ 0 w 1774"/>
              <a:gd name="T9" fmla="*/ 1176 h 1744"/>
              <a:gd name="T10" fmla="*/ 566 w 1774"/>
              <a:gd name="T11" fmla="*/ 1743 h 1744"/>
              <a:gd name="T12" fmla="*/ 596 w 1774"/>
              <a:gd name="T13" fmla="*/ 1743 h 1744"/>
              <a:gd name="T14" fmla="*/ 1773 w 1774"/>
              <a:gd name="T15" fmla="*/ 567 h 1744"/>
              <a:gd name="T16" fmla="*/ 1773 w 1774"/>
              <a:gd name="T17" fmla="*/ 539 h 1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4" h="1744">
                <a:moveTo>
                  <a:pt x="1773" y="539"/>
                </a:moveTo>
                <a:lnTo>
                  <a:pt x="1234" y="0"/>
                </a:lnTo>
                <a:cubicBezTo>
                  <a:pt x="1368" y="150"/>
                  <a:pt x="1449" y="349"/>
                  <a:pt x="1449" y="567"/>
                </a:cubicBezTo>
                <a:cubicBezTo>
                  <a:pt x="1449" y="1037"/>
                  <a:pt x="1068" y="1420"/>
                  <a:pt x="596" y="1420"/>
                </a:cubicBezTo>
                <a:cubicBezTo>
                  <a:pt x="364" y="1420"/>
                  <a:pt x="153" y="1327"/>
                  <a:pt x="0" y="1176"/>
                </a:cubicBezTo>
                <a:lnTo>
                  <a:pt x="566" y="1743"/>
                </a:lnTo>
                <a:cubicBezTo>
                  <a:pt x="576" y="1743"/>
                  <a:pt x="587" y="1743"/>
                  <a:pt x="596" y="1743"/>
                </a:cubicBezTo>
                <a:cubicBezTo>
                  <a:pt x="1246" y="1743"/>
                  <a:pt x="1773" y="1216"/>
                  <a:pt x="1773" y="567"/>
                </a:cubicBezTo>
                <a:cubicBezTo>
                  <a:pt x="1773" y="557"/>
                  <a:pt x="1773" y="548"/>
                  <a:pt x="1773" y="539"/>
                </a:cubicBezTo>
              </a:path>
            </a:pathLst>
          </a:custGeom>
          <a:solidFill>
            <a:srgbClr val="000000">
              <a:alpha val="25098"/>
            </a:srgbClr>
          </a:solidFill>
          <a:ln>
            <a:noFill/>
          </a:ln>
          <a:effectLst/>
        </p:spPr>
        <p:txBody>
          <a:bodyPr wrap="none" anchor="ctr"/>
          <a:lstStyle/>
          <a:p>
            <a:endParaRPr lang="en-US" sz="900">
              <a:latin typeface="+mj-lt"/>
            </a:endParaRPr>
          </a:p>
        </p:txBody>
      </p:sp>
      <p:sp>
        <p:nvSpPr>
          <p:cNvPr id="15" name="Freeform 375">
            <a:extLst>
              <a:ext uri="{FF2B5EF4-FFF2-40B4-BE49-F238E27FC236}">
                <a16:creationId xmlns:a16="http://schemas.microsoft.com/office/drawing/2014/main" id="{8FE30E8A-787A-0992-B58B-39C9264A080A}"/>
              </a:ext>
            </a:extLst>
          </p:cNvPr>
          <p:cNvSpPr>
            <a:spLocks noChangeArrowheads="1"/>
          </p:cNvSpPr>
          <p:nvPr userDrawn="1"/>
        </p:nvSpPr>
        <p:spPr bwMode="auto">
          <a:xfrm>
            <a:off x="9553818" y="1710097"/>
            <a:ext cx="1106828" cy="1087601"/>
          </a:xfrm>
          <a:custGeom>
            <a:avLst/>
            <a:gdLst>
              <a:gd name="T0" fmla="*/ 1773 w 1775"/>
              <a:gd name="T1" fmla="*/ 539 h 1745"/>
              <a:gd name="T2" fmla="*/ 1234 w 1775"/>
              <a:gd name="T3" fmla="*/ 0 h 1745"/>
              <a:gd name="T4" fmla="*/ 1450 w 1775"/>
              <a:gd name="T5" fmla="*/ 567 h 1745"/>
              <a:gd name="T6" fmla="*/ 597 w 1775"/>
              <a:gd name="T7" fmla="*/ 1420 h 1745"/>
              <a:gd name="T8" fmla="*/ 0 w 1775"/>
              <a:gd name="T9" fmla="*/ 1176 h 1745"/>
              <a:gd name="T10" fmla="*/ 566 w 1775"/>
              <a:gd name="T11" fmla="*/ 1743 h 1745"/>
              <a:gd name="T12" fmla="*/ 597 w 1775"/>
              <a:gd name="T13" fmla="*/ 1744 h 1745"/>
              <a:gd name="T14" fmla="*/ 1774 w 1775"/>
              <a:gd name="T15" fmla="*/ 567 h 1745"/>
              <a:gd name="T16" fmla="*/ 1773 w 1775"/>
              <a:gd name="T17" fmla="*/ 53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5" h="1745">
                <a:moveTo>
                  <a:pt x="1773" y="539"/>
                </a:moveTo>
                <a:lnTo>
                  <a:pt x="1234" y="0"/>
                </a:lnTo>
                <a:cubicBezTo>
                  <a:pt x="1369" y="151"/>
                  <a:pt x="1450" y="349"/>
                  <a:pt x="1450" y="567"/>
                </a:cubicBezTo>
                <a:cubicBezTo>
                  <a:pt x="1450" y="1038"/>
                  <a:pt x="1068" y="1420"/>
                  <a:pt x="597" y="1420"/>
                </a:cubicBezTo>
                <a:cubicBezTo>
                  <a:pt x="364" y="1420"/>
                  <a:pt x="154" y="1327"/>
                  <a:pt x="0" y="1176"/>
                </a:cubicBezTo>
                <a:lnTo>
                  <a:pt x="566" y="1743"/>
                </a:lnTo>
                <a:cubicBezTo>
                  <a:pt x="577" y="1744"/>
                  <a:pt x="587" y="1744"/>
                  <a:pt x="597" y="1744"/>
                </a:cubicBezTo>
                <a:cubicBezTo>
                  <a:pt x="1247" y="1744"/>
                  <a:pt x="1774" y="1216"/>
                  <a:pt x="1774" y="567"/>
                </a:cubicBezTo>
                <a:cubicBezTo>
                  <a:pt x="1774" y="557"/>
                  <a:pt x="1773" y="548"/>
                  <a:pt x="1773" y="539"/>
                </a:cubicBezTo>
              </a:path>
            </a:pathLst>
          </a:custGeom>
          <a:solidFill>
            <a:srgbClr val="000000">
              <a:alpha val="25098"/>
            </a:srgbClr>
          </a:solidFill>
          <a:ln>
            <a:noFill/>
          </a:ln>
          <a:effectLst/>
        </p:spPr>
        <p:txBody>
          <a:bodyPr wrap="none" anchor="ctr"/>
          <a:lstStyle/>
          <a:p>
            <a:endParaRPr lang="en-US" sz="900">
              <a:latin typeface="+mj-lt"/>
            </a:endParaRPr>
          </a:p>
        </p:txBody>
      </p:sp>
      <p:sp>
        <p:nvSpPr>
          <p:cNvPr id="28" name="Title 1">
            <a:extLst>
              <a:ext uri="{FF2B5EF4-FFF2-40B4-BE49-F238E27FC236}">
                <a16:creationId xmlns:a16="http://schemas.microsoft.com/office/drawing/2014/main" id="{77B5FD48-7954-A428-2C0C-13B9AF2244CF}"/>
              </a:ext>
            </a:extLst>
          </p:cNvPr>
          <p:cNvSpPr>
            <a:spLocks noGrp="1"/>
          </p:cNvSpPr>
          <p:nvPr>
            <p:ph type="title"/>
          </p:nvPr>
        </p:nvSpPr>
        <p:spPr>
          <a:xfrm>
            <a:off x="838200" y="276029"/>
            <a:ext cx="10515600" cy="735762"/>
          </a:xfrm>
        </p:spPr>
        <p:txBody>
          <a:bodyPr>
            <a:normAutofit/>
          </a:bodyPr>
          <a:lstStyle>
            <a:lvl1pPr algn="ctr">
              <a:defRPr sz="3200">
                <a:solidFill>
                  <a:srgbClr val="014D63"/>
                </a:solidFill>
              </a:defRPr>
            </a:lvl1pPr>
          </a:lstStyle>
          <a:p>
            <a:r>
              <a:rPr lang="en-US"/>
              <a:t>Click to edit Master title style</a:t>
            </a:r>
          </a:p>
        </p:txBody>
      </p:sp>
      <p:sp>
        <p:nvSpPr>
          <p:cNvPr id="29" name="Text Placeholder 35">
            <a:extLst>
              <a:ext uri="{FF2B5EF4-FFF2-40B4-BE49-F238E27FC236}">
                <a16:creationId xmlns:a16="http://schemas.microsoft.com/office/drawing/2014/main" id="{12F64780-1C9C-A330-0769-E3737B4111B5}"/>
              </a:ext>
            </a:extLst>
          </p:cNvPr>
          <p:cNvSpPr>
            <a:spLocks noGrp="1"/>
          </p:cNvSpPr>
          <p:nvPr>
            <p:ph type="body" sz="quarter" idx="52" hasCustomPrompt="1"/>
          </p:nvPr>
        </p:nvSpPr>
        <p:spPr>
          <a:xfrm>
            <a:off x="5742425" y="4243703"/>
            <a:ext cx="3185180" cy="331694"/>
          </a:xfrm>
        </p:spPr>
        <p:txBody>
          <a:bodyPr anchor="b">
            <a:noAutofit/>
          </a:bodyPr>
          <a:lstStyle>
            <a:lvl1pPr marL="0" indent="0" algn="l">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0" name="Text Placeholder 2">
            <a:extLst>
              <a:ext uri="{FF2B5EF4-FFF2-40B4-BE49-F238E27FC236}">
                <a16:creationId xmlns:a16="http://schemas.microsoft.com/office/drawing/2014/main" id="{88E41746-3A10-6BFA-A76B-44BAD0BA20FD}"/>
              </a:ext>
            </a:extLst>
          </p:cNvPr>
          <p:cNvSpPr>
            <a:spLocks noGrp="1"/>
          </p:cNvSpPr>
          <p:nvPr>
            <p:ph type="body" idx="53" hasCustomPrompt="1"/>
          </p:nvPr>
        </p:nvSpPr>
        <p:spPr>
          <a:xfrm>
            <a:off x="5742425" y="4709072"/>
            <a:ext cx="3185182" cy="530246"/>
          </a:xfrm>
        </p:spPr>
        <p:txBody>
          <a:bodyPr>
            <a:normAutofit/>
          </a:bodyPr>
          <a:lstStyle>
            <a:lvl1pPr marL="0" indent="0" algn="l">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1" name="Text Placeholder 35">
            <a:extLst>
              <a:ext uri="{FF2B5EF4-FFF2-40B4-BE49-F238E27FC236}">
                <a16:creationId xmlns:a16="http://schemas.microsoft.com/office/drawing/2014/main" id="{4E76DC65-6766-E5F1-E6B5-83BD59053FAC}"/>
              </a:ext>
            </a:extLst>
          </p:cNvPr>
          <p:cNvSpPr>
            <a:spLocks noGrp="1"/>
          </p:cNvSpPr>
          <p:nvPr>
            <p:ph type="body" sz="quarter" idx="54" hasCustomPrompt="1"/>
          </p:nvPr>
        </p:nvSpPr>
        <p:spPr>
          <a:xfrm>
            <a:off x="3217886" y="5426460"/>
            <a:ext cx="3185180" cy="331694"/>
          </a:xfrm>
        </p:spPr>
        <p:txBody>
          <a:bodyPr anchor="b">
            <a:noAutofit/>
          </a:bodyPr>
          <a:lstStyle>
            <a:lvl1pPr marL="0" indent="0" algn="l">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2" name="Text Placeholder 2">
            <a:extLst>
              <a:ext uri="{FF2B5EF4-FFF2-40B4-BE49-F238E27FC236}">
                <a16:creationId xmlns:a16="http://schemas.microsoft.com/office/drawing/2014/main" id="{24EC2481-0A99-CB56-72C5-E1374AFF94D5}"/>
              </a:ext>
            </a:extLst>
          </p:cNvPr>
          <p:cNvSpPr>
            <a:spLocks noGrp="1"/>
          </p:cNvSpPr>
          <p:nvPr>
            <p:ph type="body" idx="55" hasCustomPrompt="1"/>
          </p:nvPr>
        </p:nvSpPr>
        <p:spPr>
          <a:xfrm>
            <a:off x="3217886" y="5891829"/>
            <a:ext cx="3185182" cy="530246"/>
          </a:xfrm>
        </p:spPr>
        <p:txBody>
          <a:bodyPr>
            <a:normAutofit/>
          </a:bodyPr>
          <a:lstStyle>
            <a:lvl1pPr marL="0" indent="0" algn="l">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3" name="Text Placeholder 35">
            <a:extLst>
              <a:ext uri="{FF2B5EF4-FFF2-40B4-BE49-F238E27FC236}">
                <a16:creationId xmlns:a16="http://schemas.microsoft.com/office/drawing/2014/main" id="{51DEFF8A-CAEB-374C-8105-98603E770D5C}"/>
              </a:ext>
            </a:extLst>
          </p:cNvPr>
          <p:cNvSpPr>
            <a:spLocks noGrp="1"/>
          </p:cNvSpPr>
          <p:nvPr>
            <p:ph type="body" sz="quarter" idx="56" hasCustomPrompt="1"/>
          </p:nvPr>
        </p:nvSpPr>
        <p:spPr>
          <a:xfrm>
            <a:off x="3089420" y="2414905"/>
            <a:ext cx="3185180" cy="331694"/>
          </a:xfrm>
        </p:spPr>
        <p:txBody>
          <a:bodyPr anchor="b">
            <a:noAutofit/>
          </a:bodyPr>
          <a:lstStyle>
            <a:lvl1pPr marL="0" indent="0" algn="r">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4" name="Text Placeholder 2">
            <a:extLst>
              <a:ext uri="{FF2B5EF4-FFF2-40B4-BE49-F238E27FC236}">
                <a16:creationId xmlns:a16="http://schemas.microsoft.com/office/drawing/2014/main" id="{D0DEDA1D-5F48-462D-AF25-D3C4A35B48D5}"/>
              </a:ext>
            </a:extLst>
          </p:cNvPr>
          <p:cNvSpPr>
            <a:spLocks noGrp="1"/>
          </p:cNvSpPr>
          <p:nvPr>
            <p:ph type="body" idx="57" hasCustomPrompt="1"/>
          </p:nvPr>
        </p:nvSpPr>
        <p:spPr>
          <a:xfrm>
            <a:off x="3089420" y="2880274"/>
            <a:ext cx="3185182" cy="530246"/>
          </a:xfrm>
        </p:spPr>
        <p:txBody>
          <a:bodyPr>
            <a:normAutofit/>
          </a:bodyPr>
          <a:lstStyle>
            <a:lvl1pPr marL="0" indent="0" algn="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5" name="Text Placeholder 35">
            <a:extLst>
              <a:ext uri="{FF2B5EF4-FFF2-40B4-BE49-F238E27FC236}">
                <a16:creationId xmlns:a16="http://schemas.microsoft.com/office/drawing/2014/main" id="{3D49F96B-D965-4649-EB6B-3CD76CE0CD4A}"/>
              </a:ext>
            </a:extLst>
          </p:cNvPr>
          <p:cNvSpPr>
            <a:spLocks noGrp="1"/>
          </p:cNvSpPr>
          <p:nvPr>
            <p:ph type="body" sz="quarter" idx="58" hasCustomPrompt="1"/>
          </p:nvPr>
        </p:nvSpPr>
        <p:spPr>
          <a:xfrm>
            <a:off x="5762304" y="1232148"/>
            <a:ext cx="3185180" cy="331694"/>
          </a:xfrm>
        </p:spPr>
        <p:txBody>
          <a:bodyPr anchor="b">
            <a:noAutofit/>
          </a:bodyPr>
          <a:lstStyle>
            <a:lvl1pPr marL="0" indent="0" algn="r">
              <a:buNone/>
              <a:defRPr sz="1600" b="1">
                <a:solidFill>
                  <a:srgbClr val="014D6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TITLE</a:t>
            </a:r>
          </a:p>
        </p:txBody>
      </p:sp>
      <p:sp>
        <p:nvSpPr>
          <p:cNvPr id="36" name="Text Placeholder 2">
            <a:extLst>
              <a:ext uri="{FF2B5EF4-FFF2-40B4-BE49-F238E27FC236}">
                <a16:creationId xmlns:a16="http://schemas.microsoft.com/office/drawing/2014/main" id="{A4E3DF66-EE4F-C652-24E4-9D11EB1E65CF}"/>
              </a:ext>
            </a:extLst>
          </p:cNvPr>
          <p:cNvSpPr>
            <a:spLocks noGrp="1"/>
          </p:cNvSpPr>
          <p:nvPr>
            <p:ph type="body" idx="59" hasCustomPrompt="1"/>
          </p:nvPr>
        </p:nvSpPr>
        <p:spPr>
          <a:xfrm>
            <a:off x="5762304" y="1697517"/>
            <a:ext cx="3185182" cy="530246"/>
          </a:xfrm>
        </p:spPr>
        <p:txBody>
          <a:bodyPr>
            <a:normAutofit/>
          </a:bodyPr>
          <a:lstStyle>
            <a:lvl1pPr marL="0" indent="0" algn="r">
              <a:lnSpc>
                <a:spcPct val="150000"/>
              </a:lnSpc>
              <a:buNone/>
              <a:defRPr sz="9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Green marketing is a practice where companies seek to go above and beyond traditional.</a:t>
            </a:r>
          </a:p>
        </p:txBody>
      </p:sp>
      <p:sp>
        <p:nvSpPr>
          <p:cNvPr id="37" name="Text Placeholder 41">
            <a:extLst>
              <a:ext uri="{FF2B5EF4-FFF2-40B4-BE49-F238E27FC236}">
                <a16:creationId xmlns:a16="http://schemas.microsoft.com/office/drawing/2014/main" id="{439A018F-2061-60F8-F2AC-782CD1E16E80}"/>
              </a:ext>
            </a:extLst>
          </p:cNvPr>
          <p:cNvSpPr>
            <a:spLocks noGrp="1"/>
          </p:cNvSpPr>
          <p:nvPr>
            <p:ph type="body" sz="quarter" idx="14" hasCustomPrompt="1"/>
          </p:nvPr>
        </p:nvSpPr>
        <p:spPr>
          <a:xfrm>
            <a:off x="1893933" y="5009636"/>
            <a:ext cx="732745" cy="720878"/>
          </a:xfrm>
        </p:spPr>
        <p:txBody>
          <a:bodyPr anchor="ctr">
            <a:noAutofit/>
          </a:bodyPr>
          <a:lstStyle>
            <a:lvl1pPr marL="0" indent="0" algn="ctr">
              <a:buNone/>
              <a:defRPr sz="44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1</a:t>
            </a:r>
          </a:p>
        </p:txBody>
      </p:sp>
      <p:sp>
        <p:nvSpPr>
          <p:cNvPr id="38" name="Text Placeholder 41">
            <a:extLst>
              <a:ext uri="{FF2B5EF4-FFF2-40B4-BE49-F238E27FC236}">
                <a16:creationId xmlns:a16="http://schemas.microsoft.com/office/drawing/2014/main" id="{A163CBEE-1AA7-0442-621F-81F2B6939EE1}"/>
              </a:ext>
            </a:extLst>
          </p:cNvPr>
          <p:cNvSpPr>
            <a:spLocks noGrp="1"/>
          </p:cNvSpPr>
          <p:nvPr>
            <p:ph type="body" sz="quarter" idx="60" hasCustomPrompt="1"/>
          </p:nvPr>
        </p:nvSpPr>
        <p:spPr>
          <a:xfrm>
            <a:off x="4428411" y="3886514"/>
            <a:ext cx="732745" cy="720878"/>
          </a:xfrm>
        </p:spPr>
        <p:txBody>
          <a:bodyPr anchor="ctr">
            <a:noAutofit/>
          </a:bodyPr>
          <a:lstStyle>
            <a:lvl1pPr marL="0" indent="0" algn="ctr">
              <a:buNone/>
              <a:defRPr sz="44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2</a:t>
            </a:r>
          </a:p>
        </p:txBody>
      </p:sp>
      <p:sp>
        <p:nvSpPr>
          <p:cNvPr id="39" name="Text Placeholder 41">
            <a:extLst>
              <a:ext uri="{FF2B5EF4-FFF2-40B4-BE49-F238E27FC236}">
                <a16:creationId xmlns:a16="http://schemas.microsoft.com/office/drawing/2014/main" id="{B1BE2F5E-BF3F-3BD6-C7C0-8639578884F2}"/>
              </a:ext>
            </a:extLst>
          </p:cNvPr>
          <p:cNvSpPr>
            <a:spLocks noGrp="1"/>
          </p:cNvSpPr>
          <p:nvPr>
            <p:ph type="body" sz="quarter" idx="61" hasCustomPrompt="1"/>
          </p:nvPr>
        </p:nvSpPr>
        <p:spPr>
          <a:xfrm>
            <a:off x="6982768" y="2793210"/>
            <a:ext cx="732745" cy="720878"/>
          </a:xfrm>
        </p:spPr>
        <p:txBody>
          <a:bodyPr anchor="ctr">
            <a:noAutofit/>
          </a:bodyPr>
          <a:lstStyle>
            <a:lvl1pPr marL="0" indent="0" algn="ctr">
              <a:buNone/>
              <a:defRPr sz="44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3</a:t>
            </a:r>
          </a:p>
        </p:txBody>
      </p:sp>
      <p:sp>
        <p:nvSpPr>
          <p:cNvPr id="40" name="Text Placeholder 41">
            <a:extLst>
              <a:ext uri="{FF2B5EF4-FFF2-40B4-BE49-F238E27FC236}">
                <a16:creationId xmlns:a16="http://schemas.microsoft.com/office/drawing/2014/main" id="{E267DE2F-6EFD-6F9E-EAB2-EE690ABC1270}"/>
              </a:ext>
            </a:extLst>
          </p:cNvPr>
          <p:cNvSpPr>
            <a:spLocks noGrp="1"/>
          </p:cNvSpPr>
          <p:nvPr>
            <p:ph type="body" sz="quarter" idx="62" hasCustomPrompt="1"/>
          </p:nvPr>
        </p:nvSpPr>
        <p:spPr>
          <a:xfrm>
            <a:off x="9542188" y="1680027"/>
            <a:ext cx="732745" cy="720878"/>
          </a:xfrm>
        </p:spPr>
        <p:txBody>
          <a:bodyPr anchor="ctr">
            <a:noAutofit/>
          </a:bodyPr>
          <a:lstStyle>
            <a:lvl1pPr marL="0" indent="0" algn="ctr">
              <a:buNone/>
              <a:defRPr sz="4400" b="1">
                <a:solidFill>
                  <a:schemeClr val="bg1"/>
                </a:solidFill>
              </a:defRPr>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a:t>4</a:t>
            </a:r>
          </a:p>
        </p:txBody>
      </p:sp>
    </p:spTree>
    <p:extLst>
      <p:ext uri="{BB962C8B-B14F-4D97-AF65-F5344CB8AC3E}">
        <p14:creationId xmlns:p14="http://schemas.microsoft.com/office/powerpoint/2010/main" val="3777561580"/>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825960-9D6E-71CB-A29F-49002C7F6C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9CB7CED-7922-C7FD-8434-58F8DCBB59E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7211029"/>
      </p:ext>
    </p:extLst>
  </p:cSld>
  <p:clrMap bg1="lt1" tx1="dk1" bg2="lt2" tx2="dk2" accent1="accent1" accent2="accent2" accent3="accent3" accent4="accent4" accent5="accent5" accent6="accent6" hlink="hlink" folHlink="folHlink"/>
  <p:sldLayoutIdLst>
    <p:sldLayoutId id="2147483802" r:id="rId1"/>
    <p:sldLayoutId id="2147483769" r:id="rId2"/>
    <p:sldLayoutId id="2147483649" r:id="rId3"/>
    <p:sldLayoutId id="2147483660" r:id="rId4"/>
    <p:sldLayoutId id="2147483662" r:id="rId5"/>
    <p:sldLayoutId id="2147483754" r:id="rId6"/>
    <p:sldLayoutId id="2147483698" r:id="rId7"/>
    <p:sldLayoutId id="2147483766" r:id="rId8"/>
    <p:sldLayoutId id="2147483767" r:id="rId9"/>
    <p:sldLayoutId id="2147483770" r:id="rId10"/>
    <p:sldLayoutId id="2147483702" r:id="rId11"/>
    <p:sldLayoutId id="2147483743" r:id="rId12"/>
    <p:sldLayoutId id="2147483742" r:id="rId13"/>
    <p:sldLayoutId id="2147483678" r:id="rId14"/>
    <p:sldLayoutId id="2147483762" r:id="rId15"/>
    <p:sldLayoutId id="2147483686" r:id="rId16"/>
    <p:sldLayoutId id="2147483688" r:id="rId17"/>
    <p:sldLayoutId id="2147483672" r:id="rId18"/>
    <p:sldLayoutId id="2147483709" r:id="rId19"/>
    <p:sldLayoutId id="2147483703" r:id="rId20"/>
    <p:sldLayoutId id="2147483763" r:id="rId21"/>
    <p:sldLayoutId id="2147483704" r:id="rId22"/>
    <p:sldLayoutId id="2147483708" r:id="rId23"/>
    <p:sldLayoutId id="2147483705" r:id="rId24"/>
    <p:sldLayoutId id="2147483713" r:id="rId25"/>
    <p:sldLayoutId id="2147483751" r:id="rId26"/>
    <p:sldLayoutId id="2147483650" r:id="rId27"/>
    <p:sldLayoutId id="2147483706" r:id="rId28"/>
    <p:sldLayoutId id="2147483735" r:id="rId29"/>
    <p:sldLayoutId id="2147483707" r:id="rId30"/>
    <p:sldLayoutId id="2147483682" r:id="rId31"/>
    <p:sldLayoutId id="2147483683" r:id="rId32"/>
    <p:sldLayoutId id="2147483710" r:id="rId33"/>
    <p:sldLayoutId id="2147483759" r:id="rId34"/>
    <p:sldLayoutId id="2147483680" r:id="rId35"/>
    <p:sldLayoutId id="2147483711" r:id="rId36"/>
    <p:sldLayoutId id="2147483765" r:id="rId37"/>
    <p:sldLayoutId id="2147483764" r:id="rId38"/>
    <p:sldLayoutId id="2147483732" r:id="rId39"/>
    <p:sldLayoutId id="2147483721" r:id="rId40"/>
    <p:sldLayoutId id="2147483722" r:id="rId41"/>
    <p:sldLayoutId id="2147483723" r:id="rId42"/>
    <p:sldLayoutId id="2147483724" r:id="rId43"/>
    <p:sldLayoutId id="2147483736" r:id="rId44"/>
    <p:sldLayoutId id="2147483726" r:id="rId45"/>
    <p:sldLayoutId id="2147483664" r:id="rId46"/>
    <p:sldLayoutId id="2147483696" r:id="rId47"/>
    <p:sldLayoutId id="2147483755" r:id="rId48"/>
    <p:sldLayoutId id="2147483756" r:id="rId49"/>
    <p:sldLayoutId id="2147483757" r:id="rId50"/>
    <p:sldLayoutId id="2147483695" r:id="rId51"/>
    <p:sldLayoutId id="2147483668" r:id="rId52"/>
    <p:sldLayoutId id="2147483666" r:id="rId53"/>
    <p:sldLayoutId id="2147483780" r:id="rId54"/>
    <p:sldLayoutId id="2147483697" r:id="rId55"/>
    <p:sldLayoutId id="2147483727" r:id="rId56"/>
    <p:sldLayoutId id="2147483728" r:id="rId57"/>
    <p:sldLayoutId id="2147483729" r:id="rId58"/>
    <p:sldLayoutId id="2147483737" r:id="rId59"/>
    <p:sldLayoutId id="2147483778" r:id="rId60"/>
    <p:sldLayoutId id="2147483779" r:id="rId61"/>
    <p:sldLayoutId id="2147483760" r:id="rId62"/>
    <p:sldLayoutId id="2147483749" r:id="rId63"/>
    <p:sldLayoutId id="2147483761" r:id="rId64"/>
    <p:sldLayoutId id="2147483733" r:id="rId65"/>
    <p:sldLayoutId id="2147483718" r:id="rId66"/>
    <p:sldLayoutId id="2147483712" r:id="rId67"/>
    <p:sldLayoutId id="2147483714" r:id="rId68"/>
    <p:sldLayoutId id="2147483717" r:id="rId69"/>
    <p:sldLayoutId id="2147483747" r:id="rId70"/>
    <p:sldLayoutId id="2147483748" r:id="rId71"/>
    <p:sldLayoutId id="2147483719" r:id="rId72"/>
    <p:sldLayoutId id="2147483720" r:id="rId73"/>
    <p:sldLayoutId id="2147483768" r:id="rId74"/>
    <p:sldLayoutId id="2147483771" r:id="rId75"/>
    <p:sldLayoutId id="2147483772" r:id="rId76"/>
    <p:sldLayoutId id="2147483773" r:id="rId77"/>
    <p:sldLayoutId id="2147483774" r:id="rId78"/>
    <p:sldLayoutId id="2147483775" r:id="rId79"/>
    <p:sldLayoutId id="2147483776" r:id="rId80"/>
    <p:sldLayoutId id="2147483777" r:id="rId81"/>
    <p:sldLayoutId id="2147483781" r:id="rId82"/>
    <p:sldLayoutId id="2147483782" r:id="rId83"/>
    <p:sldLayoutId id="2147483783" r:id="rId84"/>
    <p:sldLayoutId id="2147483784" r:id="rId85"/>
    <p:sldLayoutId id="2147483786" r:id="rId86"/>
    <p:sldLayoutId id="2147483787" r:id="rId87"/>
    <p:sldLayoutId id="2147483785" r:id="rId88"/>
    <p:sldLayoutId id="2147483788" r:id="rId89"/>
    <p:sldLayoutId id="2147483789" r:id="rId90"/>
    <p:sldLayoutId id="2147483790" r:id="rId91"/>
    <p:sldLayoutId id="2147483791" r:id="rId92"/>
    <p:sldLayoutId id="2147483792" r:id="rId93"/>
    <p:sldLayoutId id="2147483793" r:id="rId94"/>
    <p:sldLayoutId id="2147483794" r:id="rId95"/>
    <p:sldLayoutId id="2147483795" r:id="rId96"/>
    <p:sldLayoutId id="2147483796" r:id="rId97"/>
    <p:sldLayoutId id="2147483797" r:id="rId98"/>
    <p:sldLayoutId id="2147483798" r:id="rId99"/>
    <p:sldLayoutId id="2147483800" r:id="rId100"/>
    <p:sldLayoutId id="2147483799" r:id="rId101"/>
    <p:sldLayoutId id="2147483801" r:id="rId102"/>
    <p:sldLayoutId id="2147483681" r:id="rId103"/>
    <p:sldLayoutId id="2147483694" r:id="rId104"/>
    <p:sldLayoutId id="2147483674" r:id="rId105"/>
  </p:sldLayoutIdLst>
  <p:txStyles>
    <p:titleStyle>
      <a:lvl1pPr algn="l" defTabSz="914400" rtl="0" eaLnBrk="1" latinLnBrk="0" hangingPunct="1">
        <a:lnSpc>
          <a:spcPct val="90000"/>
        </a:lnSpc>
        <a:spcBef>
          <a:spcPct val="0"/>
        </a:spcBef>
        <a:buNone/>
        <a:defRPr sz="4400" b="1" kern="1200" baseline="0">
          <a:solidFill>
            <a:schemeClr val="accent1"/>
          </a:solidFill>
          <a:latin typeface="Montserrat"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65.xml"/><Relationship Id="rId4" Type="http://schemas.openxmlformats.org/officeDocument/2006/relationships/image" Target="../media/image39.jpg"/></Relationships>
</file>

<file path=ppt/slides/_rels/slide1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8.xml"/><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11.xml"/><Relationship Id="rId1" Type="http://schemas.openxmlformats.org/officeDocument/2006/relationships/slideLayout" Target="../slideLayouts/slideLayout22.xml"/><Relationship Id="rId6" Type="http://schemas.openxmlformats.org/officeDocument/2006/relationships/image" Target="../media/image45.png"/><Relationship Id="rId5" Type="http://schemas.openxmlformats.org/officeDocument/2006/relationships/image" Target="../media/image44.jpg"/><Relationship Id="rId4" Type="http://schemas.openxmlformats.org/officeDocument/2006/relationships/image" Target="../media/image43.jpg"/></Relationships>
</file>

<file path=ppt/slides/_rels/slide16.xml.rels><?xml version="1.0" encoding="UTF-8" standalone="yes"?>
<Relationships xmlns="http://schemas.openxmlformats.org/package/2006/relationships"><Relationship Id="rId3" Type="http://schemas.openxmlformats.org/officeDocument/2006/relationships/hyperlink" Target="https://www.signupgenius.com/go/BocaHighland" TargetMode="External"/><Relationship Id="rId2" Type="http://schemas.openxmlformats.org/officeDocument/2006/relationships/notesSlide" Target="../notesSlides/notesSlide12.xml"/><Relationship Id="rId1" Type="http://schemas.openxmlformats.org/officeDocument/2006/relationships/slideLayout" Target="../slideLayouts/slideLayout38.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29.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7.xml"/><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image" Target="../media/image58.jpg"/><Relationship Id="rId1" Type="http://schemas.openxmlformats.org/officeDocument/2006/relationships/slideLayout" Target="../slideLayouts/slideLayout37.xml"/><Relationship Id="rId5" Type="http://schemas.openxmlformats.org/officeDocument/2006/relationships/image" Target="../media/image61.png"/><Relationship Id="rId4" Type="http://schemas.openxmlformats.org/officeDocument/2006/relationships/image" Target="../media/image60.jpg"/></Relationships>
</file>

<file path=ppt/slides/_rels/slide2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png"/><Relationship Id="rId1" Type="http://schemas.openxmlformats.org/officeDocument/2006/relationships/slideLayout" Target="../slideLayouts/slideLayout37.xml"/><Relationship Id="rId6" Type="http://schemas.openxmlformats.org/officeDocument/2006/relationships/image" Target="../media/image67.png"/><Relationship Id="rId5" Type="http://schemas.openxmlformats.org/officeDocument/2006/relationships/image" Target="../media/image66.jpg"/><Relationship Id="rId4" Type="http://schemas.openxmlformats.org/officeDocument/2006/relationships/image" Target="../media/image65.png"/><Relationship Id="rId9" Type="http://schemas.openxmlformats.org/officeDocument/2006/relationships/image" Target="../media/image70.png"/></Relationships>
</file>

<file path=ppt/slides/_rels/slide26.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image" Target="../media/image71.jpg"/><Relationship Id="rId1" Type="http://schemas.openxmlformats.org/officeDocument/2006/relationships/slideLayout" Target="../slideLayouts/slideLayout37.xml"/><Relationship Id="rId4" Type="http://schemas.openxmlformats.org/officeDocument/2006/relationships/image" Target="../media/image73.png"/></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28.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19.xml"/><Relationship Id="rId1" Type="http://schemas.openxmlformats.org/officeDocument/2006/relationships/slideLayout" Target="../slideLayouts/slideLayout25.xml"/><Relationship Id="rId6" Type="http://schemas.openxmlformats.org/officeDocument/2006/relationships/image" Target="../media/image78.jpg"/><Relationship Id="rId5" Type="http://schemas.openxmlformats.org/officeDocument/2006/relationships/image" Target="../media/image77.jpg"/><Relationship Id="rId4" Type="http://schemas.openxmlformats.org/officeDocument/2006/relationships/image" Target="../media/image76.jpg"/></Relationships>
</file>

<file path=ppt/slides/_rels/slide29.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notesSlide" Target="../notesSlides/notesSlide20.xml"/><Relationship Id="rId1" Type="http://schemas.openxmlformats.org/officeDocument/2006/relationships/slideLayout" Target="../slideLayouts/slideLayout57.xml"/><Relationship Id="rId5" Type="http://schemas.openxmlformats.org/officeDocument/2006/relationships/image" Target="../media/image81.jpg"/><Relationship Id="rId4" Type="http://schemas.openxmlformats.org/officeDocument/2006/relationships/image" Target="../media/image80.jp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8.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microsoft.com/office/2018/10/relationships/comments" Target="../comments/modernComment_190_8A11A4BA.xml"/><Relationship Id="rId2" Type="http://schemas.openxmlformats.org/officeDocument/2006/relationships/notesSlide" Target="../notesSlides/notesSlide26.xml"/><Relationship Id="rId1" Type="http://schemas.openxmlformats.org/officeDocument/2006/relationships/slideLayout" Target="../slideLayouts/slideLayout23.xml"/><Relationship Id="rId4" Type="http://schemas.openxmlformats.org/officeDocument/2006/relationships/image" Target="../media/image84.png"/></Relationships>
</file>

<file path=ppt/slides/_rels/slide3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7.xml"/><Relationship Id="rId1" Type="http://schemas.openxmlformats.org/officeDocument/2006/relationships/slideLayout" Target="../slideLayouts/slideLayout29.xml"/><Relationship Id="rId4" Type="http://schemas.openxmlformats.org/officeDocument/2006/relationships/image" Target="../media/image86.png"/></Relationships>
</file>

<file path=ppt/slides/_rels/slide3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8.xml"/><Relationship Id="rId1" Type="http://schemas.openxmlformats.org/officeDocument/2006/relationships/slideLayout" Target="../slideLayouts/slideLayout29.xml"/><Relationship Id="rId4" Type="http://schemas.openxmlformats.org/officeDocument/2006/relationships/image" Target="../media/image86.png"/></Relationships>
</file>

<file path=ppt/slides/_rels/slide38.xml.rels><?xml version="1.0" encoding="UTF-8" standalone="yes"?>
<Relationships xmlns="http://schemas.openxmlformats.org/package/2006/relationships"><Relationship Id="rId3" Type="http://schemas.microsoft.com/office/2018/10/relationships/comments" Target="../comments/modernComment_18A_EA040907.xml"/><Relationship Id="rId2" Type="http://schemas.openxmlformats.org/officeDocument/2006/relationships/notesSlide" Target="../notesSlides/notesSlide29.xml"/><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30.xml"/><Relationship Id="rId1" Type="http://schemas.openxmlformats.org/officeDocument/2006/relationships/slideLayout" Target="../slideLayouts/slideLayout25.xml"/><Relationship Id="rId4" Type="http://schemas.openxmlformats.org/officeDocument/2006/relationships/image" Target="../media/image88.jp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6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Layout" Target="../slideLayouts/slideLayout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30.emf"/></Relationships>
</file>

<file path=ppt/slides/_rels/slide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34.jpg"/><Relationship Id="rId5" Type="http://schemas.openxmlformats.org/officeDocument/2006/relationships/image" Target="../media/image33.jpg"/><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EE91B2-3423-C6A5-0B71-A6F7B01D14EE}"/>
              </a:ext>
            </a:extLst>
          </p:cNvPr>
          <p:cNvSpPr>
            <a:spLocks noGrp="1"/>
          </p:cNvSpPr>
          <p:nvPr>
            <p:ph type="ctrTitle"/>
          </p:nvPr>
        </p:nvSpPr>
        <p:spPr/>
        <p:txBody>
          <a:bodyPr>
            <a:normAutofit/>
          </a:bodyPr>
          <a:lstStyle/>
          <a:p>
            <a:r>
              <a:rPr lang="en-US" sz="4400" dirty="0">
                <a:latin typeface="Montserrat" panose="00000500000000000000" pitchFamily="2" charset="0"/>
              </a:rPr>
              <a:t>Boca Highland</a:t>
            </a:r>
          </a:p>
        </p:txBody>
      </p:sp>
      <p:sp>
        <p:nvSpPr>
          <p:cNvPr id="3" name="Subtitle 2">
            <a:extLst>
              <a:ext uri="{FF2B5EF4-FFF2-40B4-BE49-F238E27FC236}">
                <a16:creationId xmlns:a16="http://schemas.microsoft.com/office/drawing/2014/main" id="{C9E797C9-E4D5-0E62-F20E-123AB40F991A}"/>
              </a:ext>
            </a:extLst>
          </p:cNvPr>
          <p:cNvSpPr>
            <a:spLocks noGrp="1"/>
          </p:cNvSpPr>
          <p:nvPr>
            <p:ph type="subTitle" idx="1"/>
          </p:nvPr>
        </p:nvSpPr>
        <p:spPr>
          <a:xfrm>
            <a:off x="2063343" y="5861457"/>
            <a:ext cx="9144000" cy="403432"/>
          </a:xfrm>
        </p:spPr>
        <p:txBody>
          <a:bodyPr vert="horz" lIns="91440" tIns="45720" rIns="91440" bIns="45720" rtlCol="0" anchor="t">
            <a:noAutofit/>
          </a:bodyPr>
          <a:lstStyle/>
          <a:p>
            <a:r>
              <a:rPr lang="en-US" sz="3600">
                <a:latin typeface="Montserrat" panose="00000500000000000000" pitchFamily="2" charset="0"/>
              </a:rPr>
              <a:t>Town Hall Meeting</a:t>
            </a:r>
          </a:p>
        </p:txBody>
      </p:sp>
      <p:pic>
        <p:nvPicPr>
          <p:cNvPr id="8" name="Picture Placeholder 7" descr="A sign in front of a building&#10;&#10;Description automatically generated">
            <a:extLst>
              <a:ext uri="{FF2B5EF4-FFF2-40B4-BE49-F238E27FC236}">
                <a16:creationId xmlns:a16="http://schemas.microsoft.com/office/drawing/2014/main" id="{9C7BDD2A-601C-0AAF-A13D-7014E293F6C3}"/>
              </a:ext>
            </a:extLst>
          </p:cNvPr>
          <p:cNvPicPr>
            <a:picLocks noGrp="1" noChangeAspect="1"/>
          </p:cNvPicPr>
          <p:nvPr>
            <p:ph type="pic" sz="quarter" idx="16"/>
          </p:nvPr>
        </p:nvPicPr>
        <p:blipFill>
          <a:blip r:embed="rId2"/>
          <a:srcRect l="6428" r="6428"/>
          <a:stretch>
            <a:fillRect/>
          </a:stretch>
        </p:blipFill>
        <p:spPr/>
      </p:pic>
    </p:spTree>
    <p:extLst>
      <p:ext uri="{BB962C8B-B14F-4D97-AF65-F5344CB8AC3E}">
        <p14:creationId xmlns:p14="http://schemas.microsoft.com/office/powerpoint/2010/main" val="496713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AA7DE90-1020-CDEF-32E1-7CD466B6FFEE}"/>
              </a:ext>
            </a:extLst>
          </p:cNvPr>
          <p:cNvSpPr>
            <a:spLocks noGrp="1"/>
          </p:cNvSpPr>
          <p:nvPr>
            <p:ph type="body" sz="quarter" idx="17"/>
          </p:nvPr>
        </p:nvSpPr>
        <p:spPr>
          <a:xfrm>
            <a:off x="1066445" y="2205872"/>
            <a:ext cx="3185454" cy="3544479"/>
          </a:xfrm>
          <a:solidFill>
            <a:srgbClr val="3EB1C8"/>
          </a:solidFill>
        </p:spPr>
        <p:txBody>
          <a:bodyPr vert="horz" lIns="91440" tIns="45720" rIns="91440" bIns="45720" rtlCol="0" anchor="t">
            <a:normAutofit/>
          </a:bodyPr>
          <a:lstStyle/>
          <a:p>
            <a:pPr marL="297815" marR="467995" indent="-285115">
              <a:lnSpc>
                <a:spcPct val="110000"/>
              </a:lnSpc>
              <a:spcBef>
                <a:spcPts val="100"/>
              </a:spcBef>
              <a:spcAft>
                <a:spcPts val="600"/>
              </a:spcAft>
              <a:buChar char="•"/>
              <a:tabLst>
                <a:tab pos="297815" algn="l"/>
                <a:tab pos="298450" algn="l"/>
              </a:tabLst>
            </a:pPr>
            <a:r>
              <a:rPr lang="en-US" sz="1600" b="0" spc="-100">
                <a:solidFill>
                  <a:schemeClr val="bg1"/>
                </a:solidFill>
                <a:latin typeface="Montserrat" panose="00000500000000000000" pitchFamily="2" charset="0"/>
                <a:cs typeface="Arial"/>
              </a:rPr>
              <a:t>100%</a:t>
            </a:r>
            <a:r>
              <a:rPr lang="en-US" sz="1600" b="0" spc="-130">
                <a:solidFill>
                  <a:schemeClr val="bg1"/>
                </a:solidFill>
                <a:latin typeface="Montserrat" panose="00000500000000000000" pitchFamily="2" charset="0"/>
                <a:cs typeface="Arial"/>
              </a:rPr>
              <a:t> </a:t>
            </a:r>
            <a:r>
              <a:rPr lang="en-US" sz="1600" b="0" spc="-10">
                <a:solidFill>
                  <a:schemeClr val="bg1"/>
                </a:solidFill>
                <a:latin typeface="Montserrat" panose="00000500000000000000" pitchFamily="2" charset="0"/>
                <a:cs typeface="Arial"/>
              </a:rPr>
              <a:t>underground network</a:t>
            </a:r>
            <a:endParaRPr lang="en-US" sz="1600" b="0">
              <a:solidFill>
                <a:schemeClr val="bg1"/>
              </a:solidFill>
              <a:latin typeface="Montserrat" panose="00000500000000000000" pitchFamily="2" charset="0"/>
              <a:cs typeface="Arial"/>
            </a:endParaRPr>
          </a:p>
          <a:p>
            <a:pPr marL="297815" marR="37465" indent="-285115">
              <a:lnSpc>
                <a:spcPct val="110000"/>
              </a:lnSpc>
              <a:spcBef>
                <a:spcPts val="1200"/>
              </a:spcBef>
              <a:spcAft>
                <a:spcPts val="600"/>
              </a:spcAft>
              <a:buChar char="•"/>
              <a:tabLst>
                <a:tab pos="297815" algn="l"/>
                <a:tab pos="298450" algn="l"/>
              </a:tabLst>
            </a:pPr>
            <a:r>
              <a:rPr lang="en-US" sz="1600" b="0">
                <a:solidFill>
                  <a:schemeClr val="bg1"/>
                </a:solidFill>
                <a:latin typeface="Montserrat" panose="00000500000000000000" pitchFamily="2" charset="0"/>
                <a:cs typeface="Arial"/>
              </a:rPr>
              <a:t>Dedicated</a:t>
            </a:r>
            <a:r>
              <a:rPr lang="en-US" sz="1600" b="0" spc="-40">
                <a:solidFill>
                  <a:schemeClr val="bg1"/>
                </a:solidFill>
                <a:latin typeface="Montserrat" panose="00000500000000000000" pitchFamily="2" charset="0"/>
                <a:cs typeface="Arial"/>
              </a:rPr>
              <a:t> </a:t>
            </a:r>
            <a:r>
              <a:rPr lang="en-US" sz="1600" b="0" spc="-10">
                <a:solidFill>
                  <a:schemeClr val="bg1"/>
                </a:solidFill>
                <a:latin typeface="Montserrat" panose="00000500000000000000" pitchFamily="2" charset="0"/>
                <a:cs typeface="Arial"/>
              </a:rPr>
              <a:t>construction oversight</a:t>
            </a:r>
            <a:endParaRPr lang="en-US" sz="1600" b="0">
              <a:solidFill>
                <a:schemeClr val="bg1"/>
              </a:solidFill>
              <a:latin typeface="Montserrat" panose="00000500000000000000" pitchFamily="2" charset="0"/>
              <a:cs typeface="Arial"/>
            </a:endParaRPr>
          </a:p>
          <a:p>
            <a:pPr marL="297815" marR="5080" indent="-285115">
              <a:lnSpc>
                <a:spcPct val="110000"/>
              </a:lnSpc>
              <a:spcBef>
                <a:spcPts val="1200"/>
              </a:spcBef>
              <a:spcAft>
                <a:spcPts val="600"/>
              </a:spcAft>
              <a:buChar char="•"/>
              <a:tabLst>
                <a:tab pos="297815" algn="l"/>
                <a:tab pos="298450" algn="l"/>
              </a:tabLst>
            </a:pPr>
            <a:r>
              <a:rPr lang="en-US" sz="1600" b="0" spc="-10">
                <a:solidFill>
                  <a:schemeClr val="bg1"/>
                </a:solidFill>
                <a:latin typeface="Montserrat" panose="00000500000000000000" pitchFamily="2" charset="0"/>
                <a:cs typeface="Arial"/>
              </a:rPr>
              <a:t>Fix and repair landscaping each week unless permitting required</a:t>
            </a:r>
            <a:r>
              <a:rPr lang="en-US" sz="1600" b="0" spc="-20">
                <a:solidFill>
                  <a:schemeClr val="bg1"/>
                </a:solidFill>
                <a:latin typeface="Montserrat" panose="00000500000000000000" pitchFamily="2" charset="0"/>
                <a:cs typeface="Arial"/>
              </a:rPr>
              <a:t> </a:t>
            </a:r>
          </a:p>
          <a:p>
            <a:pPr marL="297815" marR="5080" indent="-285115">
              <a:lnSpc>
                <a:spcPct val="110000"/>
              </a:lnSpc>
              <a:spcBef>
                <a:spcPts val="1200"/>
              </a:spcBef>
              <a:spcAft>
                <a:spcPts val="600"/>
              </a:spcAft>
              <a:buChar char="•"/>
              <a:tabLst>
                <a:tab pos="297815" algn="l"/>
                <a:tab pos="298450" algn="l"/>
              </a:tabLst>
            </a:pPr>
            <a:r>
              <a:rPr lang="en-US" sz="1600" b="0" spc="-10">
                <a:solidFill>
                  <a:schemeClr val="bg1"/>
                </a:solidFill>
                <a:latin typeface="Montserrat" panose="00000500000000000000" pitchFamily="2" charset="0"/>
                <a:cs typeface="Arial"/>
              </a:rPr>
              <a:t>Strategic, minimally invasive techniques utilized</a:t>
            </a:r>
          </a:p>
        </p:txBody>
      </p:sp>
      <p:sp>
        <p:nvSpPr>
          <p:cNvPr id="7" name="Text Placeholder 6">
            <a:extLst>
              <a:ext uri="{FF2B5EF4-FFF2-40B4-BE49-F238E27FC236}">
                <a16:creationId xmlns:a16="http://schemas.microsoft.com/office/drawing/2014/main" id="{285A9D03-0A09-6C61-DDB9-2351BEC456AB}"/>
              </a:ext>
            </a:extLst>
          </p:cNvPr>
          <p:cNvSpPr>
            <a:spLocks noGrp="1"/>
          </p:cNvSpPr>
          <p:nvPr>
            <p:ph type="body" sz="quarter" idx="19"/>
          </p:nvPr>
        </p:nvSpPr>
        <p:spPr>
          <a:xfrm>
            <a:off x="4513508" y="2205871"/>
            <a:ext cx="3176026" cy="3544479"/>
          </a:xfrm>
          <a:solidFill>
            <a:srgbClr val="007DB2"/>
          </a:solidFill>
        </p:spPr>
        <p:txBody>
          <a:bodyPr vert="horz" lIns="91440" tIns="45720" rIns="91440" bIns="45720" rtlCol="0" anchor="t">
            <a:noAutofit/>
          </a:bodyPr>
          <a:lstStyle/>
          <a:p>
            <a:pPr marL="297815" marR="271145" indent="-285115">
              <a:lnSpc>
                <a:spcPct val="100000"/>
              </a:lnSpc>
              <a:spcBef>
                <a:spcPts val="100"/>
              </a:spcBef>
              <a:spcAft>
                <a:spcPts val="600"/>
              </a:spcAft>
              <a:buChar char="•"/>
              <a:tabLst>
                <a:tab pos="297815" algn="l"/>
                <a:tab pos="298450" algn="l"/>
              </a:tabLst>
            </a:pPr>
            <a:r>
              <a:rPr lang="en-US" sz="1600" b="0" spc="-40">
                <a:solidFill>
                  <a:schemeClr val="bg1"/>
                </a:solidFill>
                <a:latin typeface="Montserrat"/>
                <a:cs typeface="Arial"/>
              </a:rPr>
              <a:t>One-visit install of fiber optics and all services</a:t>
            </a:r>
          </a:p>
          <a:p>
            <a:pPr marL="297815" marR="271145" indent="-285115">
              <a:lnSpc>
                <a:spcPct val="100000"/>
              </a:lnSpc>
              <a:spcBef>
                <a:spcPts val="100"/>
              </a:spcBef>
              <a:spcAft>
                <a:spcPts val="600"/>
              </a:spcAft>
              <a:buChar char="•"/>
              <a:tabLst>
                <a:tab pos="297815" algn="l"/>
                <a:tab pos="298450" algn="l"/>
              </a:tabLst>
            </a:pPr>
            <a:r>
              <a:rPr lang="en-US" sz="1600" b="0" spc="-40">
                <a:solidFill>
                  <a:schemeClr val="bg1"/>
                </a:solidFill>
                <a:latin typeface="Montserrat"/>
                <a:cs typeface="Arial"/>
              </a:rPr>
              <a:t>In-home, one-on-one training at installation</a:t>
            </a:r>
          </a:p>
          <a:p>
            <a:pPr marL="297815" marR="271145" indent="-285115">
              <a:lnSpc>
                <a:spcPct val="100000"/>
              </a:lnSpc>
              <a:spcBef>
                <a:spcPts val="100"/>
              </a:spcBef>
              <a:spcAft>
                <a:spcPts val="600"/>
              </a:spcAft>
              <a:buChar char="•"/>
              <a:tabLst>
                <a:tab pos="297815" algn="l"/>
                <a:tab pos="298450" algn="l"/>
              </a:tabLst>
            </a:pPr>
            <a:r>
              <a:rPr lang="en-US" sz="1600" b="0" spc="-40">
                <a:solidFill>
                  <a:schemeClr val="bg1"/>
                </a:solidFill>
                <a:latin typeface="Montserrat"/>
                <a:cs typeface="Arial"/>
              </a:rPr>
              <a:t>Configuring of </a:t>
            </a:r>
            <a:r>
              <a:rPr lang="en-US" sz="1600" b="0" spc="-40" err="1">
                <a:solidFill>
                  <a:schemeClr val="bg1"/>
                </a:solidFill>
                <a:latin typeface="Montserrat"/>
                <a:cs typeface="Arial"/>
              </a:rPr>
              <a:t>WiFi</a:t>
            </a:r>
            <a:r>
              <a:rPr lang="en-US" sz="1600" b="0" spc="-40">
                <a:solidFill>
                  <a:schemeClr val="bg1"/>
                </a:solidFill>
                <a:latin typeface="Montserrat"/>
                <a:cs typeface="Arial"/>
              </a:rPr>
              <a:t> devices, set-top boxes and voice remotes</a:t>
            </a:r>
          </a:p>
          <a:p>
            <a:pPr marL="297815" marR="271145" indent="-285115">
              <a:lnSpc>
                <a:spcPct val="100000"/>
              </a:lnSpc>
              <a:spcBef>
                <a:spcPts val="100"/>
              </a:spcBef>
              <a:spcAft>
                <a:spcPts val="600"/>
              </a:spcAft>
              <a:buChar char="•"/>
              <a:tabLst>
                <a:tab pos="297815" algn="l"/>
                <a:tab pos="298450" algn="l"/>
              </a:tabLst>
            </a:pPr>
            <a:r>
              <a:rPr lang="en-US" sz="1600" b="0">
                <a:solidFill>
                  <a:schemeClr val="bg1"/>
                </a:solidFill>
                <a:latin typeface="Montserrat" panose="00000500000000000000" pitchFamily="2" charset="0"/>
                <a:cs typeface="Arial"/>
              </a:rPr>
              <a:t> One-hour in-home training available during installation phase</a:t>
            </a:r>
          </a:p>
        </p:txBody>
      </p:sp>
      <p:sp>
        <p:nvSpPr>
          <p:cNvPr id="9" name="Text Placeholder 8">
            <a:extLst>
              <a:ext uri="{FF2B5EF4-FFF2-40B4-BE49-F238E27FC236}">
                <a16:creationId xmlns:a16="http://schemas.microsoft.com/office/drawing/2014/main" id="{ED76122A-C80C-4F4C-6859-9438723B30C3}"/>
              </a:ext>
            </a:extLst>
          </p:cNvPr>
          <p:cNvSpPr>
            <a:spLocks noGrp="1"/>
          </p:cNvSpPr>
          <p:nvPr>
            <p:ph type="body" sz="quarter" idx="21"/>
          </p:nvPr>
        </p:nvSpPr>
        <p:spPr>
          <a:xfrm>
            <a:off x="7979433" y="2205871"/>
            <a:ext cx="3205114" cy="3544479"/>
          </a:xfrm>
          <a:solidFill>
            <a:srgbClr val="04617B"/>
          </a:solidFill>
        </p:spPr>
        <p:txBody>
          <a:bodyPr vert="horz" lIns="91440" tIns="45720" rIns="91440" bIns="45720" rtlCol="0" anchor="t">
            <a:normAutofit fontScale="92500" lnSpcReduction="10000"/>
          </a:bodyPr>
          <a:lstStyle/>
          <a:p>
            <a:pPr marL="297815" marR="271145" indent="-285115">
              <a:lnSpc>
                <a:spcPct val="100000"/>
              </a:lnSpc>
              <a:spcBef>
                <a:spcPts val="100"/>
              </a:spcBef>
              <a:spcAft>
                <a:spcPts val="600"/>
              </a:spcAft>
              <a:buFont typeface="Arial" panose="020B0604020202020204" pitchFamily="34" charset="0"/>
              <a:buChar char="•"/>
              <a:tabLst>
                <a:tab pos="297815" algn="l"/>
                <a:tab pos="298450" algn="l"/>
              </a:tabLst>
            </a:pPr>
            <a:r>
              <a:rPr lang="en-US" sz="1700" b="0" spc="-55">
                <a:solidFill>
                  <a:schemeClr val="bg1"/>
                </a:solidFill>
                <a:latin typeface="Montserrat" panose="00000500000000000000" pitchFamily="2" charset="0"/>
                <a:cs typeface="Arial"/>
              </a:rPr>
              <a:t>Redundancy to Keep Your Community Online</a:t>
            </a:r>
            <a:endParaRPr lang="en-US" sz="1700" b="0" spc="-40">
              <a:solidFill>
                <a:schemeClr val="bg1"/>
              </a:solidFill>
              <a:latin typeface="Montserrat" panose="00000500000000000000" pitchFamily="2" charset="0"/>
              <a:cs typeface="Arial"/>
            </a:endParaRPr>
          </a:p>
          <a:p>
            <a:pPr marL="297815" marR="271145" indent="-285115">
              <a:lnSpc>
                <a:spcPct val="100000"/>
              </a:lnSpc>
              <a:spcBef>
                <a:spcPts val="100"/>
              </a:spcBef>
              <a:spcAft>
                <a:spcPts val="600"/>
              </a:spcAft>
              <a:buChar char="•"/>
              <a:tabLst>
                <a:tab pos="297815" algn="l"/>
                <a:tab pos="298450" algn="l"/>
              </a:tabLst>
            </a:pPr>
            <a:r>
              <a:rPr lang="en-US" sz="1700" b="0" spc="-40">
                <a:solidFill>
                  <a:schemeClr val="bg1"/>
                </a:solidFill>
                <a:latin typeface="Montserrat" panose="00000500000000000000" pitchFamily="2" charset="0"/>
                <a:cs typeface="Arial"/>
              </a:rPr>
              <a:t>Guarantee speeds and 99% uptime</a:t>
            </a:r>
          </a:p>
          <a:p>
            <a:pPr marL="297815" indent="-285115">
              <a:lnSpc>
                <a:spcPct val="100000"/>
              </a:lnSpc>
              <a:spcBef>
                <a:spcPts val="1200"/>
              </a:spcBef>
              <a:spcAft>
                <a:spcPts val="600"/>
              </a:spcAft>
              <a:buChar char="•"/>
              <a:tabLst>
                <a:tab pos="297815" algn="l"/>
                <a:tab pos="298450" algn="l"/>
              </a:tabLst>
            </a:pPr>
            <a:r>
              <a:rPr lang="en-US" sz="1700" b="0" spc="-30">
                <a:solidFill>
                  <a:schemeClr val="bg1"/>
                </a:solidFill>
                <a:latin typeface="Montserrat" panose="00000500000000000000" pitchFamily="2" charset="0"/>
                <a:cs typeface="Arial"/>
              </a:rPr>
              <a:t>V</a:t>
            </a:r>
            <a:r>
              <a:rPr lang="en-US" sz="1700" b="0" spc="-10">
                <a:solidFill>
                  <a:schemeClr val="bg1"/>
                </a:solidFill>
                <a:latin typeface="Montserrat" panose="00000500000000000000" pitchFamily="2" charset="0"/>
                <a:cs typeface="Arial"/>
              </a:rPr>
              <a:t>irtual tech support </a:t>
            </a:r>
          </a:p>
          <a:p>
            <a:pPr marL="297815" indent="-285115">
              <a:lnSpc>
                <a:spcPct val="100000"/>
              </a:lnSpc>
              <a:spcBef>
                <a:spcPts val="1200"/>
              </a:spcBef>
              <a:spcAft>
                <a:spcPts val="600"/>
              </a:spcAft>
              <a:buChar char="•"/>
              <a:tabLst>
                <a:tab pos="297815" algn="l"/>
                <a:tab pos="298450" algn="l"/>
              </a:tabLst>
            </a:pPr>
            <a:r>
              <a:rPr lang="en-US" sz="1700" b="0">
                <a:solidFill>
                  <a:schemeClr val="bg1"/>
                </a:solidFill>
                <a:latin typeface="Montserrat" panose="00000500000000000000" pitchFamily="2" charset="0"/>
                <a:cs typeface="Arial"/>
              </a:rPr>
              <a:t>100% U.S.- based customer service team</a:t>
            </a:r>
          </a:p>
          <a:p>
            <a:pPr marL="297815" indent="-285115">
              <a:lnSpc>
                <a:spcPct val="100000"/>
              </a:lnSpc>
              <a:spcBef>
                <a:spcPts val="1200"/>
              </a:spcBef>
              <a:spcAft>
                <a:spcPts val="600"/>
              </a:spcAft>
              <a:buChar char="•"/>
              <a:tabLst>
                <a:tab pos="297815" algn="l"/>
                <a:tab pos="298450" algn="l"/>
              </a:tabLst>
            </a:pPr>
            <a:r>
              <a:rPr lang="en-US" sz="1700" b="0">
                <a:solidFill>
                  <a:schemeClr val="bg1"/>
                </a:solidFill>
                <a:latin typeface="Montserrat" panose="00000500000000000000" pitchFamily="2" charset="0"/>
                <a:cs typeface="Arial"/>
              </a:rPr>
              <a:t>Same day/next morning in-home tech support prioritized for residents with a full-service impact</a:t>
            </a:r>
          </a:p>
        </p:txBody>
      </p:sp>
      <p:sp>
        <p:nvSpPr>
          <p:cNvPr id="11" name="Title 10">
            <a:extLst>
              <a:ext uri="{FF2B5EF4-FFF2-40B4-BE49-F238E27FC236}">
                <a16:creationId xmlns:a16="http://schemas.microsoft.com/office/drawing/2014/main" id="{CCD7536A-1871-45D5-9530-E92300F46134}"/>
              </a:ext>
            </a:extLst>
          </p:cNvPr>
          <p:cNvSpPr>
            <a:spLocks noGrp="1"/>
          </p:cNvSpPr>
          <p:nvPr>
            <p:ph type="title"/>
          </p:nvPr>
        </p:nvSpPr>
        <p:spPr>
          <a:xfrm>
            <a:off x="119406" y="100883"/>
            <a:ext cx="11953188" cy="801577"/>
          </a:xfrm>
        </p:spPr>
        <p:txBody>
          <a:bodyPr/>
          <a:lstStyle/>
          <a:p>
            <a:pPr algn="ctr"/>
            <a:r>
              <a:rPr lang="en-US" sz="4000">
                <a:latin typeface="Montserrat" panose="00000500000000000000" pitchFamily="2" charset="0"/>
              </a:rPr>
              <a:t>A No-Stress Transition to Blue Stream Fiber</a:t>
            </a:r>
          </a:p>
        </p:txBody>
      </p:sp>
      <p:sp>
        <p:nvSpPr>
          <p:cNvPr id="12" name="TextBox 11">
            <a:extLst>
              <a:ext uri="{FF2B5EF4-FFF2-40B4-BE49-F238E27FC236}">
                <a16:creationId xmlns:a16="http://schemas.microsoft.com/office/drawing/2014/main" id="{0ED4A083-CEB8-4409-B777-CEB74A258A2E}"/>
              </a:ext>
            </a:extLst>
          </p:cNvPr>
          <p:cNvSpPr txBox="1"/>
          <p:nvPr/>
        </p:nvSpPr>
        <p:spPr>
          <a:xfrm>
            <a:off x="683603" y="1348033"/>
            <a:ext cx="3516198" cy="677108"/>
          </a:xfrm>
          <a:prstGeom prst="rect">
            <a:avLst/>
          </a:prstGeom>
          <a:noFill/>
        </p:spPr>
        <p:txBody>
          <a:bodyPr wrap="square" lIns="91440" tIns="45720" rIns="91440" bIns="45720" rtlCol="0" anchor="t">
            <a:spAutoFit/>
          </a:bodyPr>
          <a:lstStyle/>
          <a:p>
            <a:pPr algn="ctr"/>
            <a:r>
              <a:rPr lang="en-US" sz="2000" b="1" spc="-10">
                <a:solidFill>
                  <a:srgbClr val="004160"/>
                </a:solidFill>
                <a:latin typeface="Montserrat" panose="00000500000000000000" pitchFamily="2" charset="0"/>
                <a:cs typeface="Arial"/>
              </a:rPr>
              <a:t>SMOOTH </a:t>
            </a:r>
            <a:r>
              <a:rPr lang="en-US" sz="2000" b="1" spc="-60">
                <a:solidFill>
                  <a:srgbClr val="004160"/>
                </a:solidFill>
                <a:latin typeface="Montserrat" panose="00000500000000000000" pitchFamily="2" charset="0"/>
                <a:cs typeface="Arial"/>
              </a:rPr>
              <a:t>CONSTRUCTION</a:t>
            </a:r>
            <a:endParaRPr lang="en-US" sz="2000">
              <a:latin typeface="Montserrat" panose="00000500000000000000" pitchFamily="2" charset="0"/>
              <a:cs typeface="Arial"/>
            </a:endParaRPr>
          </a:p>
          <a:p>
            <a:endParaRPr lang="en-US"/>
          </a:p>
        </p:txBody>
      </p:sp>
      <p:sp>
        <p:nvSpPr>
          <p:cNvPr id="13" name="TextBox 12">
            <a:extLst>
              <a:ext uri="{FF2B5EF4-FFF2-40B4-BE49-F238E27FC236}">
                <a16:creationId xmlns:a16="http://schemas.microsoft.com/office/drawing/2014/main" id="{0EB35000-06BB-4E56-972F-9303BDCFFC7C}"/>
              </a:ext>
            </a:extLst>
          </p:cNvPr>
          <p:cNvSpPr txBox="1"/>
          <p:nvPr/>
        </p:nvSpPr>
        <p:spPr>
          <a:xfrm>
            <a:off x="4749894" y="1348033"/>
            <a:ext cx="2802905" cy="677108"/>
          </a:xfrm>
          <a:prstGeom prst="rect">
            <a:avLst/>
          </a:prstGeom>
          <a:noFill/>
        </p:spPr>
        <p:txBody>
          <a:bodyPr wrap="square" lIns="91440" tIns="45720" rIns="91440" bIns="45720" rtlCol="0" anchor="t">
            <a:spAutoFit/>
          </a:bodyPr>
          <a:lstStyle/>
          <a:p>
            <a:pPr algn="ctr"/>
            <a:r>
              <a:rPr lang="en-US" sz="2000" b="1" spc="-20">
                <a:solidFill>
                  <a:srgbClr val="004160"/>
                </a:solidFill>
                <a:latin typeface="Montserrat" panose="00000500000000000000" pitchFamily="2" charset="0"/>
                <a:cs typeface="Arial"/>
              </a:rPr>
              <a:t>EASY </a:t>
            </a:r>
            <a:r>
              <a:rPr lang="en-US" sz="2000" b="1" spc="-75">
                <a:solidFill>
                  <a:srgbClr val="004160"/>
                </a:solidFill>
                <a:latin typeface="Montserrat" panose="00000500000000000000" pitchFamily="2" charset="0"/>
                <a:cs typeface="Arial"/>
              </a:rPr>
              <a:t>INSTALLATION</a:t>
            </a:r>
            <a:endParaRPr lang="en-US" sz="2000">
              <a:latin typeface="Montserrat" panose="00000500000000000000" pitchFamily="2" charset="0"/>
              <a:cs typeface="Arial"/>
            </a:endParaRPr>
          </a:p>
          <a:p>
            <a:endParaRPr lang="en-US"/>
          </a:p>
        </p:txBody>
      </p:sp>
      <p:sp>
        <p:nvSpPr>
          <p:cNvPr id="14" name="TextBox 13">
            <a:extLst>
              <a:ext uri="{FF2B5EF4-FFF2-40B4-BE49-F238E27FC236}">
                <a16:creationId xmlns:a16="http://schemas.microsoft.com/office/drawing/2014/main" id="{128392B6-C51E-4FD5-9D58-FA5921378E74}"/>
              </a:ext>
            </a:extLst>
          </p:cNvPr>
          <p:cNvSpPr txBox="1"/>
          <p:nvPr/>
        </p:nvSpPr>
        <p:spPr>
          <a:xfrm>
            <a:off x="7834077" y="1200553"/>
            <a:ext cx="3541846" cy="984885"/>
          </a:xfrm>
          <a:prstGeom prst="rect">
            <a:avLst/>
          </a:prstGeom>
          <a:noFill/>
        </p:spPr>
        <p:txBody>
          <a:bodyPr wrap="square" lIns="91440" tIns="45720" rIns="91440" bIns="45720" rtlCol="0" anchor="t">
            <a:spAutoFit/>
          </a:bodyPr>
          <a:lstStyle/>
          <a:p>
            <a:pPr algn="ctr"/>
            <a:r>
              <a:rPr lang="en-US" sz="2000" b="1" spc="-110">
                <a:solidFill>
                  <a:srgbClr val="004160"/>
                </a:solidFill>
                <a:latin typeface="Montserrat" panose="00000500000000000000" pitchFamily="2" charset="0"/>
                <a:cs typeface="Arial"/>
              </a:rPr>
              <a:t>BLUE</a:t>
            </a:r>
            <a:r>
              <a:rPr lang="en-US" sz="2000" b="1" spc="-140">
                <a:solidFill>
                  <a:srgbClr val="004160"/>
                </a:solidFill>
                <a:latin typeface="Montserrat" panose="00000500000000000000" pitchFamily="2" charset="0"/>
                <a:cs typeface="Arial"/>
              </a:rPr>
              <a:t> </a:t>
            </a:r>
            <a:r>
              <a:rPr lang="en-US" sz="2000" b="1" spc="-90">
                <a:solidFill>
                  <a:srgbClr val="004160"/>
                </a:solidFill>
                <a:latin typeface="Montserrat" panose="00000500000000000000" pitchFamily="2" charset="0"/>
                <a:cs typeface="Arial"/>
              </a:rPr>
              <a:t>STREAM FIBER </a:t>
            </a:r>
            <a:r>
              <a:rPr lang="en-US" sz="2000" b="1" spc="-10">
                <a:solidFill>
                  <a:srgbClr val="004160"/>
                </a:solidFill>
                <a:latin typeface="Montserrat" panose="00000500000000000000" pitchFamily="2" charset="0"/>
                <a:cs typeface="Arial"/>
              </a:rPr>
              <a:t>GUARANTEE</a:t>
            </a:r>
            <a:endParaRPr lang="en-US" sz="2000">
              <a:latin typeface="Montserrat" panose="00000500000000000000" pitchFamily="2" charset="0"/>
              <a:cs typeface="Arial"/>
            </a:endParaRPr>
          </a:p>
          <a:p>
            <a:endParaRPr lang="en-US"/>
          </a:p>
        </p:txBody>
      </p:sp>
      <p:sp>
        <p:nvSpPr>
          <p:cNvPr id="2" name="Equals 1">
            <a:extLst>
              <a:ext uri="{FF2B5EF4-FFF2-40B4-BE49-F238E27FC236}">
                <a16:creationId xmlns:a16="http://schemas.microsoft.com/office/drawing/2014/main" id="{63573228-33B6-D5AD-6B6D-CE6D7616CF31}"/>
              </a:ext>
            </a:extLst>
          </p:cNvPr>
          <p:cNvSpPr/>
          <p:nvPr/>
        </p:nvSpPr>
        <p:spPr>
          <a:xfrm>
            <a:off x="7645145" y="1388527"/>
            <a:ext cx="432643" cy="304546"/>
          </a:xfrm>
          <a:prstGeom prst="mathEqual">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Plus Sign 2">
            <a:extLst>
              <a:ext uri="{FF2B5EF4-FFF2-40B4-BE49-F238E27FC236}">
                <a16:creationId xmlns:a16="http://schemas.microsoft.com/office/drawing/2014/main" id="{E79764EC-469A-8CFC-DD23-414B0F0DD714}"/>
              </a:ext>
            </a:extLst>
          </p:cNvPr>
          <p:cNvSpPr/>
          <p:nvPr/>
        </p:nvSpPr>
        <p:spPr>
          <a:xfrm>
            <a:off x="4182295" y="1362840"/>
            <a:ext cx="453937" cy="394224"/>
          </a:xfrm>
          <a:prstGeom prst="mathPlu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1195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B5433-9363-0CB6-209A-215FF4FA8B94}"/>
              </a:ext>
            </a:extLst>
          </p:cNvPr>
          <p:cNvSpPr>
            <a:spLocks noGrp="1"/>
          </p:cNvSpPr>
          <p:nvPr>
            <p:ph type="title"/>
          </p:nvPr>
        </p:nvSpPr>
        <p:spPr>
          <a:xfrm>
            <a:off x="53419" y="-256558"/>
            <a:ext cx="12085162" cy="1066491"/>
          </a:xfrm>
        </p:spPr>
        <p:txBody>
          <a:bodyPr/>
          <a:lstStyle/>
          <a:p>
            <a:pPr algn="ctr"/>
            <a:r>
              <a:rPr lang="en-US" sz="4000">
                <a:latin typeface="Montserrat" panose="00000500000000000000" pitchFamily="2" charset="0"/>
              </a:rPr>
              <a:t>Blue Stream Fiber Guarantee: Redundancy </a:t>
            </a:r>
          </a:p>
        </p:txBody>
      </p:sp>
      <p:grpSp>
        <p:nvGrpSpPr>
          <p:cNvPr id="5" name="object 7">
            <a:extLst>
              <a:ext uri="{FF2B5EF4-FFF2-40B4-BE49-F238E27FC236}">
                <a16:creationId xmlns:a16="http://schemas.microsoft.com/office/drawing/2014/main" id="{0CEC2504-087B-4559-87F7-DA7A05E35798}"/>
              </a:ext>
            </a:extLst>
          </p:cNvPr>
          <p:cNvGrpSpPr/>
          <p:nvPr/>
        </p:nvGrpSpPr>
        <p:grpSpPr>
          <a:xfrm>
            <a:off x="1026134" y="1870773"/>
            <a:ext cx="4086640" cy="3989253"/>
            <a:chOff x="1480819" y="1935733"/>
            <a:chExt cx="3663950" cy="3738245"/>
          </a:xfrm>
        </p:grpSpPr>
        <p:pic>
          <p:nvPicPr>
            <p:cNvPr id="6" name="object 8">
              <a:extLst>
                <a:ext uri="{FF2B5EF4-FFF2-40B4-BE49-F238E27FC236}">
                  <a16:creationId xmlns:a16="http://schemas.microsoft.com/office/drawing/2014/main" id="{CCE15068-EDFE-4684-ABC7-77CEEE06B0B9}"/>
                </a:ext>
              </a:extLst>
            </p:cNvPr>
            <p:cNvPicPr/>
            <p:nvPr/>
          </p:nvPicPr>
          <p:blipFill>
            <a:blip r:embed="rId3" cstate="print"/>
            <a:stretch>
              <a:fillRect/>
            </a:stretch>
          </p:blipFill>
          <p:spPr>
            <a:xfrm>
              <a:off x="1493519" y="1948433"/>
              <a:ext cx="3638550" cy="3712464"/>
            </a:xfrm>
            <a:prstGeom prst="rect">
              <a:avLst/>
            </a:prstGeom>
          </p:spPr>
        </p:pic>
        <p:sp>
          <p:nvSpPr>
            <p:cNvPr id="7" name="object 9">
              <a:extLst>
                <a:ext uri="{FF2B5EF4-FFF2-40B4-BE49-F238E27FC236}">
                  <a16:creationId xmlns:a16="http://schemas.microsoft.com/office/drawing/2014/main" id="{6A3CD290-274A-4649-8AF8-6B5A1F0235B5}"/>
                </a:ext>
              </a:extLst>
            </p:cNvPr>
            <p:cNvSpPr/>
            <p:nvPr/>
          </p:nvSpPr>
          <p:spPr>
            <a:xfrm>
              <a:off x="1487169" y="1942083"/>
              <a:ext cx="3651250" cy="3725545"/>
            </a:xfrm>
            <a:custGeom>
              <a:avLst/>
              <a:gdLst/>
              <a:ahLst/>
              <a:cxnLst/>
              <a:rect l="l" t="t" r="r" b="b"/>
              <a:pathLst>
                <a:path w="3651250" h="3725545">
                  <a:moveTo>
                    <a:pt x="0" y="0"/>
                  </a:moveTo>
                  <a:lnTo>
                    <a:pt x="3651250" y="0"/>
                  </a:lnTo>
                  <a:lnTo>
                    <a:pt x="3651250" y="3725164"/>
                  </a:lnTo>
                  <a:lnTo>
                    <a:pt x="0" y="3725164"/>
                  </a:lnTo>
                  <a:lnTo>
                    <a:pt x="0" y="0"/>
                  </a:lnTo>
                  <a:close/>
                </a:path>
              </a:pathLst>
            </a:custGeom>
            <a:ln w="12700">
              <a:solidFill>
                <a:srgbClr val="004160"/>
              </a:solidFill>
            </a:ln>
          </p:spPr>
          <p:txBody>
            <a:bodyPr wrap="square" lIns="0" tIns="0" rIns="0" bIns="0" rtlCol="0"/>
            <a:lstStyle/>
            <a:p>
              <a:endParaRPr/>
            </a:p>
          </p:txBody>
        </p:sp>
      </p:grpSp>
      <p:pic>
        <p:nvPicPr>
          <p:cNvPr id="8" name="object 10">
            <a:extLst>
              <a:ext uri="{FF2B5EF4-FFF2-40B4-BE49-F238E27FC236}">
                <a16:creationId xmlns:a16="http://schemas.microsoft.com/office/drawing/2014/main" id="{5F52E2B6-78E7-4E13-86F1-941B917BCE29}"/>
              </a:ext>
            </a:extLst>
          </p:cNvPr>
          <p:cNvPicPr/>
          <p:nvPr/>
        </p:nvPicPr>
        <p:blipFill>
          <a:blip r:embed="rId4" cstate="print"/>
          <a:stretch>
            <a:fillRect/>
          </a:stretch>
        </p:blipFill>
        <p:spPr>
          <a:xfrm>
            <a:off x="6925485" y="1975115"/>
            <a:ext cx="4226350" cy="3763058"/>
          </a:xfrm>
          <a:prstGeom prst="rect">
            <a:avLst/>
          </a:prstGeom>
        </p:spPr>
      </p:pic>
      <p:sp>
        <p:nvSpPr>
          <p:cNvPr id="9" name="TextBox 8">
            <a:extLst>
              <a:ext uri="{FF2B5EF4-FFF2-40B4-BE49-F238E27FC236}">
                <a16:creationId xmlns:a16="http://schemas.microsoft.com/office/drawing/2014/main" id="{F02DE6BB-3B7B-46F7-B288-B6CEDF69C79B}"/>
              </a:ext>
            </a:extLst>
          </p:cNvPr>
          <p:cNvSpPr txBox="1"/>
          <p:nvPr/>
        </p:nvSpPr>
        <p:spPr>
          <a:xfrm>
            <a:off x="1370263" y="1189290"/>
            <a:ext cx="3934582" cy="553998"/>
          </a:xfrm>
          <a:prstGeom prst="rect">
            <a:avLst/>
          </a:prstGeom>
          <a:noFill/>
        </p:spPr>
        <p:txBody>
          <a:bodyPr wrap="square" lIns="91440" tIns="45720" rIns="91440" bIns="45720" rtlCol="0" anchor="t">
            <a:spAutoFit/>
          </a:bodyPr>
          <a:lstStyle/>
          <a:p>
            <a:r>
              <a:rPr lang="en-US" sz="3000" b="1">
                <a:solidFill>
                  <a:schemeClr val="bg1"/>
                </a:solidFill>
                <a:latin typeface="Montserrat" panose="00000500000000000000" pitchFamily="2" charset="0"/>
              </a:rPr>
              <a:t>Statewide Ring</a:t>
            </a:r>
          </a:p>
        </p:txBody>
      </p:sp>
      <p:sp>
        <p:nvSpPr>
          <p:cNvPr id="10" name="TextBox 9">
            <a:extLst>
              <a:ext uri="{FF2B5EF4-FFF2-40B4-BE49-F238E27FC236}">
                <a16:creationId xmlns:a16="http://schemas.microsoft.com/office/drawing/2014/main" id="{644ED2BE-5D7B-4373-A423-27781527F180}"/>
              </a:ext>
            </a:extLst>
          </p:cNvPr>
          <p:cNvSpPr txBox="1"/>
          <p:nvPr/>
        </p:nvSpPr>
        <p:spPr>
          <a:xfrm>
            <a:off x="6702384" y="1189496"/>
            <a:ext cx="4449451" cy="553998"/>
          </a:xfrm>
          <a:prstGeom prst="rect">
            <a:avLst/>
          </a:prstGeom>
          <a:noFill/>
        </p:spPr>
        <p:txBody>
          <a:bodyPr wrap="square" lIns="91440" tIns="45720" rIns="91440" bIns="45720" rtlCol="0" anchor="t">
            <a:spAutoFit/>
          </a:bodyPr>
          <a:lstStyle/>
          <a:p>
            <a:pPr algn="ctr"/>
            <a:r>
              <a:rPr lang="en-US" sz="3000" b="1">
                <a:solidFill>
                  <a:schemeClr val="bg1"/>
                </a:solidFill>
                <a:latin typeface="Montserrat" panose="00000500000000000000" pitchFamily="2" charset="0"/>
              </a:rPr>
              <a:t>Local Ring</a:t>
            </a:r>
          </a:p>
        </p:txBody>
      </p:sp>
    </p:spTree>
    <p:extLst>
      <p:ext uri="{BB962C8B-B14F-4D97-AF65-F5344CB8AC3E}">
        <p14:creationId xmlns:p14="http://schemas.microsoft.com/office/powerpoint/2010/main" val="28463576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2F1E642-6710-28C5-5EA6-33A2CE9774B7}"/>
              </a:ext>
            </a:extLst>
          </p:cNvPr>
          <p:cNvSpPr>
            <a:spLocks noGrp="1"/>
          </p:cNvSpPr>
          <p:nvPr>
            <p:ph type="title"/>
          </p:nvPr>
        </p:nvSpPr>
        <p:spPr>
          <a:xfrm>
            <a:off x="5309111" y="280344"/>
            <a:ext cx="6823699" cy="1325563"/>
          </a:xfrm>
        </p:spPr>
        <p:txBody>
          <a:bodyPr vert="horz" lIns="91440" tIns="45720" rIns="91440" bIns="45720" rtlCol="0" anchor="ctr">
            <a:normAutofit/>
          </a:bodyPr>
          <a:lstStyle/>
          <a:p>
            <a:pPr algn="ctr"/>
            <a:r>
              <a:rPr lang="en-US">
                <a:solidFill>
                  <a:schemeClr val="tx1"/>
                </a:solidFill>
                <a:latin typeface="Montserrat"/>
              </a:rPr>
              <a:t>Service Updates</a:t>
            </a:r>
          </a:p>
        </p:txBody>
      </p:sp>
      <p:sp>
        <p:nvSpPr>
          <p:cNvPr id="17" name="Freeform: Shape 16">
            <a:extLst>
              <a:ext uri="{FF2B5EF4-FFF2-40B4-BE49-F238E27FC236}">
                <a16:creationId xmlns:a16="http://schemas.microsoft.com/office/drawing/2014/main" id="{CF62D2A7-8207-488C-9F46-316BA81A16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08"/>
            <a:ext cx="5609220" cy="584027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descr="A picture containing water sport, yellow, surfing, swimming&#10;&#10;Description automatically generated">
            <a:extLst>
              <a:ext uri="{FF2B5EF4-FFF2-40B4-BE49-F238E27FC236}">
                <a16:creationId xmlns:a16="http://schemas.microsoft.com/office/drawing/2014/main" id="{EB5FC055-249B-4E5A-A12F-C2B830A67BCE}"/>
              </a:ext>
            </a:extLst>
          </p:cNvPr>
          <p:cNvPicPr>
            <a:picLocks noChangeAspect="1"/>
          </p:cNvPicPr>
          <p:nvPr/>
        </p:nvPicPr>
        <p:blipFill rotWithShape="1">
          <a:blip r:embed="rId3"/>
          <a:srcRect r="27104" b="-1"/>
          <a:stretch/>
        </p:blipFill>
        <p:spPr>
          <a:xfrm>
            <a:off x="3" y="-2"/>
            <a:ext cx="5427127" cy="5639631"/>
          </a:xfrm>
          <a:custGeom>
            <a:avLst/>
            <a:gdLst/>
            <a:ahLst/>
            <a:cxnLst/>
            <a:rect l="l" t="t" r="r" b="b"/>
            <a:pathLst>
              <a:path w="5441859" h="5654940">
                <a:moveTo>
                  <a:pt x="0" y="0"/>
                </a:moveTo>
                <a:lnTo>
                  <a:pt x="4400491" y="0"/>
                </a:lnTo>
                <a:lnTo>
                  <a:pt x="4484766" y="76595"/>
                </a:lnTo>
                <a:cubicBezTo>
                  <a:pt x="5076107" y="667936"/>
                  <a:pt x="5441859" y="1484866"/>
                  <a:pt x="5441859" y="2387221"/>
                </a:cubicBezTo>
                <a:cubicBezTo>
                  <a:pt x="5441859" y="4191932"/>
                  <a:pt x="3978851" y="5654940"/>
                  <a:pt x="2174140" y="5654940"/>
                </a:cubicBezTo>
                <a:cubicBezTo>
                  <a:pt x="1412778" y="5654940"/>
                  <a:pt x="712231" y="5394557"/>
                  <a:pt x="156693" y="4957981"/>
                </a:cubicBezTo>
                <a:lnTo>
                  <a:pt x="0" y="4820612"/>
                </a:lnTo>
                <a:close/>
              </a:path>
            </a:pathLst>
          </a:custGeom>
        </p:spPr>
      </p:pic>
      <p:sp>
        <p:nvSpPr>
          <p:cNvPr id="3" name="Content Placeholder 2">
            <a:extLst>
              <a:ext uri="{FF2B5EF4-FFF2-40B4-BE49-F238E27FC236}">
                <a16:creationId xmlns:a16="http://schemas.microsoft.com/office/drawing/2014/main" id="{8EB6F80D-6855-0296-6D86-0DB233CCA87B}"/>
              </a:ext>
            </a:extLst>
          </p:cNvPr>
          <p:cNvSpPr>
            <a:spLocks noGrp="1"/>
          </p:cNvSpPr>
          <p:nvPr>
            <p:ph sz="half" idx="16"/>
          </p:nvPr>
        </p:nvSpPr>
        <p:spPr>
          <a:xfrm>
            <a:off x="5729405" y="1299248"/>
            <a:ext cx="5227290" cy="5278408"/>
          </a:xfrm>
        </p:spPr>
        <p:txBody>
          <a:bodyPr vert="horz" lIns="91440" tIns="45720" rIns="91440" bIns="45720" rtlCol="0" anchor="t">
            <a:noAutofit/>
          </a:bodyPr>
          <a:lstStyle/>
          <a:p>
            <a:pPr marL="298450" marR="569595">
              <a:lnSpc>
                <a:spcPct val="150000"/>
              </a:lnSpc>
              <a:spcBef>
                <a:spcPts val="484"/>
              </a:spcBef>
              <a:buClr>
                <a:schemeClr val="tx1"/>
              </a:buClr>
              <a:tabLst>
                <a:tab pos="241300" algn="l"/>
              </a:tabLst>
            </a:pPr>
            <a:r>
              <a:rPr lang="en-US" sz="2100" b="1" spc="-10" dirty="0">
                <a:solidFill>
                  <a:schemeClr val="tx1"/>
                </a:solidFill>
                <a:latin typeface="Montserrat"/>
              </a:rPr>
              <a:t>Construction</a:t>
            </a:r>
            <a:r>
              <a:rPr lang="en-US" sz="2100" b="1" spc="-75" dirty="0">
                <a:solidFill>
                  <a:schemeClr val="tx1"/>
                </a:solidFill>
                <a:latin typeface="Montserrat"/>
              </a:rPr>
              <a:t> of</a:t>
            </a:r>
            <a:r>
              <a:rPr lang="en-US" sz="2100" b="1" spc="-110" dirty="0">
                <a:solidFill>
                  <a:schemeClr val="tx1"/>
                </a:solidFill>
                <a:latin typeface="Montserrat"/>
              </a:rPr>
              <a:t> </a:t>
            </a:r>
            <a:r>
              <a:rPr lang="en-US" sz="2100" b="1" dirty="0">
                <a:solidFill>
                  <a:schemeClr val="tx1"/>
                </a:solidFill>
                <a:latin typeface="Montserrat"/>
              </a:rPr>
              <a:t>Fiber</a:t>
            </a:r>
            <a:r>
              <a:rPr lang="en-US" sz="2100" b="1" spc="-55" dirty="0">
                <a:solidFill>
                  <a:schemeClr val="tx1"/>
                </a:solidFill>
                <a:latin typeface="Montserrat"/>
              </a:rPr>
              <a:t> </a:t>
            </a:r>
            <a:r>
              <a:rPr lang="en-US" sz="2100" b="1" dirty="0">
                <a:solidFill>
                  <a:schemeClr val="tx1"/>
                </a:solidFill>
                <a:latin typeface="Montserrat"/>
              </a:rPr>
              <a:t>expected</a:t>
            </a:r>
            <a:r>
              <a:rPr lang="en-US" sz="2100" b="1" spc="5" dirty="0">
                <a:solidFill>
                  <a:schemeClr val="tx1"/>
                </a:solidFill>
                <a:latin typeface="Montserrat"/>
              </a:rPr>
              <a:t> </a:t>
            </a:r>
            <a:r>
              <a:rPr lang="en-US" sz="2100" b="1" dirty="0">
                <a:solidFill>
                  <a:schemeClr val="tx1"/>
                </a:solidFill>
                <a:latin typeface="Montserrat"/>
              </a:rPr>
              <a:t>to</a:t>
            </a:r>
            <a:r>
              <a:rPr lang="en-US" sz="2100" b="1" spc="-5" dirty="0">
                <a:solidFill>
                  <a:schemeClr val="tx1"/>
                </a:solidFill>
                <a:latin typeface="Montserrat"/>
              </a:rPr>
              <a:t> </a:t>
            </a:r>
            <a:r>
              <a:rPr lang="en-US" sz="2100" b="1" spc="-25" dirty="0">
                <a:solidFill>
                  <a:schemeClr val="tx1"/>
                </a:solidFill>
                <a:latin typeface="Montserrat"/>
              </a:rPr>
              <a:t>be </a:t>
            </a:r>
            <a:r>
              <a:rPr lang="en-US" sz="2100" b="1" dirty="0">
                <a:solidFill>
                  <a:schemeClr val="tx1"/>
                </a:solidFill>
                <a:latin typeface="Montserrat"/>
              </a:rPr>
              <a:t>completed</a:t>
            </a:r>
            <a:r>
              <a:rPr lang="en-US" sz="2100" b="1" spc="65" dirty="0">
                <a:solidFill>
                  <a:schemeClr val="tx1"/>
                </a:solidFill>
                <a:latin typeface="Montserrat"/>
              </a:rPr>
              <a:t> </a:t>
            </a:r>
            <a:r>
              <a:rPr lang="en-US" sz="2100" b="1" dirty="0">
                <a:solidFill>
                  <a:schemeClr val="tx1"/>
                </a:solidFill>
                <a:latin typeface="Montserrat"/>
              </a:rPr>
              <a:t>by</a:t>
            </a:r>
            <a:r>
              <a:rPr lang="en-US" sz="2100" b="1" spc="-5" dirty="0">
                <a:solidFill>
                  <a:schemeClr val="tx1"/>
                </a:solidFill>
                <a:latin typeface="Montserrat"/>
              </a:rPr>
              <a:t> </a:t>
            </a:r>
            <a:r>
              <a:rPr lang="en-US" sz="2100" b="1" spc="-35" dirty="0">
                <a:solidFill>
                  <a:schemeClr val="tx1"/>
                </a:solidFill>
                <a:latin typeface="Montserrat"/>
              </a:rPr>
              <a:t>beginning of May</a:t>
            </a:r>
            <a:r>
              <a:rPr lang="en-US" sz="2100" b="1" spc="-10" dirty="0">
                <a:solidFill>
                  <a:schemeClr val="tx1"/>
                </a:solidFill>
                <a:latin typeface="Montserrat"/>
              </a:rPr>
              <a:t>.</a:t>
            </a:r>
          </a:p>
          <a:p>
            <a:pPr marL="298450" marR="569595">
              <a:lnSpc>
                <a:spcPct val="150000"/>
              </a:lnSpc>
              <a:spcBef>
                <a:spcPts val="484"/>
              </a:spcBef>
              <a:buClr>
                <a:schemeClr val="tx1"/>
              </a:buClr>
              <a:tabLst>
                <a:tab pos="241300" algn="l"/>
              </a:tabLst>
            </a:pPr>
            <a:r>
              <a:rPr lang="en-US" sz="2100" b="1" spc="-10" dirty="0">
                <a:solidFill>
                  <a:schemeClr val="tx1"/>
                </a:solidFill>
                <a:latin typeface="Montserrat"/>
              </a:rPr>
              <a:t>On-Site Registration estimated April 29 – May 3.</a:t>
            </a:r>
          </a:p>
          <a:p>
            <a:pPr marL="298450" marR="155575">
              <a:lnSpc>
                <a:spcPct val="150000"/>
              </a:lnSpc>
              <a:spcBef>
                <a:spcPts val="2210"/>
              </a:spcBef>
              <a:buClr>
                <a:schemeClr val="tx1"/>
              </a:buClr>
              <a:tabLst>
                <a:tab pos="241300" algn="l"/>
              </a:tabLst>
            </a:pPr>
            <a:r>
              <a:rPr lang="en-US" sz="2100" b="1" spc="-70" dirty="0">
                <a:solidFill>
                  <a:schemeClr val="tx1"/>
                </a:solidFill>
                <a:latin typeface="Montserrat"/>
              </a:rPr>
              <a:t>Call-</a:t>
            </a:r>
            <a:r>
              <a:rPr lang="en-US" sz="2100" b="1" dirty="0">
                <a:solidFill>
                  <a:schemeClr val="tx1"/>
                </a:solidFill>
                <a:latin typeface="Montserrat"/>
              </a:rPr>
              <a:t>in</a:t>
            </a:r>
            <a:r>
              <a:rPr lang="en-US" sz="2100" b="1" spc="-80" dirty="0">
                <a:solidFill>
                  <a:schemeClr val="tx1"/>
                </a:solidFill>
                <a:latin typeface="Montserrat"/>
              </a:rPr>
              <a:t> </a:t>
            </a:r>
            <a:r>
              <a:rPr lang="en-US" sz="2100" b="1" dirty="0">
                <a:solidFill>
                  <a:schemeClr val="tx1"/>
                </a:solidFill>
                <a:latin typeface="Montserrat"/>
              </a:rPr>
              <a:t>registration dates will begin April 30.</a:t>
            </a:r>
          </a:p>
          <a:p>
            <a:pPr marL="298450" marR="5080">
              <a:lnSpc>
                <a:spcPct val="150000"/>
              </a:lnSpc>
              <a:spcBef>
                <a:spcPts val="2205"/>
              </a:spcBef>
              <a:buClr>
                <a:schemeClr val="tx1"/>
              </a:buClr>
              <a:tabLst>
                <a:tab pos="241300" algn="l"/>
              </a:tabLst>
            </a:pPr>
            <a:r>
              <a:rPr lang="en-US" sz="2100" b="1" spc="-20" dirty="0">
                <a:solidFill>
                  <a:schemeClr val="tx1"/>
                </a:solidFill>
                <a:latin typeface="Montserrat"/>
              </a:rPr>
              <a:t>Installation</a:t>
            </a:r>
            <a:r>
              <a:rPr lang="en-US" sz="2100" b="1" spc="-50" dirty="0">
                <a:solidFill>
                  <a:schemeClr val="tx1"/>
                </a:solidFill>
                <a:latin typeface="Montserrat"/>
              </a:rPr>
              <a:t> </a:t>
            </a:r>
            <a:r>
              <a:rPr lang="en-US" sz="2100" b="1" dirty="0">
                <a:solidFill>
                  <a:schemeClr val="tx1"/>
                </a:solidFill>
                <a:latin typeface="Montserrat"/>
              </a:rPr>
              <a:t>period</a:t>
            </a:r>
            <a:r>
              <a:rPr lang="en-US" sz="2100" b="1" spc="10" dirty="0">
                <a:solidFill>
                  <a:schemeClr val="tx1"/>
                </a:solidFill>
                <a:latin typeface="Montserrat"/>
              </a:rPr>
              <a:t> </a:t>
            </a:r>
            <a:r>
              <a:rPr lang="en-US" sz="2100" b="1" dirty="0">
                <a:solidFill>
                  <a:schemeClr val="tx1"/>
                </a:solidFill>
                <a:latin typeface="Montserrat"/>
              </a:rPr>
              <a:t>is</a:t>
            </a:r>
            <a:r>
              <a:rPr lang="en-US" sz="2100" b="1" spc="-120" dirty="0">
                <a:solidFill>
                  <a:schemeClr val="tx1"/>
                </a:solidFill>
                <a:latin typeface="Montserrat"/>
              </a:rPr>
              <a:t> </a:t>
            </a:r>
            <a:r>
              <a:rPr lang="en-US" sz="2100" b="1" dirty="0">
                <a:solidFill>
                  <a:schemeClr val="tx1"/>
                </a:solidFill>
                <a:latin typeface="Montserrat"/>
              </a:rPr>
              <a:t>expected</a:t>
            </a:r>
            <a:r>
              <a:rPr lang="en-US" sz="2100" b="1" spc="20" dirty="0">
                <a:solidFill>
                  <a:schemeClr val="tx1"/>
                </a:solidFill>
                <a:latin typeface="Montserrat"/>
              </a:rPr>
              <a:t> </a:t>
            </a:r>
            <a:r>
              <a:rPr lang="en-US" sz="2100" b="1" dirty="0">
                <a:solidFill>
                  <a:schemeClr val="tx1"/>
                </a:solidFill>
                <a:latin typeface="Montserrat"/>
              </a:rPr>
              <a:t>to</a:t>
            </a:r>
            <a:r>
              <a:rPr lang="en-US" sz="2100" b="1" spc="10" dirty="0">
                <a:solidFill>
                  <a:schemeClr val="tx1"/>
                </a:solidFill>
                <a:latin typeface="Montserrat"/>
              </a:rPr>
              <a:t> </a:t>
            </a:r>
            <a:r>
              <a:rPr lang="en-US" sz="2100" b="1" dirty="0">
                <a:solidFill>
                  <a:schemeClr val="tx1"/>
                </a:solidFill>
                <a:latin typeface="Montserrat"/>
              </a:rPr>
              <a:t>begin</a:t>
            </a:r>
            <a:r>
              <a:rPr lang="en-US" sz="2100" b="1" spc="-55" dirty="0">
                <a:solidFill>
                  <a:schemeClr val="tx1"/>
                </a:solidFill>
                <a:latin typeface="Montserrat"/>
              </a:rPr>
              <a:t> </a:t>
            </a:r>
            <a:r>
              <a:rPr lang="en-US" sz="2100" b="1" spc="-25" dirty="0">
                <a:solidFill>
                  <a:schemeClr val="tx1"/>
                </a:solidFill>
                <a:latin typeface="Montserrat"/>
              </a:rPr>
              <a:t>in </a:t>
            </a:r>
            <a:r>
              <a:rPr lang="en-US" sz="2100" b="1" dirty="0">
                <a:solidFill>
                  <a:schemeClr val="tx1"/>
                </a:solidFill>
                <a:latin typeface="Montserrat"/>
              </a:rPr>
              <a:t>early</a:t>
            </a:r>
            <a:r>
              <a:rPr lang="en-US" sz="2100" b="1" spc="-160" dirty="0">
                <a:solidFill>
                  <a:schemeClr val="tx1"/>
                </a:solidFill>
                <a:latin typeface="Montserrat"/>
              </a:rPr>
              <a:t> May.</a:t>
            </a:r>
            <a:endParaRPr lang="en-US" sz="2100" b="1" spc="-10" dirty="0">
              <a:solidFill>
                <a:schemeClr val="tx1"/>
              </a:solidFill>
              <a:latin typeface="Montserrat"/>
            </a:endParaRPr>
          </a:p>
          <a:p>
            <a:endParaRPr lang="en-US" sz="2100" b="1" dirty="0">
              <a:solidFill>
                <a:schemeClr val="tx1"/>
              </a:solidFill>
              <a:latin typeface="Montserrat"/>
              <a:ea typeface="Calibri"/>
              <a:cs typeface="Calibri"/>
            </a:endParaRPr>
          </a:p>
        </p:txBody>
      </p:sp>
    </p:spTree>
    <p:extLst>
      <p:ext uri="{BB962C8B-B14F-4D97-AF65-F5344CB8AC3E}">
        <p14:creationId xmlns:p14="http://schemas.microsoft.com/office/powerpoint/2010/main" val="586963834"/>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5A59F003-E00A-43F9-91DC-CC54E3B874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person and person holding guns&#10;&#10;Description automatically generated with low confidence">
            <a:extLst>
              <a:ext uri="{FF2B5EF4-FFF2-40B4-BE49-F238E27FC236}">
                <a16:creationId xmlns:a16="http://schemas.microsoft.com/office/drawing/2014/main" id="{34EBC6FA-BB53-42A4-B602-8096163A29FD}"/>
              </a:ext>
            </a:extLst>
          </p:cNvPr>
          <p:cNvPicPr>
            <a:picLocks noChangeAspect="1"/>
          </p:cNvPicPr>
          <p:nvPr/>
        </p:nvPicPr>
        <p:blipFill rotWithShape="1">
          <a:blip r:embed="rId3"/>
          <a:srcRect l="5819" t="23391" r="3272"/>
          <a:stretch/>
        </p:blipFill>
        <p:spPr>
          <a:xfrm>
            <a:off x="20" y="10"/>
            <a:ext cx="12191981" cy="6857990"/>
          </a:xfrm>
          <a:prstGeom prst="rect">
            <a:avLst/>
          </a:prstGeom>
        </p:spPr>
      </p:pic>
      <p:sp>
        <p:nvSpPr>
          <p:cNvPr id="15" name="Rectangle 14">
            <a:extLst>
              <a:ext uri="{FF2B5EF4-FFF2-40B4-BE49-F238E27FC236}">
                <a16:creationId xmlns:a16="http://schemas.microsoft.com/office/drawing/2014/main" id="{D74A4382-E3AD-430A-9A1F-DFA3E0E77A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799868" y="-1534136"/>
            <a:ext cx="4592270" cy="12192001"/>
          </a:xfrm>
          <a:prstGeom prst="rect">
            <a:avLst/>
          </a:prstGeom>
          <a:gradFill>
            <a:gsLst>
              <a:gs pos="35000">
                <a:schemeClr val="bg1">
                  <a:alpha val="46000"/>
                </a:schemeClr>
              </a:gs>
              <a:gs pos="21000">
                <a:schemeClr val="bg1">
                  <a:alpha val="30000"/>
                </a:schemeClr>
              </a:gs>
              <a:gs pos="0">
                <a:schemeClr val="bg1">
                  <a:alpha val="0"/>
                </a:schemeClr>
              </a:gs>
              <a:gs pos="100000">
                <a:schemeClr val="bg1">
                  <a:alpha val="9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A53F98D-677C-307C-1549-1FF48C9F6FD7}"/>
              </a:ext>
            </a:extLst>
          </p:cNvPr>
          <p:cNvSpPr>
            <a:spLocks noGrp="1"/>
          </p:cNvSpPr>
          <p:nvPr>
            <p:ph type="title"/>
          </p:nvPr>
        </p:nvSpPr>
        <p:spPr>
          <a:xfrm>
            <a:off x="404553" y="3091928"/>
            <a:ext cx="9078562" cy="2387600"/>
          </a:xfrm>
        </p:spPr>
        <p:txBody>
          <a:bodyPr vert="horz" lIns="91440" tIns="45720" rIns="91440" bIns="45720" rtlCol="0" anchor="b">
            <a:normAutofit/>
          </a:bodyPr>
          <a:lstStyle/>
          <a:p>
            <a:r>
              <a:rPr lang="en-US" sz="5400">
                <a:solidFill>
                  <a:schemeClr val="tx1"/>
                </a:solidFill>
                <a:latin typeface="Montserrat"/>
              </a:rPr>
              <a:t>Products &amp; Services</a:t>
            </a:r>
          </a:p>
        </p:txBody>
      </p:sp>
      <p:sp>
        <p:nvSpPr>
          <p:cNvPr id="17" name="Rectangle: Rounded Corners 16">
            <a:extLst>
              <a:ext uri="{FF2B5EF4-FFF2-40B4-BE49-F238E27FC236}">
                <a16:creationId xmlns:a16="http://schemas.microsoft.com/office/drawing/2014/main" id="{79F40191-0F44-4FD1-82CC-ACB507C14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575039"/>
            <a:ext cx="9785897" cy="6858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52401167"/>
      </p:ext>
    </p:extLst>
  </p:cSld>
  <p:clrMapOvr>
    <a:overrideClrMapping bg1="dk1" tx1="lt1" bg2="dk2" tx2="lt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C9F6F-389B-1FDF-DEC8-97674F35420B}"/>
              </a:ext>
            </a:extLst>
          </p:cNvPr>
          <p:cNvSpPr>
            <a:spLocks noGrp="1"/>
          </p:cNvSpPr>
          <p:nvPr>
            <p:ph type="title"/>
          </p:nvPr>
        </p:nvSpPr>
        <p:spPr>
          <a:xfrm>
            <a:off x="325386" y="112591"/>
            <a:ext cx="10794591" cy="1325563"/>
          </a:xfrm>
        </p:spPr>
        <p:txBody>
          <a:bodyPr/>
          <a:lstStyle/>
          <a:p>
            <a:r>
              <a:rPr lang="en-US">
                <a:solidFill>
                  <a:srgbClr val="04617B"/>
                </a:solidFill>
                <a:latin typeface="Montserrat"/>
              </a:rPr>
              <a:t>Bulk Internet Services </a:t>
            </a:r>
            <a:r>
              <a:rPr lang="en-US" sz="2000">
                <a:solidFill>
                  <a:srgbClr val="007DB2"/>
                </a:solidFill>
                <a:latin typeface="Montserrat"/>
              </a:rPr>
              <a:t>(included with HOA Dues)</a:t>
            </a:r>
          </a:p>
        </p:txBody>
      </p:sp>
      <p:sp>
        <p:nvSpPr>
          <p:cNvPr id="3" name="Text Placeholder 2">
            <a:extLst>
              <a:ext uri="{FF2B5EF4-FFF2-40B4-BE49-F238E27FC236}">
                <a16:creationId xmlns:a16="http://schemas.microsoft.com/office/drawing/2014/main" id="{D37C4B46-C1CB-3FB6-E1C4-FEBD67B83E38}"/>
              </a:ext>
            </a:extLst>
          </p:cNvPr>
          <p:cNvSpPr>
            <a:spLocks noGrp="1"/>
          </p:cNvSpPr>
          <p:nvPr>
            <p:ph type="body" idx="1"/>
          </p:nvPr>
        </p:nvSpPr>
        <p:spPr>
          <a:xfrm>
            <a:off x="350100" y="1300097"/>
            <a:ext cx="11341787" cy="517475"/>
          </a:xfrm>
        </p:spPr>
        <p:txBody>
          <a:bodyPr vert="horz" lIns="91440" tIns="45720" rIns="91440" bIns="45720" rtlCol="0" anchor="t">
            <a:normAutofit/>
          </a:bodyPr>
          <a:lstStyle/>
          <a:p>
            <a:r>
              <a:rPr lang="en-US" b="1" spc="-70" dirty="0">
                <a:solidFill>
                  <a:srgbClr val="067AAB"/>
                </a:solidFill>
                <a:latin typeface="Montserrat"/>
                <a:cs typeface="Arial"/>
              </a:rPr>
              <a:t>Your</a:t>
            </a:r>
            <a:r>
              <a:rPr lang="en-US" sz="2400" b="1" spc="-175" dirty="0">
                <a:solidFill>
                  <a:srgbClr val="067AAB"/>
                </a:solidFill>
                <a:latin typeface="Montserrat"/>
                <a:cs typeface="Arial"/>
              </a:rPr>
              <a:t> </a:t>
            </a:r>
            <a:r>
              <a:rPr lang="en-US" sz="2400" b="1" spc="-80" dirty="0">
                <a:solidFill>
                  <a:srgbClr val="067AAB"/>
                </a:solidFill>
                <a:latin typeface="Montserrat"/>
                <a:cs typeface="Arial"/>
              </a:rPr>
              <a:t>Community</a:t>
            </a:r>
            <a:r>
              <a:rPr lang="en-US" sz="2400" b="1" spc="-135" dirty="0">
                <a:solidFill>
                  <a:srgbClr val="067AAB"/>
                </a:solidFill>
                <a:latin typeface="Montserrat"/>
                <a:cs typeface="Arial"/>
              </a:rPr>
              <a:t> </a:t>
            </a:r>
            <a:r>
              <a:rPr lang="en-US" sz="2400" b="1" spc="-45" dirty="0">
                <a:solidFill>
                  <a:srgbClr val="067AAB"/>
                </a:solidFill>
                <a:latin typeface="Montserrat"/>
                <a:cs typeface="Arial"/>
              </a:rPr>
              <a:t>will</a:t>
            </a:r>
            <a:r>
              <a:rPr lang="en-US" sz="2400" b="1" spc="-150" dirty="0">
                <a:solidFill>
                  <a:srgbClr val="067AAB"/>
                </a:solidFill>
                <a:latin typeface="Montserrat"/>
                <a:cs typeface="Arial"/>
              </a:rPr>
              <a:t> </a:t>
            </a:r>
            <a:r>
              <a:rPr lang="en-US" sz="2400" b="1" spc="-65" dirty="0">
                <a:solidFill>
                  <a:srgbClr val="067AAB"/>
                </a:solidFill>
                <a:latin typeface="Montserrat"/>
                <a:cs typeface="Arial"/>
              </a:rPr>
              <a:t>receive</a:t>
            </a:r>
            <a:r>
              <a:rPr lang="en-US" sz="2400" b="1" spc="-95" dirty="0">
                <a:solidFill>
                  <a:srgbClr val="067AAB"/>
                </a:solidFill>
                <a:latin typeface="Montserrat"/>
                <a:cs typeface="Arial"/>
              </a:rPr>
              <a:t> </a:t>
            </a:r>
            <a:r>
              <a:rPr lang="en-US" sz="2400" b="1" spc="-30" dirty="0">
                <a:solidFill>
                  <a:srgbClr val="067AAB"/>
                </a:solidFill>
                <a:latin typeface="Montserrat"/>
                <a:cs typeface="Arial"/>
              </a:rPr>
              <a:t>internet</a:t>
            </a:r>
            <a:r>
              <a:rPr lang="en-US" sz="2400" b="1" spc="-65" dirty="0">
                <a:solidFill>
                  <a:srgbClr val="067AAB"/>
                </a:solidFill>
                <a:latin typeface="Montserrat"/>
                <a:cs typeface="Arial"/>
              </a:rPr>
              <a:t> </a:t>
            </a:r>
            <a:r>
              <a:rPr lang="en-US" sz="2400" b="1" spc="-35" dirty="0">
                <a:solidFill>
                  <a:srgbClr val="067AAB"/>
                </a:solidFill>
                <a:latin typeface="Montserrat"/>
                <a:cs typeface="Arial"/>
              </a:rPr>
              <a:t>with</a:t>
            </a:r>
            <a:r>
              <a:rPr lang="en-US" sz="2400" b="1" spc="-180" dirty="0">
                <a:solidFill>
                  <a:srgbClr val="067AAB"/>
                </a:solidFill>
                <a:latin typeface="Montserrat"/>
                <a:cs typeface="Arial"/>
              </a:rPr>
              <a:t> </a:t>
            </a:r>
            <a:r>
              <a:rPr lang="en-US" sz="2400" b="1" spc="-75" dirty="0">
                <a:solidFill>
                  <a:srgbClr val="067AAB"/>
                </a:solidFill>
                <a:latin typeface="Montserrat"/>
                <a:cs typeface="Arial"/>
              </a:rPr>
              <a:t>speeds</a:t>
            </a:r>
            <a:r>
              <a:rPr lang="en-US" sz="2400" b="1" spc="-220" dirty="0">
                <a:solidFill>
                  <a:srgbClr val="067AAB"/>
                </a:solidFill>
                <a:latin typeface="Montserrat"/>
                <a:cs typeface="Arial"/>
              </a:rPr>
              <a:t> </a:t>
            </a:r>
            <a:r>
              <a:rPr lang="en-US" sz="2400" b="1" dirty="0">
                <a:solidFill>
                  <a:srgbClr val="067AAB"/>
                </a:solidFill>
                <a:latin typeface="Montserrat"/>
                <a:cs typeface="Arial"/>
              </a:rPr>
              <a:t>of</a:t>
            </a:r>
            <a:r>
              <a:rPr lang="en-US" b="1" spc="-100" dirty="0">
                <a:solidFill>
                  <a:srgbClr val="067AAB"/>
                </a:solidFill>
                <a:latin typeface="Montserrat"/>
                <a:cs typeface="Arial"/>
              </a:rPr>
              <a:t>  1 GIG</a:t>
            </a:r>
            <a:r>
              <a:rPr lang="en-US" sz="2400" b="1" spc="-20" dirty="0">
                <a:solidFill>
                  <a:srgbClr val="067AAB"/>
                </a:solidFill>
                <a:latin typeface="Montserrat"/>
                <a:cs typeface="Arial"/>
              </a:rPr>
              <a:t> </a:t>
            </a:r>
            <a:endParaRPr lang="en-US" sz="2400" dirty="0">
              <a:latin typeface="Montserrat"/>
              <a:cs typeface="Arial"/>
            </a:endParaRPr>
          </a:p>
          <a:p>
            <a:endParaRPr lang="en-US" dirty="0"/>
          </a:p>
        </p:txBody>
      </p:sp>
      <p:graphicFrame>
        <p:nvGraphicFramePr>
          <p:cNvPr id="8" name="TextBox 4">
            <a:extLst>
              <a:ext uri="{FF2B5EF4-FFF2-40B4-BE49-F238E27FC236}">
                <a16:creationId xmlns:a16="http://schemas.microsoft.com/office/drawing/2014/main" id="{C172019B-CABB-5F3A-259F-D2DDE9AD61C6}"/>
              </a:ext>
            </a:extLst>
          </p:cNvPr>
          <p:cNvGraphicFramePr/>
          <p:nvPr>
            <p:extLst>
              <p:ext uri="{D42A27DB-BD31-4B8C-83A1-F6EECF244321}">
                <p14:modId xmlns:p14="http://schemas.microsoft.com/office/powerpoint/2010/main" val="3053431613"/>
              </p:ext>
            </p:extLst>
          </p:nvPr>
        </p:nvGraphicFramePr>
        <p:xfrm>
          <a:off x="325386" y="2005291"/>
          <a:ext cx="11206264" cy="38023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10792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977E2-F788-939B-AB46-2B9D83DD1E9C}"/>
              </a:ext>
            </a:extLst>
          </p:cNvPr>
          <p:cNvSpPr>
            <a:spLocks noGrp="1"/>
          </p:cNvSpPr>
          <p:nvPr>
            <p:ph type="title"/>
          </p:nvPr>
        </p:nvSpPr>
        <p:spPr>
          <a:xfrm>
            <a:off x="284611" y="287374"/>
            <a:ext cx="12192000" cy="1325563"/>
          </a:xfrm>
        </p:spPr>
        <p:txBody>
          <a:bodyPr>
            <a:normAutofit/>
          </a:bodyPr>
          <a:lstStyle/>
          <a:p>
            <a:r>
              <a:rPr lang="en-US">
                <a:solidFill>
                  <a:srgbClr val="04617B"/>
                </a:solidFill>
                <a:latin typeface="Montserrat"/>
              </a:rPr>
              <a:t>TV Services </a:t>
            </a:r>
            <a:r>
              <a:rPr lang="en-US" sz="2200">
                <a:solidFill>
                  <a:srgbClr val="007DB2"/>
                </a:solidFill>
                <a:latin typeface="Montserrat"/>
              </a:rPr>
              <a:t>(Included with HOA Dues) </a:t>
            </a:r>
            <a:endParaRPr lang="en-US" sz="2200">
              <a:solidFill>
                <a:srgbClr val="007DB2"/>
              </a:solidFill>
              <a:latin typeface="Montserrat" panose="00000500000000000000" pitchFamily="2" charset="0"/>
            </a:endParaRPr>
          </a:p>
        </p:txBody>
      </p:sp>
      <p:sp>
        <p:nvSpPr>
          <p:cNvPr id="3" name="Content Placeholder 2">
            <a:extLst>
              <a:ext uri="{FF2B5EF4-FFF2-40B4-BE49-F238E27FC236}">
                <a16:creationId xmlns:a16="http://schemas.microsoft.com/office/drawing/2014/main" id="{9B1A2C12-40E7-AE55-30FE-7802692775EA}"/>
              </a:ext>
            </a:extLst>
          </p:cNvPr>
          <p:cNvSpPr>
            <a:spLocks noGrp="1"/>
          </p:cNvSpPr>
          <p:nvPr>
            <p:ph idx="1"/>
          </p:nvPr>
        </p:nvSpPr>
        <p:spPr>
          <a:xfrm>
            <a:off x="282019" y="2235261"/>
            <a:ext cx="6052793" cy="3626209"/>
          </a:xfrm>
        </p:spPr>
        <p:txBody>
          <a:bodyPr vert="horz" lIns="91440" tIns="45720" rIns="91440" bIns="45720" rtlCol="0" anchor="t">
            <a:normAutofit fontScale="70000" lnSpcReduction="20000"/>
          </a:bodyPr>
          <a:lstStyle/>
          <a:p>
            <a:pPr>
              <a:lnSpc>
                <a:spcPct val="150000"/>
              </a:lnSpc>
              <a:buClr>
                <a:srgbClr val="007DB2"/>
              </a:buClr>
            </a:pPr>
            <a:r>
              <a:rPr lang="en-US" sz="2000" b="1" dirty="0">
                <a:latin typeface="Montserrat"/>
              </a:rPr>
              <a:t>Digital Core + Plus TV Package with 300+ Channels</a:t>
            </a:r>
          </a:p>
          <a:p>
            <a:pPr>
              <a:lnSpc>
                <a:spcPct val="150000"/>
              </a:lnSpc>
              <a:buClr>
                <a:srgbClr val="007DB2"/>
              </a:buClr>
            </a:pPr>
            <a:r>
              <a:rPr lang="en-US" sz="2000" b="1" dirty="0">
                <a:latin typeface="Montserrat"/>
              </a:rPr>
              <a:t>HBO + MAX and Sports Plus</a:t>
            </a:r>
          </a:p>
          <a:p>
            <a:pPr>
              <a:lnSpc>
                <a:spcPct val="150000"/>
              </a:lnSpc>
              <a:buClr>
                <a:srgbClr val="007DB2"/>
              </a:buClr>
            </a:pPr>
            <a:r>
              <a:rPr lang="en-US" sz="2000" b="1" dirty="0">
                <a:latin typeface="Montserrat"/>
              </a:rPr>
              <a:t>TiVo with Android TV/Google Assistant</a:t>
            </a:r>
            <a:endParaRPr lang="en-US" sz="2000" b="1" dirty="0">
              <a:latin typeface="Montserrat" panose="00000500000000000000" pitchFamily="2" charset="0"/>
            </a:endParaRPr>
          </a:p>
          <a:p>
            <a:pPr>
              <a:lnSpc>
                <a:spcPct val="150000"/>
              </a:lnSpc>
              <a:buClr>
                <a:srgbClr val="007DB2"/>
              </a:buClr>
            </a:pPr>
            <a:r>
              <a:rPr lang="en-US" sz="2000" b="1" dirty="0">
                <a:latin typeface="Montserrat"/>
              </a:rPr>
              <a:t>Cloud DVR (200 hours included)</a:t>
            </a:r>
          </a:p>
          <a:p>
            <a:pPr>
              <a:lnSpc>
                <a:spcPct val="150000"/>
              </a:lnSpc>
              <a:buClr>
                <a:srgbClr val="007DB2"/>
              </a:buClr>
            </a:pPr>
            <a:r>
              <a:rPr lang="en-US" sz="2000" b="1" dirty="0">
                <a:latin typeface="Montserrat"/>
              </a:rPr>
              <a:t>(4) HD capable Set-Top Boxes</a:t>
            </a:r>
          </a:p>
          <a:p>
            <a:pPr>
              <a:lnSpc>
                <a:spcPct val="150000"/>
              </a:lnSpc>
              <a:buClr>
                <a:srgbClr val="007DB2"/>
              </a:buClr>
            </a:pPr>
            <a:r>
              <a:rPr lang="en-US" sz="2000" b="1" dirty="0">
                <a:latin typeface="Montserrat"/>
              </a:rPr>
              <a:t>(4) Voice Remotes</a:t>
            </a:r>
          </a:p>
          <a:p>
            <a:pPr>
              <a:lnSpc>
                <a:spcPct val="150000"/>
              </a:lnSpc>
              <a:buClr>
                <a:srgbClr val="007DB2"/>
              </a:buClr>
            </a:pPr>
            <a:r>
              <a:rPr lang="en-US" sz="2000" b="1" dirty="0">
                <a:latin typeface="Montserrat"/>
              </a:rPr>
              <a:t>Video on Demand</a:t>
            </a:r>
          </a:p>
          <a:p>
            <a:pPr>
              <a:lnSpc>
                <a:spcPct val="150000"/>
              </a:lnSpc>
              <a:buClr>
                <a:srgbClr val="007DB2"/>
              </a:buClr>
            </a:pPr>
            <a:r>
              <a:rPr lang="en-US" sz="2000" b="1" dirty="0">
                <a:latin typeface="Montserrat"/>
              </a:rPr>
              <a:t>Blue Stream Fiber TV App for watching TV at home or on the go!</a:t>
            </a:r>
          </a:p>
          <a:p>
            <a:pPr>
              <a:lnSpc>
                <a:spcPct val="150000"/>
              </a:lnSpc>
              <a:buClr>
                <a:srgbClr val="007DB2"/>
              </a:buClr>
            </a:pPr>
            <a:endParaRPr lang="en-US" sz="2000" b="1" dirty="0">
              <a:highlight>
                <a:srgbClr val="FFFF00"/>
              </a:highlight>
              <a:latin typeface="Montserrat"/>
            </a:endParaRPr>
          </a:p>
        </p:txBody>
      </p:sp>
      <p:grpSp>
        <p:nvGrpSpPr>
          <p:cNvPr id="4" name="object 7">
            <a:extLst>
              <a:ext uri="{FF2B5EF4-FFF2-40B4-BE49-F238E27FC236}">
                <a16:creationId xmlns:a16="http://schemas.microsoft.com/office/drawing/2014/main" id="{54463B64-CFB5-469E-9150-F3CB158BB88F}"/>
              </a:ext>
            </a:extLst>
          </p:cNvPr>
          <p:cNvGrpSpPr/>
          <p:nvPr/>
        </p:nvGrpSpPr>
        <p:grpSpPr>
          <a:xfrm>
            <a:off x="6400800" y="1731357"/>
            <a:ext cx="5409259" cy="3449320"/>
            <a:chOff x="6900671" y="1738884"/>
            <a:chExt cx="5050790" cy="3449320"/>
          </a:xfrm>
        </p:grpSpPr>
        <p:pic>
          <p:nvPicPr>
            <p:cNvPr id="5" name="object 8">
              <a:extLst>
                <a:ext uri="{FF2B5EF4-FFF2-40B4-BE49-F238E27FC236}">
                  <a16:creationId xmlns:a16="http://schemas.microsoft.com/office/drawing/2014/main" id="{B97B51E9-8D37-4BDD-84C2-285D26A6F917}"/>
                </a:ext>
              </a:extLst>
            </p:cNvPr>
            <p:cNvPicPr/>
            <p:nvPr/>
          </p:nvPicPr>
          <p:blipFill>
            <a:blip r:embed="rId3" cstate="print"/>
            <a:stretch>
              <a:fillRect/>
            </a:stretch>
          </p:blipFill>
          <p:spPr>
            <a:xfrm>
              <a:off x="7569708" y="1738884"/>
              <a:ext cx="4381397" cy="3133966"/>
            </a:xfrm>
            <a:prstGeom prst="rect">
              <a:avLst/>
            </a:prstGeom>
          </p:spPr>
        </p:pic>
        <p:pic>
          <p:nvPicPr>
            <p:cNvPr id="6" name="object 9">
              <a:extLst>
                <a:ext uri="{FF2B5EF4-FFF2-40B4-BE49-F238E27FC236}">
                  <a16:creationId xmlns:a16="http://schemas.microsoft.com/office/drawing/2014/main" id="{45D598FB-6859-4838-A2CE-39D166248BDF}"/>
                </a:ext>
              </a:extLst>
            </p:cNvPr>
            <p:cNvPicPr/>
            <p:nvPr/>
          </p:nvPicPr>
          <p:blipFill>
            <a:blip r:embed="rId4" cstate="print"/>
            <a:stretch>
              <a:fillRect/>
            </a:stretch>
          </p:blipFill>
          <p:spPr>
            <a:xfrm>
              <a:off x="10330433" y="4632198"/>
              <a:ext cx="1482090" cy="555498"/>
            </a:xfrm>
            <a:prstGeom prst="rect">
              <a:avLst/>
            </a:prstGeom>
          </p:spPr>
        </p:pic>
        <p:pic>
          <p:nvPicPr>
            <p:cNvPr id="7" name="object 10">
              <a:extLst>
                <a:ext uri="{FF2B5EF4-FFF2-40B4-BE49-F238E27FC236}">
                  <a16:creationId xmlns:a16="http://schemas.microsoft.com/office/drawing/2014/main" id="{EFEDEC83-2CA2-46BF-9D95-9542131028B7}"/>
                </a:ext>
              </a:extLst>
            </p:cNvPr>
            <p:cNvPicPr/>
            <p:nvPr/>
          </p:nvPicPr>
          <p:blipFill>
            <a:blip r:embed="rId5" cstate="print"/>
            <a:stretch>
              <a:fillRect/>
            </a:stretch>
          </p:blipFill>
          <p:spPr>
            <a:xfrm>
              <a:off x="6900671" y="2061972"/>
              <a:ext cx="996694" cy="2881121"/>
            </a:xfrm>
            <a:prstGeom prst="rect">
              <a:avLst/>
            </a:prstGeom>
          </p:spPr>
        </p:pic>
      </p:grpSp>
      <p:pic>
        <p:nvPicPr>
          <p:cNvPr id="9" name="Picture 8">
            <a:extLst>
              <a:ext uri="{FF2B5EF4-FFF2-40B4-BE49-F238E27FC236}">
                <a16:creationId xmlns:a16="http://schemas.microsoft.com/office/drawing/2014/main" id="{9D7DFA22-3BF3-42DA-9E51-AB3F7CEBF7C8}"/>
              </a:ext>
            </a:extLst>
          </p:cNvPr>
          <p:cNvPicPr>
            <a:picLocks noChangeAspect="1"/>
          </p:cNvPicPr>
          <p:nvPr/>
        </p:nvPicPr>
        <p:blipFill>
          <a:blip r:embed="rId6"/>
          <a:stretch>
            <a:fillRect/>
          </a:stretch>
        </p:blipFill>
        <p:spPr>
          <a:xfrm>
            <a:off x="10153650" y="5856696"/>
            <a:ext cx="2038350" cy="857250"/>
          </a:xfrm>
          <a:prstGeom prst="rect">
            <a:avLst/>
          </a:prstGeom>
        </p:spPr>
      </p:pic>
      <p:sp>
        <p:nvSpPr>
          <p:cNvPr id="11" name="Text Placeholder 2">
            <a:extLst>
              <a:ext uri="{FF2B5EF4-FFF2-40B4-BE49-F238E27FC236}">
                <a16:creationId xmlns:a16="http://schemas.microsoft.com/office/drawing/2014/main" id="{B1A3679C-1F5A-A177-5587-A20ED7718275}"/>
              </a:ext>
            </a:extLst>
          </p:cNvPr>
          <p:cNvSpPr txBox="1">
            <a:spLocks/>
          </p:cNvSpPr>
          <p:nvPr/>
        </p:nvSpPr>
        <p:spPr>
          <a:xfrm>
            <a:off x="288648" y="1558193"/>
            <a:ext cx="11341787" cy="51747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spc="-70" dirty="0">
                <a:solidFill>
                  <a:srgbClr val="067AAB"/>
                </a:solidFill>
                <a:latin typeface="Montserrat"/>
                <a:cs typeface="Arial"/>
              </a:rPr>
              <a:t>Your</a:t>
            </a:r>
            <a:r>
              <a:rPr lang="en-US" sz="2400" b="1" spc="-175" dirty="0">
                <a:solidFill>
                  <a:srgbClr val="067AAB"/>
                </a:solidFill>
                <a:latin typeface="Montserrat"/>
                <a:cs typeface="Arial"/>
              </a:rPr>
              <a:t> </a:t>
            </a:r>
            <a:r>
              <a:rPr lang="en-US" sz="2400" b="1" spc="-80" dirty="0">
                <a:solidFill>
                  <a:srgbClr val="067AAB"/>
                </a:solidFill>
                <a:latin typeface="Montserrat"/>
                <a:cs typeface="Arial"/>
              </a:rPr>
              <a:t>Community</a:t>
            </a:r>
            <a:r>
              <a:rPr lang="en-US" sz="2400" b="1" spc="-135" dirty="0">
                <a:solidFill>
                  <a:srgbClr val="067AAB"/>
                </a:solidFill>
                <a:latin typeface="Montserrat"/>
                <a:cs typeface="Arial"/>
              </a:rPr>
              <a:t> </a:t>
            </a:r>
            <a:r>
              <a:rPr lang="en-US" sz="2400" b="1" spc="-45" dirty="0">
                <a:solidFill>
                  <a:srgbClr val="067AAB"/>
                </a:solidFill>
                <a:latin typeface="Montserrat"/>
                <a:cs typeface="Arial"/>
              </a:rPr>
              <a:t>will</a:t>
            </a:r>
            <a:r>
              <a:rPr lang="en-US" sz="2400" b="1" spc="-150" dirty="0">
                <a:solidFill>
                  <a:srgbClr val="067AAB"/>
                </a:solidFill>
                <a:latin typeface="Montserrat"/>
                <a:cs typeface="Arial"/>
              </a:rPr>
              <a:t> </a:t>
            </a:r>
            <a:r>
              <a:rPr lang="en-US" sz="2400" b="1" spc="-65" dirty="0">
                <a:solidFill>
                  <a:srgbClr val="067AAB"/>
                </a:solidFill>
                <a:latin typeface="Montserrat"/>
                <a:cs typeface="Arial"/>
              </a:rPr>
              <a:t>receive</a:t>
            </a:r>
            <a:r>
              <a:rPr lang="en-US" sz="2400" b="1" spc="-95" dirty="0">
                <a:solidFill>
                  <a:srgbClr val="067AAB"/>
                </a:solidFill>
                <a:latin typeface="Montserrat"/>
                <a:cs typeface="Arial"/>
              </a:rPr>
              <a:t> </a:t>
            </a:r>
            <a:r>
              <a:rPr lang="en-US" sz="2400" b="1" spc="-30" dirty="0">
                <a:solidFill>
                  <a:srgbClr val="067AAB"/>
                </a:solidFill>
                <a:latin typeface="Montserrat"/>
                <a:cs typeface="Arial"/>
              </a:rPr>
              <a:t>below:</a:t>
            </a:r>
            <a:r>
              <a:rPr lang="en-US" sz="2400" b="1" spc="-20" dirty="0">
                <a:solidFill>
                  <a:srgbClr val="067AAB"/>
                </a:solidFill>
                <a:latin typeface="Montserrat"/>
                <a:cs typeface="Arial"/>
              </a:rPr>
              <a:t> </a:t>
            </a:r>
            <a:endParaRPr lang="en-US" sz="2400" dirty="0">
              <a:latin typeface="Montserrat"/>
              <a:cs typeface="Arial"/>
            </a:endParaRPr>
          </a:p>
          <a:p>
            <a:endParaRPr lang="en-US" dirty="0"/>
          </a:p>
        </p:txBody>
      </p:sp>
    </p:spTree>
    <p:extLst>
      <p:ext uri="{BB962C8B-B14F-4D97-AF65-F5344CB8AC3E}">
        <p14:creationId xmlns:p14="http://schemas.microsoft.com/office/powerpoint/2010/main" val="40712028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157DD-26E0-E9E2-A6C4-90BD4C82AE93}"/>
              </a:ext>
            </a:extLst>
          </p:cNvPr>
          <p:cNvSpPr>
            <a:spLocks noGrp="1"/>
          </p:cNvSpPr>
          <p:nvPr>
            <p:ph type="title"/>
          </p:nvPr>
        </p:nvSpPr>
        <p:spPr>
          <a:xfrm>
            <a:off x="838200" y="147484"/>
            <a:ext cx="10515600" cy="1325563"/>
          </a:xfrm>
        </p:spPr>
        <p:txBody>
          <a:bodyPr/>
          <a:lstStyle/>
          <a:p>
            <a:r>
              <a:rPr lang="en-US">
                <a:latin typeface="Montserrat" panose="00000500000000000000" pitchFamily="2" charset="0"/>
              </a:rPr>
              <a:t>Sign Up for Your Consultation</a:t>
            </a:r>
          </a:p>
        </p:txBody>
      </p:sp>
      <p:sp>
        <p:nvSpPr>
          <p:cNvPr id="6" name="TextBox 5">
            <a:extLst>
              <a:ext uri="{FF2B5EF4-FFF2-40B4-BE49-F238E27FC236}">
                <a16:creationId xmlns:a16="http://schemas.microsoft.com/office/drawing/2014/main" id="{221F3651-E87E-44B8-A405-E78F2EE7531F}"/>
              </a:ext>
            </a:extLst>
          </p:cNvPr>
          <p:cNvSpPr txBox="1"/>
          <p:nvPr/>
        </p:nvSpPr>
        <p:spPr>
          <a:xfrm>
            <a:off x="986076" y="1623952"/>
            <a:ext cx="10375860" cy="4047775"/>
          </a:xfrm>
          <a:prstGeom prst="rect">
            <a:avLst/>
          </a:prstGeom>
          <a:noFill/>
        </p:spPr>
        <p:txBody>
          <a:bodyPr wrap="square" lIns="91440" tIns="45720" rIns="91440" bIns="45720" rtlCol="0" anchor="t">
            <a:spAutoFit/>
          </a:bodyPr>
          <a:lstStyle/>
          <a:p>
            <a:pPr marL="38100" marR="30480">
              <a:lnSpc>
                <a:spcPts val="2590"/>
              </a:lnSpc>
              <a:spcBef>
                <a:spcPts val="425"/>
              </a:spcBef>
            </a:pPr>
            <a:r>
              <a:rPr lang="en-US" sz="2000" b="1" spc="-10" dirty="0">
                <a:solidFill>
                  <a:srgbClr val="002060"/>
                </a:solidFill>
                <a:latin typeface="Montserrat"/>
                <a:cs typeface="Arial"/>
              </a:rPr>
              <a:t>Option 1:</a:t>
            </a:r>
            <a:r>
              <a:rPr lang="en-US" sz="2000" spc="-10" dirty="0">
                <a:solidFill>
                  <a:srgbClr val="002060"/>
                </a:solidFill>
                <a:latin typeface="Montserrat"/>
                <a:cs typeface="Arial"/>
              </a:rPr>
              <a:t> </a:t>
            </a:r>
            <a:r>
              <a:rPr lang="en-US" sz="2000" u="sng" spc="-10" dirty="0">
                <a:solidFill>
                  <a:srgbClr val="002060"/>
                </a:solidFill>
                <a:latin typeface="Montserrat"/>
                <a:cs typeface="Arial"/>
              </a:rPr>
              <a:t>On-site Consultation Appointment </a:t>
            </a:r>
            <a:r>
              <a:rPr lang="en-US" sz="2000" spc="-10" dirty="0">
                <a:solidFill>
                  <a:srgbClr val="002060"/>
                </a:solidFill>
                <a:latin typeface="Montserrat"/>
                <a:cs typeface="Arial"/>
              </a:rPr>
              <a:t>with a Blue Stream Fiber representative. You will receive a flyer via email with a link to sign up for these appointments.</a:t>
            </a:r>
          </a:p>
          <a:p>
            <a:pPr marL="38100" marR="30480">
              <a:lnSpc>
                <a:spcPts val="2590"/>
              </a:lnSpc>
              <a:spcBef>
                <a:spcPts val="425"/>
              </a:spcBef>
            </a:pPr>
            <a:endParaRPr lang="en-US" sz="2000" spc="-10" dirty="0">
              <a:solidFill>
                <a:srgbClr val="002060"/>
              </a:solidFill>
              <a:latin typeface="Montserrat"/>
              <a:cs typeface="Arial"/>
            </a:endParaRPr>
          </a:p>
          <a:p>
            <a:pPr marL="381000" marR="30480" indent="-342900">
              <a:lnSpc>
                <a:spcPts val="2590"/>
              </a:lnSpc>
              <a:spcBef>
                <a:spcPts val="425"/>
              </a:spcBef>
              <a:buFont typeface="Arial" panose="020B0604020202020204" pitchFamily="34" charset="0"/>
              <a:buChar char="•"/>
            </a:pPr>
            <a:r>
              <a:rPr lang="en-US" sz="2000" spc="-10" dirty="0">
                <a:solidFill>
                  <a:srgbClr val="002060"/>
                </a:solidFill>
                <a:latin typeface="Montserrat"/>
                <a:cs typeface="Arial"/>
                <a:hlinkClick r:id="rId3"/>
              </a:rPr>
              <a:t>https://www.signupgenius.com/go/BocaHighland</a:t>
            </a:r>
            <a:r>
              <a:rPr lang="en-US" sz="2000" spc="-10" dirty="0">
                <a:solidFill>
                  <a:srgbClr val="002060"/>
                </a:solidFill>
                <a:latin typeface="Montserrat"/>
                <a:cs typeface="Arial"/>
              </a:rPr>
              <a:t> </a:t>
            </a:r>
          </a:p>
          <a:p>
            <a:pPr marL="38100" marR="30480" algn="ctr">
              <a:lnSpc>
                <a:spcPts val="2590"/>
              </a:lnSpc>
              <a:spcBef>
                <a:spcPts val="425"/>
              </a:spcBef>
            </a:pPr>
            <a:endParaRPr lang="en-US" sz="2000" spc="-10" dirty="0">
              <a:solidFill>
                <a:srgbClr val="00B050"/>
              </a:solidFill>
              <a:latin typeface="Montserrat" panose="00000500000000000000" pitchFamily="2" charset="0"/>
              <a:cs typeface="Arial"/>
            </a:endParaRPr>
          </a:p>
          <a:p>
            <a:pPr marL="38100" marR="30480" algn="ctr">
              <a:lnSpc>
                <a:spcPts val="2590"/>
              </a:lnSpc>
              <a:spcBef>
                <a:spcPts val="425"/>
              </a:spcBef>
            </a:pPr>
            <a:endParaRPr lang="en-US" sz="2000" spc="-10" dirty="0">
              <a:solidFill>
                <a:srgbClr val="00B050"/>
              </a:solidFill>
              <a:latin typeface="Montserrat" panose="00000500000000000000" pitchFamily="2" charset="0"/>
              <a:cs typeface="Arial"/>
            </a:endParaRPr>
          </a:p>
          <a:p>
            <a:pPr marL="38100" marR="30480" algn="ctr">
              <a:lnSpc>
                <a:spcPts val="2590"/>
              </a:lnSpc>
              <a:spcBef>
                <a:spcPts val="425"/>
              </a:spcBef>
            </a:pPr>
            <a:endParaRPr lang="en-US" sz="2000" spc="-10" dirty="0">
              <a:solidFill>
                <a:srgbClr val="00B050"/>
              </a:solidFill>
              <a:latin typeface="Montserrat" panose="00000500000000000000" pitchFamily="2" charset="0"/>
              <a:cs typeface="Arial"/>
            </a:endParaRPr>
          </a:p>
          <a:p>
            <a:pPr marL="38100" marR="30480">
              <a:lnSpc>
                <a:spcPts val="2590"/>
              </a:lnSpc>
              <a:spcBef>
                <a:spcPts val="425"/>
              </a:spcBef>
            </a:pPr>
            <a:r>
              <a:rPr lang="en-US" sz="2000" b="1" spc="-10" dirty="0">
                <a:solidFill>
                  <a:srgbClr val="002060"/>
                </a:solidFill>
                <a:latin typeface="Montserrat"/>
                <a:cs typeface="Arial"/>
              </a:rPr>
              <a:t>Option 2: </a:t>
            </a:r>
            <a:r>
              <a:rPr lang="en-US" sz="2000" spc="-10" dirty="0">
                <a:solidFill>
                  <a:srgbClr val="002060"/>
                </a:solidFill>
                <a:latin typeface="Montserrat"/>
                <a:cs typeface="Arial"/>
              </a:rPr>
              <a:t> </a:t>
            </a:r>
            <a:r>
              <a:rPr lang="en-US" sz="2000" u="sng" spc="-10" dirty="0">
                <a:solidFill>
                  <a:srgbClr val="002060"/>
                </a:solidFill>
                <a:latin typeface="Montserrat"/>
                <a:cs typeface="Arial"/>
              </a:rPr>
              <a:t>Call-in Appointment </a:t>
            </a:r>
            <a:r>
              <a:rPr lang="en-US" sz="2000" spc="-10" dirty="0">
                <a:solidFill>
                  <a:srgbClr val="002060"/>
                </a:solidFill>
                <a:latin typeface="Montserrat"/>
                <a:cs typeface="Arial"/>
              </a:rPr>
              <a:t>to speak with a Blue Stream Fiber representative and schedule installation. We will release your dedicated community number via email on April 30 to call in. </a:t>
            </a:r>
            <a:endParaRPr lang="en-US" sz="2000" spc="-10" dirty="0">
              <a:solidFill>
                <a:srgbClr val="002060"/>
              </a:solidFill>
              <a:highlight>
                <a:srgbClr val="FFFF00"/>
              </a:highlight>
              <a:latin typeface="Montserrat"/>
              <a:cs typeface="Arial"/>
            </a:endParaRPr>
          </a:p>
        </p:txBody>
      </p:sp>
      <p:pic>
        <p:nvPicPr>
          <p:cNvPr id="4" name="Picture 3">
            <a:extLst>
              <a:ext uri="{FF2B5EF4-FFF2-40B4-BE49-F238E27FC236}">
                <a16:creationId xmlns:a16="http://schemas.microsoft.com/office/drawing/2014/main" id="{C055E906-03F6-0DCC-722F-7E52C1F0EA4C}"/>
              </a:ext>
            </a:extLst>
          </p:cNvPr>
          <p:cNvPicPr>
            <a:picLocks noChangeAspect="1"/>
          </p:cNvPicPr>
          <p:nvPr/>
        </p:nvPicPr>
        <p:blipFill>
          <a:blip r:embed="rId4"/>
          <a:stretch>
            <a:fillRect/>
          </a:stretch>
        </p:blipFill>
        <p:spPr>
          <a:xfrm>
            <a:off x="8744196" y="2436947"/>
            <a:ext cx="1964654" cy="1984106"/>
          </a:xfrm>
          <a:prstGeom prst="rect">
            <a:avLst/>
          </a:prstGeom>
        </p:spPr>
      </p:pic>
    </p:spTree>
    <p:extLst>
      <p:ext uri="{BB962C8B-B14F-4D97-AF65-F5344CB8AC3E}">
        <p14:creationId xmlns:p14="http://schemas.microsoft.com/office/powerpoint/2010/main" val="15097962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CE79C-7787-537E-F950-71C87D50F0B0}"/>
              </a:ext>
            </a:extLst>
          </p:cNvPr>
          <p:cNvSpPr>
            <a:spLocks noGrp="1"/>
          </p:cNvSpPr>
          <p:nvPr>
            <p:ph type="title"/>
          </p:nvPr>
        </p:nvSpPr>
        <p:spPr>
          <a:xfrm>
            <a:off x="179109" y="158797"/>
            <a:ext cx="7334053" cy="1049362"/>
          </a:xfrm>
        </p:spPr>
        <p:txBody>
          <a:bodyPr>
            <a:normAutofit/>
          </a:bodyPr>
          <a:lstStyle/>
          <a:p>
            <a:pPr algn="ctr"/>
            <a:r>
              <a:rPr lang="en-US" sz="4400">
                <a:solidFill>
                  <a:schemeClr val="accent1"/>
                </a:solidFill>
                <a:latin typeface="Montserrat"/>
              </a:rPr>
              <a:t>Service and Price Guide</a:t>
            </a:r>
          </a:p>
        </p:txBody>
      </p:sp>
      <p:sp>
        <p:nvSpPr>
          <p:cNvPr id="3" name="Text Placeholder 2">
            <a:extLst>
              <a:ext uri="{FF2B5EF4-FFF2-40B4-BE49-F238E27FC236}">
                <a16:creationId xmlns:a16="http://schemas.microsoft.com/office/drawing/2014/main" id="{AC4963B3-C9B6-84F1-C519-5361DE105F7A}"/>
              </a:ext>
            </a:extLst>
          </p:cNvPr>
          <p:cNvSpPr>
            <a:spLocks noGrp="1"/>
          </p:cNvSpPr>
          <p:nvPr>
            <p:ph type="body" idx="1"/>
          </p:nvPr>
        </p:nvSpPr>
        <p:spPr>
          <a:xfrm>
            <a:off x="516244" y="1208159"/>
            <a:ext cx="6659782" cy="1670618"/>
          </a:xfrm>
        </p:spPr>
        <p:txBody>
          <a:bodyPr>
            <a:normAutofit lnSpcReduction="10000"/>
          </a:bodyPr>
          <a:lstStyle/>
          <a:p>
            <a:pPr algn="ctr"/>
            <a:r>
              <a:rPr lang="en-US" sz="3200">
                <a:solidFill>
                  <a:srgbClr val="004161"/>
                </a:solidFill>
                <a:latin typeface="Montserrat"/>
              </a:rPr>
              <a:t>Closer to registration, residents will receive a packet that covers the following topics:</a:t>
            </a:r>
          </a:p>
        </p:txBody>
      </p:sp>
      <p:sp>
        <p:nvSpPr>
          <p:cNvPr id="4" name="Content Placeholder 3">
            <a:extLst>
              <a:ext uri="{FF2B5EF4-FFF2-40B4-BE49-F238E27FC236}">
                <a16:creationId xmlns:a16="http://schemas.microsoft.com/office/drawing/2014/main" id="{1C049938-D128-5840-4246-85762AF8DFBD}"/>
              </a:ext>
            </a:extLst>
          </p:cNvPr>
          <p:cNvSpPr>
            <a:spLocks noGrp="1"/>
          </p:cNvSpPr>
          <p:nvPr>
            <p:ph sz="half" idx="2"/>
          </p:nvPr>
        </p:nvSpPr>
        <p:spPr>
          <a:xfrm>
            <a:off x="662867" y="3014615"/>
            <a:ext cx="6366535" cy="3684588"/>
          </a:xfrm>
        </p:spPr>
        <p:txBody>
          <a:bodyPr vert="horz" lIns="91440" tIns="45720" rIns="91440" bIns="45720" rtlCol="0" anchor="t">
            <a:normAutofit lnSpcReduction="10000"/>
          </a:bodyPr>
          <a:lstStyle/>
          <a:p>
            <a:pPr algn="ctr">
              <a:lnSpc>
                <a:spcPct val="150000"/>
              </a:lnSpc>
              <a:buClr>
                <a:srgbClr val="007DB2"/>
              </a:buClr>
            </a:pPr>
            <a:r>
              <a:rPr lang="en-US">
                <a:solidFill>
                  <a:srgbClr val="004161"/>
                </a:solidFill>
                <a:latin typeface="Montserrat"/>
              </a:rPr>
              <a:t>Community package details</a:t>
            </a:r>
          </a:p>
          <a:p>
            <a:pPr algn="ctr">
              <a:lnSpc>
                <a:spcPct val="150000"/>
              </a:lnSpc>
              <a:buClr>
                <a:srgbClr val="007DB2"/>
              </a:buClr>
            </a:pPr>
            <a:r>
              <a:rPr lang="en-US">
                <a:solidFill>
                  <a:srgbClr val="004161"/>
                </a:solidFill>
                <a:latin typeface="Montserrat"/>
              </a:rPr>
              <a:t>Upgrade package options</a:t>
            </a:r>
          </a:p>
          <a:p>
            <a:pPr algn="ctr">
              <a:lnSpc>
                <a:spcPct val="150000"/>
              </a:lnSpc>
              <a:buClr>
                <a:srgbClr val="007DB2"/>
              </a:buClr>
            </a:pPr>
            <a:r>
              <a:rPr lang="en-US">
                <a:solidFill>
                  <a:srgbClr val="004161"/>
                </a:solidFill>
                <a:latin typeface="Montserrat"/>
              </a:rPr>
              <a:t>Channel Line Up</a:t>
            </a:r>
          </a:p>
          <a:p>
            <a:pPr algn="ctr">
              <a:lnSpc>
                <a:spcPct val="150000"/>
              </a:lnSpc>
              <a:buClr>
                <a:srgbClr val="007DB2"/>
              </a:buClr>
            </a:pPr>
            <a:r>
              <a:rPr lang="en-US">
                <a:solidFill>
                  <a:srgbClr val="004161"/>
                </a:solidFill>
                <a:latin typeface="Montserrat"/>
              </a:rPr>
              <a:t>FAQs</a:t>
            </a:r>
          </a:p>
          <a:p>
            <a:pPr algn="ctr">
              <a:lnSpc>
                <a:spcPct val="150000"/>
              </a:lnSpc>
              <a:buClr>
                <a:srgbClr val="007DB2"/>
              </a:buClr>
            </a:pPr>
            <a:r>
              <a:rPr lang="en-US">
                <a:solidFill>
                  <a:srgbClr val="004161"/>
                </a:solidFill>
                <a:latin typeface="Montserrat"/>
              </a:rPr>
              <a:t>Customer education resources</a:t>
            </a:r>
          </a:p>
        </p:txBody>
      </p:sp>
      <p:pic>
        <p:nvPicPr>
          <p:cNvPr id="7" name="Picture 7" descr="A picture containing text, person, indoor&#10;&#10;Description automatically generated">
            <a:extLst>
              <a:ext uri="{FF2B5EF4-FFF2-40B4-BE49-F238E27FC236}">
                <a16:creationId xmlns:a16="http://schemas.microsoft.com/office/drawing/2014/main" id="{7AE3D0E5-BE31-34BF-B6CB-AA6230AB9B9E}"/>
              </a:ext>
            </a:extLst>
          </p:cNvPr>
          <p:cNvPicPr>
            <a:picLocks noChangeAspect="1"/>
          </p:cNvPicPr>
          <p:nvPr/>
        </p:nvPicPr>
        <p:blipFill>
          <a:blip r:embed="rId3"/>
          <a:stretch>
            <a:fillRect/>
          </a:stretch>
        </p:blipFill>
        <p:spPr>
          <a:xfrm>
            <a:off x="7987912" y="827445"/>
            <a:ext cx="3914427" cy="503551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1769292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5A59F003-E00A-43F9-91DC-CC54E3B874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7F8EFC4A-AB8A-4F33-8892-DB1F1621C8D4}"/>
              </a:ext>
            </a:extLst>
          </p:cNvPr>
          <p:cNvPicPr>
            <a:picLocks noChangeAspect="1"/>
          </p:cNvPicPr>
          <p:nvPr/>
        </p:nvPicPr>
        <p:blipFill rotWithShape="1">
          <a:blip r:embed="rId3"/>
          <a:srcRect l="9091" t="13955" b="9437"/>
          <a:stretch/>
        </p:blipFill>
        <p:spPr>
          <a:xfrm>
            <a:off x="20" y="10"/>
            <a:ext cx="12191981" cy="6857990"/>
          </a:xfrm>
          <a:prstGeom prst="rect">
            <a:avLst/>
          </a:prstGeom>
        </p:spPr>
      </p:pic>
      <p:sp>
        <p:nvSpPr>
          <p:cNvPr id="20" name="Rectangle 19">
            <a:extLst>
              <a:ext uri="{FF2B5EF4-FFF2-40B4-BE49-F238E27FC236}">
                <a16:creationId xmlns:a16="http://schemas.microsoft.com/office/drawing/2014/main" id="{D74A4382-E3AD-430A-9A1F-DFA3E0E77A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799868" y="-1534136"/>
            <a:ext cx="4592270" cy="12192001"/>
          </a:xfrm>
          <a:prstGeom prst="rect">
            <a:avLst/>
          </a:prstGeom>
          <a:gradFill>
            <a:gsLst>
              <a:gs pos="35000">
                <a:schemeClr val="bg1">
                  <a:alpha val="46000"/>
                </a:schemeClr>
              </a:gs>
              <a:gs pos="21000">
                <a:schemeClr val="bg1">
                  <a:alpha val="30000"/>
                </a:schemeClr>
              </a:gs>
              <a:gs pos="0">
                <a:schemeClr val="bg1">
                  <a:alpha val="0"/>
                </a:schemeClr>
              </a:gs>
              <a:gs pos="100000">
                <a:schemeClr val="bg1">
                  <a:alpha val="9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A53F98D-677C-307C-1549-1FF48C9F6FD7}"/>
              </a:ext>
            </a:extLst>
          </p:cNvPr>
          <p:cNvSpPr>
            <a:spLocks noGrp="1"/>
          </p:cNvSpPr>
          <p:nvPr>
            <p:ph type="title"/>
          </p:nvPr>
        </p:nvSpPr>
        <p:spPr>
          <a:xfrm>
            <a:off x="207908" y="3091928"/>
            <a:ext cx="9078562" cy="2387600"/>
          </a:xfrm>
        </p:spPr>
        <p:txBody>
          <a:bodyPr vert="horz" lIns="91440" tIns="45720" rIns="91440" bIns="45720" rtlCol="0" anchor="b">
            <a:normAutofit/>
          </a:bodyPr>
          <a:lstStyle/>
          <a:p>
            <a:r>
              <a:rPr lang="en-US" sz="5400">
                <a:solidFill>
                  <a:schemeClr val="tx1"/>
                </a:solidFill>
                <a:latin typeface="Montserrat"/>
              </a:rPr>
              <a:t>Smart, Total Home </a:t>
            </a:r>
            <a:r>
              <a:rPr lang="en-US" sz="5400" err="1">
                <a:solidFill>
                  <a:schemeClr val="tx1"/>
                </a:solidFill>
                <a:latin typeface="Montserrat"/>
              </a:rPr>
              <a:t>WiFi</a:t>
            </a:r>
            <a:endParaRPr lang="en-US" sz="5400">
              <a:solidFill>
                <a:schemeClr val="tx1"/>
              </a:solidFill>
              <a:latin typeface="Montserrat"/>
            </a:endParaRPr>
          </a:p>
        </p:txBody>
      </p:sp>
      <p:sp>
        <p:nvSpPr>
          <p:cNvPr id="22" name="Rectangle: Rounded Corners 21">
            <a:extLst>
              <a:ext uri="{FF2B5EF4-FFF2-40B4-BE49-F238E27FC236}">
                <a16:creationId xmlns:a16="http://schemas.microsoft.com/office/drawing/2014/main" id="{79F40191-0F44-4FD1-82CC-ACB507C14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575039"/>
            <a:ext cx="9785897" cy="6858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5176308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object 6">
            <a:extLst>
              <a:ext uri="{FF2B5EF4-FFF2-40B4-BE49-F238E27FC236}">
                <a16:creationId xmlns:a16="http://schemas.microsoft.com/office/drawing/2014/main" id="{ECD9A0AE-C0C5-4991-A0DB-8FAEB35E53E1}"/>
              </a:ext>
            </a:extLst>
          </p:cNvPr>
          <p:cNvGrpSpPr/>
          <p:nvPr/>
        </p:nvGrpSpPr>
        <p:grpSpPr>
          <a:xfrm>
            <a:off x="395926" y="1282045"/>
            <a:ext cx="11698664" cy="5468572"/>
            <a:chOff x="371856" y="887730"/>
            <a:chExt cx="11820525" cy="5970270"/>
          </a:xfrm>
        </p:grpSpPr>
        <p:pic>
          <p:nvPicPr>
            <p:cNvPr id="11" name="object 7">
              <a:extLst>
                <a:ext uri="{FF2B5EF4-FFF2-40B4-BE49-F238E27FC236}">
                  <a16:creationId xmlns:a16="http://schemas.microsoft.com/office/drawing/2014/main" id="{69E94348-C249-4250-AA39-A255B077A94E}"/>
                </a:ext>
              </a:extLst>
            </p:cNvPr>
            <p:cNvPicPr/>
            <p:nvPr/>
          </p:nvPicPr>
          <p:blipFill>
            <a:blip r:embed="rId3" cstate="print"/>
            <a:stretch>
              <a:fillRect/>
            </a:stretch>
          </p:blipFill>
          <p:spPr>
            <a:xfrm>
              <a:off x="6739127" y="887730"/>
              <a:ext cx="4552187" cy="4315968"/>
            </a:xfrm>
            <a:prstGeom prst="rect">
              <a:avLst/>
            </a:prstGeom>
          </p:spPr>
        </p:pic>
        <p:pic>
          <p:nvPicPr>
            <p:cNvPr id="12" name="object 8">
              <a:extLst>
                <a:ext uri="{FF2B5EF4-FFF2-40B4-BE49-F238E27FC236}">
                  <a16:creationId xmlns:a16="http://schemas.microsoft.com/office/drawing/2014/main" id="{36613F7A-DEF8-4FEE-8C1A-87AB58954E69}"/>
                </a:ext>
              </a:extLst>
            </p:cNvPr>
            <p:cNvPicPr/>
            <p:nvPr/>
          </p:nvPicPr>
          <p:blipFill>
            <a:blip r:embed="rId3" cstate="print"/>
            <a:stretch>
              <a:fillRect/>
            </a:stretch>
          </p:blipFill>
          <p:spPr>
            <a:xfrm>
              <a:off x="5052821" y="2218944"/>
              <a:ext cx="4552175" cy="4315205"/>
            </a:xfrm>
            <a:prstGeom prst="rect">
              <a:avLst/>
            </a:prstGeom>
          </p:spPr>
        </p:pic>
        <p:pic>
          <p:nvPicPr>
            <p:cNvPr id="13" name="object 9">
              <a:extLst>
                <a:ext uri="{FF2B5EF4-FFF2-40B4-BE49-F238E27FC236}">
                  <a16:creationId xmlns:a16="http://schemas.microsoft.com/office/drawing/2014/main" id="{750945A4-9D7B-4D17-B7BE-321E0189EDFC}"/>
                </a:ext>
              </a:extLst>
            </p:cNvPr>
            <p:cNvPicPr/>
            <p:nvPr/>
          </p:nvPicPr>
          <p:blipFill>
            <a:blip r:embed="rId4" cstate="print"/>
            <a:stretch>
              <a:fillRect/>
            </a:stretch>
          </p:blipFill>
          <p:spPr>
            <a:xfrm>
              <a:off x="8171688" y="2596134"/>
              <a:ext cx="4020311" cy="4261866"/>
            </a:xfrm>
            <a:prstGeom prst="rect">
              <a:avLst/>
            </a:prstGeom>
          </p:spPr>
        </p:pic>
        <p:pic>
          <p:nvPicPr>
            <p:cNvPr id="14" name="object 10">
              <a:extLst>
                <a:ext uri="{FF2B5EF4-FFF2-40B4-BE49-F238E27FC236}">
                  <a16:creationId xmlns:a16="http://schemas.microsoft.com/office/drawing/2014/main" id="{8E392862-9CB9-4C5E-8425-1DC8365E6BE2}"/>
                </a:ext>
              </a:extLst>
            </p:cNvPr>
            <p:cNvPicPr/>
            <p:nvPr/>
          </p:nvPicPr>
          <p:blipFill>
            <a:blip r:embed="rId5" cstate="print"/>
            <a:stretch>
              <a:fillRect/>
            </a:stretch>
          </p:blipFill>
          <p:spPr>
            <a:xfrm>
              <a:off x="371856" y="887730"/>
              <a:ext cx="5246369" cy="5247131"/>
            </a:xfrm>
            <a:prstGeom prst="rect">
              <a:avLst/>
            </a:prstGeom>
          </p:spPr>
        </p:pic>
      </p:grpSp>
      <p:sp>
        <p:nvSpPr>
          <p:cNvPr id="2" name="Title 1">
            <a:extLst>
              <a:ext uri="{FF2B5EF4-FFF2-40B4-BE49-F238E27FC236}">
                <a16:creationId xmlns:a16="http://schemas.microsoft.com/office/drawing/2014/main" id="{4B117151-56B9-9244-3050-D27F803C2120}"/>
              </a:ext>
            </a:extLst>
          </p:cNvPr>
          <p:cNvSpPr>
            <a:spLocks noGrp="1"/>
          </p:cNvSpPr>
          <p:nvPr>
            <p:ph type="title"/>
          </p:nvPr>
        </p:nvSpPr>
        <p:spPr>
          <a:xfrm>
            <a:off x="461638" y="107383"/>
            <a:ext cx="11789353" cy="801577"/>
          </a:xfrm>
        </p:spPr>
        <p:txBody>
          <a:bodyPr/>
          <a:lstStyle/>
          <a:p>
            <a:r>
              <a:rPr lang="en-US">
                <a:latin typeface="Montserrat" panose="00000500000000000000" pitchFamily="2" charset="0"/>
              </a:rPr>
              <a:t>What Makes Total Home </a:t>
            </a:r>
            <a:r>
              <a:rPr lang="en-US" err="1">
                <a:latin typeface="Montserrat" panose="00000500000000000000" pitchFamily="2" charset="0"/>
              </a:rPr>
              <a:t>WiFi</a:t>
            </a:r>
            <a:r>
              <a:rPr lang="en-US">
                <a:latin typeface="Montserrat" panose="00000500000000000000" pitchFamily="2" charset="0"/>
              </a:rPr>
              <a:t> Better?</a:t>
            </a:r>
            <a:endParaRPr lang="en-US"/>
          </a:p>
        </p:txBody>
      </p:sp>
      <p:sp>
        <p:nvSpPr>
          <p:cNvPr id="3" name="Content Placeholder 2">
            <a:extLst>
              <a:ext uri="{FF2B5EF4-FFF2-40B4-BE49-F238E27FC236}">
                <a16:creationId xmlns:a16="http://schemas.microsoft.com/office/drawing/2014/main" id="{E2AE2E82-736B-54E9-CC8B-AA330F325E5D}"/>
              </a:ext>
            </a:extLst>
          </p:cNvPr>
          <p:cNvSpPr>
            <a:spLocks noGrp="1"/>
          </p:cNvSpPr>
          <p:nvPr>
            <p:ph sz="half" idx="18"/>
          </p:nvPr>
        </p:nvSpPr>
        <p:spPr>
          <a:xfrm>
            <a:off x="818230" y="1356123"/>
            <a:ext cx="4347673" cy="650629"/>
          </a:xfrm>
        </p:spPr>
        <p:txBody>
          <a:bodyPr vert="horz" lIns="91440" tIns="45720" rIns="91440" bIns="45720" rtlCol="0" anchor="t">
            <a:normAutofit/>
          </a:bodyPr>
          <a:lstStyle/>
          <a:p>
            <a:r>
              <a:rPr lang="en-US" sz="2800">
                <a:latin typeface="Montserrat" panose="00000500000000000000" pitchFamily="2" charset="0"/>
              </a:rPr>
              <a:t>Standard </a:t>
            </a:r>
            <a:r>
              <a:rPr lang="en-US" sz="2800" err="1">
                <a:latin typeface="Montserrat" panose="00000500000000000000" pitchFamily="2" charset="0"/>
              </a:rPr>
              <a:t>WiFi</a:t>
            </a:r>
            <a:endParaRPr lang="en-US" sz="2800">
              <a:latin typeface="Montserrat" panose="00000500000000000000" pitchFamily="2" charset="0"/>
            </a:endParaRPr>
          </a:p>
        </p:txBody>
      </p:sp>
      <p:sp>
        <p:nvSpPr>
          <p:cNvPr id="5" name="Content Placeholder 4">
            <a:extLst>
              <a:ext uri="{FF2B5EF4-FFF2-40B4-BE49-F238E27FC236}">
                <a16:creationId xmlns:a16="http://schemas.microsoft.com/office/drawing/2014/main" id="{C8F41CF0-E9BE-ABCB-622F-68EAB96AFE3F}"/>
              </a:ext>
            </a:extLst>
          </p:cNvPr>
          <p:cNvSpPr>
            <a:spLocks noGrp="1"/>
          </p:cNvSpPr>
          <p:nvPr>
            <p:ph sz="half" idx="20"/>
          </p:nvPr>
        </p:nvSpPr>
        <p:spPr>
          <a:xfrm>
            <a:off x="6733111" y="1195585"/>
            <a:ext cx="4505245" cy="938702"/>
          </a:xfrm>
        </p:spPr>
        <p:txBody>
          <a:bodyPr vert="horz" lIns="91440" tIns="45720" rIns="91440" bIns="45720" rtlCol="0" anchor="t">
            <a:noAutofit/>
          </a:bodyPr>
          <a:lstStyle/>
          <a:p>
            <a:r>
              <a:rPr lang="en-US" sz="2800">
                <a:latin typeface="Montserrat" panose="00000500000000000000" pitchFamily="2" charset="0"/>
              </a:rPr>
              <a:t>Blue Stream Fiber Total Home </a:t>
            </a:r>
            <a:r>
              <a:rPr lang="en-US" sz="2800" err="1">
                <a:latin typeface="Montserrat" panose="00000500000000000000" pitchFamily="2" charset="0"/>
              </a:rPr>
              <a:t>WiFi</a:t>
            </a:r>
            <a:endParaRPr lang="en-US" sz="2800">
              <a:latin typeface="Montserrat" panose="00000500000000000000" pitchFamily="2" charset="0"/>
            </a:endParaRPr>
          </a:p>
        </p:txBody>
      </p:sp>
      <p:grpSp>
        <p:nvGrpSpPr>
          <p:cNvPr id="7" name="object 14">
            <a:extLst>
              <a:ext uri="{FF2B5EF4-FFF2-40B4-BE49-F238E27FC236}">
                <a16:creationId xmlns:a16="http://schemas.microsoft.com/office/drawing/2014/main" id="{85920360-C2E3-482F-99E0-D3A16AB47A2E}"/>
              </a:ext>
            </a:extLst>
          </p:cNvPr>
          <p:cNvGrpSpPr/>
          <p:nvPr/>
        </p:nvGrpSpPr>
        <p:grpSpPr>
          <a:xfrm>
            <a:off x="930196" y="2382049"/>
            <a:ext cx="10285095" cy="3061970"/>
            <a:chOff x="666750" y="2738627"/>
            <a:chExt cx="10285095" cy="3061970"/>
          </a:xfrm>
        </p:grpSpPr>
        <p:pic>
          <p:nvPicPr>
            <p:cNvPr id="8" name="object 15">
              <a:extLst>
                <a:ext uri="{FF2B5EF4-FFF2-40B4-BE49-F238E27FC236}">
                  <a16:creationId xmlns:a16="http://schemas.microsoft.com/office/drawing/2014/main" id="{616136F6-A542-414E-9DAF-2DA7CE18453B}"/>
                </a:ext>
              </a:extLst>
            </p:cNvPr>
            <p:cNvPicPr/>
            <p:nvPr/>
          </p:nvPicPr>
          <p:blipFill>
            <a:blip r:embed="rId6" cstate="print"/>
            <a:stretch>
              <a:fillRect/>
            </a:stretch>
          </p:blipFill>
          <p:spPr>
            <a:xfrm>
              <a:off x="6674358" y="2738627"/>
              <a:ext cx="4277105" cy="3061715"/>
            </a:xfrm>
            <a:prstGeom prst="rect">
              <a:avLst/>
            </a:prstGeom>
          </p:spPr>
        </p:pic>
        <p:pic>
          <p:nvPicPr>
            <p:cNvPr id="9" name="object 16">
              <a:extLst>
                <a:ext uri="{FF2B5EF4-FFF2-40B4-BE49-F238E27FC236}">
                  <a16:creationId xmlns:a16="http://schemas.microsoft.com/office/drawing/2014/main" id="{14004DA9-0C19-472B-B977-94002DDADB01}"/>
                </a:ext>
              </a:extLst>
            </p:cNvPr>
            <p:cNvPicPr/>
            <p:nvPr/>
          </p:nvPicPr>
          <p:blipFill>
            <a:blip r:embed="rId6" cstate="print"/>
            <a:stretch>
              <a:fillRect/>
            </a:stretch>
          </p:blipFill>
          <p:spPr>
            <a:xfrm>
              <a:off x="666750" y="2738627"/>
              <a:ext cx="4277105" cy="3061715"/>
            </a:xfrm>
            <a:prstGeom prst="rect">
              <a:avLst/>
            </a:prstGeom>
          </p:spPr>
        </p:pic>
      </p:grpSp>
    </p:spTree>
    <p:extLst>
      <p:ext uri="{BB962C8B-B14F-4D97-AF65-F5344CB8AC3E}">
        <p14:creationId xmlns:p14="http://schemas.microsoft.com/office/powerpoint/2010/main" val="3609198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4C3B03-8A06-B16F-FA76-C8A9ED41F96E}"/>
              </a:ext>
            </a:extLst>
          </p:cNvPr>
          <p:cNvSpPr>
            <a:spLocks noGrp="1"/>
          </p:cNvSpPr>
          <p:nvPr>
            <p:ph type="title"/>
          </p:nvPr>
        </p:nvSpPr>
        <p:spPr>
          <a:xfrm>
            <a:off x="4965432" y="238939"/>
            <a:ext cx="6586491" cy="1676603"/>
          </a:xfrm>
        </p:spPr>
        <p:txBody>
          <a:bodyPr vert="horz" lIns="91440" tIns="45720" rIns="91440" bIns="45720" rtlCol="0" anchor="ctr">
            <a:normAutofit/>
          </a:bodyPr>
          <a:lstStyle/>
          <a:p>
            <a:pPr algn="ctr"/>
            <a:r>
              <a:rPr lang="en-US" sz="5400">
                <a:solidFill>
                  <a:srgbClr val="04617B"/>
                </a:solidFill>
                <a:latin typeface="Montserrat" panose="00000500000000000000" pitchFamily="2" charset="0"/>
              </a:rPr>
              <a:t>Agenda</a:t>
            </a:r>
          </a:p>
        </p:txBody>
      </p:sp>
      <p:sp>
        <p:nvSpPr>
          <p:cNvPr id="6" name="TextBox 5">
            <a:extLst>
              <a:ext uri="{FF2B5EF4-FFF2-40B4-BE49-F238E27FC236}">
                <a16:creationId xmlns:a16="http://schemas.microsoft.com/office/drawing/2014/main" id="{63144C46-AED3-4B0B-997D-EDA4C482F952}"/>
              </a:ext>
            </a:extLst>
          </p:cNvPr>
          <p:cNvSpPr txBox="1"/>
          <p:nvPr/>
        </p:nvSpPr>
        <p:spPr>
          <a:xfrm>
            <a:off x="4965432" y="1995340"/>
            <a:ext cx="6586489" cy="3785419"/>
          </a:xfrm>
          <a:prstGeom prst="rect">
            <a:avLst/>
          </a:prstGeom>
        </p:spPr>
        <p:txBody>
          <a:bodyPr vert="horz" lIns="91440" tIns="45720" rIns="91440" bIns="45720" rtlCol="0" anchor="t">
            <a:normAutofit fontScale="92500" lnSpcReduction="20000"/>
          </a:bodyPr>
          <a:lstStyle/>
          <a:p>
            <a:pPr marL="469265" indent="-228600">
              <a:lnSpc>
                <a:spcPct val="150000"/>
              </a:lnSpc>
              <a:spcBef>
                <a:spcPts val="765"/>
              </a:spcBef>
              <a:buClr>
                <a:srgbClr val="46A8B8"/>
              </a:buClr>
              <a:buFont typeface="Arial" panose="020B0604020202020204" pitchFamily="34" charset="0"/>
              <a:buChar char="•"/>
              <a:tabLst>
                <a:tab pos="469265" algn="l"/>
                <a:tab pos="469900" algn="l"/>
              </a:tabLst>
            </a:pPr>
            <a:r>
              <a:rPr lang="en-US" sz="2400" b="1" spc="-75">
                <a:solidFill>
                  <a:srgbClr val="007DB2"/>
                </a:solidFill>
                <a:latin typeface="Montserrat"/>
              </a:rPr>
              <a:t>About</a:t>
            </a:r>
            <a:r>
              <a:rPr lang="en-US" sz="2400" b="1" spc="-90">
                <a:solidFill>
                  <a:srgbClr val="007DB2"/>
                </a:solidFill>
                <a:latin typeface="Montserrat"/>
              </a:rPr>
              <a:t> </a:t>
            </a:r>
            <a:r>
              <a:rPr lang="en-US" sz="2400" b="1" spc="-70">
                <a:solidFill>
                  <a:srgbClr val="007DB2"/>
                </a:solidFill>
                <a:latin typeface="Montserrat"/>
              </a:rPr>
              <a:t>Blue</a:t>
            </a:r>
            <a:r>
              <a:rPr lang="en-US" sz="2400" b="1" spc="-120">
                <a:solidFill>
                  <a:srgbClr val="007DB2"/>
                </a:solidFill>
                <a:latin typeface="Montserrat"/>
              </a:rPr>
              <a:t> </a:t>
            </a:r>
            <a:r>
              <a:rPr lang="en-US" sz="2400" b="1" spc="-50">
                <a:solidFill>
                  <a:srgbClr val="007DB2"/>
                </a:solidFill>
                <a:latin typeface="Montserrat"/>
              </a:rPr>
              <a:t>Stream</a:t>
            </a:r>
            <a:r>
              <a:rPr lang="en-US" sz="2400" b="1" spc="-140">
                <a:solidFill>
                  <a:srgbClr val="007DB2"/>
                </a:solidFill>
                <a:latin typeface="Montserrat"/>
              </a:rPr>
              <a:t> </a:t>
            </a:r>
            <a:r>
              <a:rPr lang="en-US" sz="2400" b="1" spc="-40">
                <a:solidFill>
                  <a:srgbClr val="007DB2"/>
                </a:solidFill>
                <a:latin typeface="Montserrat"/>
              </a:rPr>
              <a:t>Fiber</a:t>
            </a:r>
            <a:endParaRPr lang="en-US" sz="2400">
              <a:solidFill>
                <a:srgbClr val="007DB2"/>
              </a:solidFill>
              <a:latin typeface="Montserrat"/>
            </a:endParaRPr>
          </a:p>
          <a:p>
            <a:pPr marL="469265" marR="334010" indent="-228600">
              <a:lnSpc>
                <a:spcPct val="150000"/>
              </a:lnSpc>
              <a:spcBef>
                <a:spcPts val="1050"/>
              </a:spcBef>
              <a:buClr>
                <a:srgbClr val="46A8B8"/>
              </a:buClr>
              <a:buFont typeface="Arial" panose="020B0604020202020204" pitchFamily="34" charset="0"/>
              <a:buChar char="•"/>
              <a:tabLst>
                <a:tab pos="469265" algn="l"/>
                <a:tab pos="469900" algn="l"/>
              </a:tabLst>
            </a:pPr>
            <a:r>
              <a:rPr lang="en-US" sz="2400" b="1" spc="-25">
                <a:solidFill>
                  <a:srgbClr val="007DB2"/>
                </a:solidFill>
                <a:latin typeface="Montserrat"/>
              </a:rPr>
              <a:t>Network</a:t>
            </a:r>
            <a:r>
              <a:rPr lang="en-US" sz="2400" b="1" spc="-160">
                <a:solidFill>
                  <a:srgbClr val="007DB2"/>
                </a:solidFill>
                <a:latin typeface="Montserrat"/>
              </a:rPr>
              <a:t> </a:t>
            </a:r>
            <a:r>
              <a:rPr lang="en-US" sz="2400" b="1" spc="-85">
                <a:solidFill>
                  <a:srgbClr val="007DB2"/>
                </a:solidFill>
                <a:latin typeface="Montserrat"/>
              </a:rPr>
              <a:t>Construction </a:t>
            </a:r>
            <a:endParaRPr lang="en-US" sz="2400" b="1" spc="-85">
              <a:solidFill>
                <a:srgbClr val="007DB2"/>
              </a:solidFill>
              <a:latin typeface="Montserrat" panose="00000500000000000000" pitchFamily="2" charset="0"/>
            </a:endParaRPr>
          </a:p>
          <a:p>
            <a:pPr marL="469265" marR="334010" indent="-228600">
              <a:lnSpc>
                <a:spcPct val="150000"/>
              </a:lnSpc>
              <a:spcBef>
                <a:spcPts val="1050"/>
              </a:spcBef>
              <a:buClr>
                <a:srgbClr val="46A8B8"/>
              </a:buClr>
              <a:buFont typeface="Arial" panose="020B0604020202020204" pitchFamily="34" charset="0"/>
              <a:buChar char="•"/>
              <a:tabLst>
                <a:tab pos="469265" algn="l"/>
                <a:tab pos="469900" algn="l"/>
              </a:tabLst>
            </a:pPr>
            <a:r>
              <a:rPr lang="en-US" sz="2400" b="1" spc="-70">
                <a:solidFill>
                  <a:srgbClr val="007DB2"/>
                </a:solidFill>
                <a:latin typeface="Montserrat"/>
              </a:rPr>
              <a:t>In-</a:t>
            </a:r>
            <a:r>
              <a:rPr lang="en-US" sz="2400" b="1" spc="-30">
                <a:solidFill>
                  <a:srgbClr val="007DB2"/>
                </a:solidFill>
                <a:latin typeface="Montserrat"/>
              </a:rPr>
              <a:t>Home</a:t>
            </a:r>
            <a:r>
              <a:rPr lang="en-US" sz="2400" b="1" spc="-140">
                <a:solidFill>
                  <a:srgbClr val="007DB2"/>
                </a:solidFill>
                <a:latin typeface="Montserrat"/>
              </a:rPr>
              <a:t> </a:t>
            </a:r>
            <a:r>
              <a:rPr lang="en-US" sz="2400" b="1" spc="-10">
                <a:solidFill>
                  <a:srgbClr val="007DB2"/>
                </a:solidFill>
                <a:latin typeface="Montserrat"/>
              </a:rPr>
              <a:t>Installation </a:t>
            </a:r>
            <a:r>
              <a:rPr lang="en-US" sz="2400" b="1" spc="-45">
                <a:solidFill>
                  <a:srgbClr val="007DB2"/>
                </a:solidFill>
                <a:latin typeface="Montserrat"/>
              </a:rPr>
              <a:t>&amp;</a:t>
            </a:r>
            <a:r>
              <a:rPr lang="en-US" sz="2400" b="1" spc="-150">
                <a:solidFill>
                  <a:srgbClr val="007DB2"/>
                </a:solidFill>
                <a:latin typeface="Montserrat"/>
              </a:rPr>
              <a:t> </a:t>
            </a:r>
            <a:r>
              <a:rPr lang="en-US" sz="2400" b="1" spc="-100">
                <a:solidFill>
                  <a:srgbClr val="007DB2"/>
                </a:solidFill>
                <a:latin typeface="Montserrat"/>
              </a:rPr>
              <a:t>Sign-</a:t>
            </a:r>
            <a:r>
              <a:rPr lang="en-US" sz="2400" b="1" spc="-25">
                <a:solidFill>
                  <a:srgbClr val="007DB2"/>
                </a:solidFill>
                <a:latin typeface="Montserrat"/>
              </a:rPr>
              <a:t>Ups</a:t>
            </a:r>
            <a:endParaRPr lang="en-US" sz="2400">
              <a:solidFill>
                <a:srgbClr val="007DB2"/>
              </a:solidFill>
              <a:latin typeface="Montserrat"/>
            </a:endParaRPr>
          </a:p>
          <a:p>
            <a:pPr marL="469265" indent="-228600">
              <a:lnSpc>
                <a:spcPct val="150000"/>
              </a:lnSpc>
              <a:spcBef>
                <a:spcPts val="625"/>
              </a:spcBef>
              <a:buClr>
                <a:srgbClr val="46A8B8"/>
              </a:buClr>
              <a:buFont typeface="Arial" panose="020B0604020202020204" pitchFamily="34" charset="0"/>
              <a:buChar char="•"/>
              <a:tabLst>
                <a:tab pos="469265" algn="l"/>
                <a:tab pos="469900" algn="l"/>
              </a:tabLst>
            </a:pPr>
            <a:r>
              <a:rPr lang="en-US" sz="2400" b="1" spc="-95">
                <a:solidFill>
                  <a:srgbClr val="007DB2"/>
                </a:solidFill>
                <a:latin typeface="Montserrat"/>
              </a:rPr>
              <a:t>Products</a:t>
            </a:r>
            <a:r>
              <a:rPr lang="en-US" sz="2400" b="1" spc="-215">
                <a:solidFill>
                  <a:srgbClr val="007DB2"/>
                </a:solidFill>
                <a:latin typeface="Montserrat"/>
              </a:rPr>
              <a:t> </a:t>
            </a:r>
            <a:r>
              <a:rPr lang="en-US" sz="2400" b="1">
                <a:solidFill>
                  <a:srgbClr val="007DB2"/>
                </a:solidFill>
                <a:latin typeface="Montserrat"/>
              </a:rPr>
              <a:t>&amp;</a:t>
            </a:r>
            <a:r>
              <a:rPr lang="en-US" sz="2400" b="1" spc="-245">
                <a:solidFill>
                  <a:srgbClr val="007DB2"/>
                </a:solidFill>
                <a:latin typeface="Montserrat"/>
              </a:rPr>
              <a:t> </a:t>
            </a:r>
            <a:r>
              <a:rPr lang="en-US" sz="2400" b="1" spc="-10">
                <a:solidFill>
                  <a:srgbClr val="007DB2"/>
                </a:solidFill>
                <a:latin typeface="Montserrat"/>
              </a:rPr>
              <a:t>Services</a:t>
            </a:r>
            <a:endParaRPr lang="en-US" sz="2400">
              <a:solidFill>
                <a:srgbClr val="007DB2"/>
              </a:solidFill>
              <a:latin typeface="Montserrat"/>
            </a:endParaRPr>
          </a:p>
          <a:p>
            <a:pPr marL="469265" indent="-228600">
              <a:lnSpc>
                <a:spcPct val="150000"/>
              </a:lnSpc>
              <a:spcBef>
                <a:spcPts val="665"/>
              </a:spcBef>
              <a:buClr>
                <a:srgbClr val="46A8B8"/>
              </a:buClr>
              <a:buFont typeface="Arial" panose="020B0604020202020204" pitchFamily="34" charset="0"/>
              <a:buChar char="•"/>
              <a:tabLst>
                <a:tab pos="469265" algn="l"/>
                <a:tab pos="469900" algn="l"/>
              </a:tabLst>
            </a:pPr>
            <a:r>
              <a:rPr lang="en-US" sz="2400" b="1" spc="-40">
                <a:solidFill>
                  <a:srgbClr val="007DB2"/>
                </a:solidFill>
                <a:latin typeface="Montserrat"/>
              </a:rPr>
              <a:t>Upgrade</a:t>
            </a:r>
            <a:r>
              <a:rPr lang="en-US" sz="2400" b="1" spc="-130">
                <a:solidFill>
                  <a:srgbClr val="007DB2"/>
                </a:solidFill>
                <a:latin typeface="Montserrat"/>
              </a:rPr>
              <a:t> </a:t>
            </a:r>
            <a:r>
              <a:rPr lang="en-US" sz="2400" b="1" spc="-10">
                <a:solidFill>
                  <a:srgbClr val="007DB2"/>
                </a:solidFill>
                <a:latin typeface="Montserrat"/>
              </a:rPr>
              <a:t>Options</a:t>
            </a:r>
          </a:p>
          <a:p>
            <a:pPr marL="469265" indent="-228600">
              <a:lnSpc>
                <a:spcPct val="150000"/>
              </a:lnSpc>
              <a:spcBef>
                <a:spcPts val="665"/>
              </a:spcBef>
              <a:buClr>
                <a:srgbClr val="46A8B8"/>
              </a:buClr>
              <a:buFont typeface="Arial" panose="020B0604020202020204" pitchFamily="34" charset="0"/>
              <a:buChar char="•"/>
              <a:tabLst>
                <a:tab pos="469265" algn="l"/>
                <a:tab pos="469900" algn="l"/>
              </a:tabLst>
            </a:pPr>
            <a:r>
              <a:rPr lang="en-US" sz="2400" b="1">
                <a:solidFill>
                  <a:srgbClr val="007DB2"/>
                </a:solidFill>
                <a:latin typeface="Montserrat"/>
              </a:rPr>
              <a:t>Customer Education Resources</a:t>
            </a:r>
          </a:p>
          <a:p>
            <a:pPr marL="469265" indent="-228600">
              <a:lnSpc>
                <a:spcPct val="150000"/>
              </a:lnSpc>
              <a:spcBef>
                <a:spcPts val="665"/>
              </a:spcBef>
              <a:buClr>
                <a:srgbClr val="46A8B8"/>
              </a:buClr>
              <a:buFont typeface="Arial" panose="020B0604020202020204" pitchFamily="34" charset="0"/>
              <a:buChar char="•"/>
              <a:tabLst>
                <a:tab pos="469265" algn="l"/>
                <a:tab pos="469900" algn="l"/>
              </a:tabLst>
            </a:pPr>
            <a:r>
              <a:rPr lang="en-US" sz="2400" b="1" spc="-10">
                <a:solidFill>
                  <a:srgbClr val="007DB2"/>
                </a:solidFill>
                <a:latin typeface="Montserrat"/>
              </a:rPr>
              <a:t>Questions</a:t>
            </a:r>
            <a:endParaRPr lang="en-US" sz="2400">
              <a:solidFill>
                <a:srgbClr val="007DB2"/>
              </a:solidFill>
              <a:latin typeface="Montserrat"/>
            </a:endParaRPr>
          </a:p>
        </p:txBody>
      </p:sp>
      <p:pic>
        <p:nvPicPr>
          <p:cNvPr id="8" name="Picture 7" descr="A picture containing floor, indoor, wall, hard&#10;&#10;Description automatically generated">
            <a:extLst>
              <a:ext uri="{FF2B5EF4-FFF2-40B4-BE49-F238E27FC236}">
                <a16:creationId xmlns:a16="http://schemas.microsoft.com/office/drawing/2014/main" id="{A8CB411F-B25F-45A4-A3E8-84E6C6CDEEEE}"/>
              </a:ext>
            </a:extLst>
          </p:cNvPr>
          <p:cNvPicPr>
            <a:picLocks noChangeAspect="1"/>
          </p:cNvPicPr>
          <p:nvPr/>
        </p:nvPicPr>
        <p:blipFill rotWithShape="1">
          <a:blip r:embed="rId3"/>
          <a:srcRect l="25594" r="29456"/>
          <a:stretch/>
        </p:blipFill>
        <p:spPr>
          <a:xfrm>
            <a:off x="20" y="10"/>
            <a:ext cx="4635571" cy="6857990"/>
          </a:xfrm>
          <a:prstGeom prst="rect">
            <a:avLst/>
          </a:prstGeom>
          <a:effectLst/>
        </p:spPr>
      </p:pic>
    </p:spTree>
    <p:extLst>
      <p:ext uri="{BB962C8B-B14F-4D97-AF65-F5344CB8AC3E}">
        <p14:creationId xmlns:p14="http://schemas.microsoft.com/office/powerpoint/2010/main" val="1991904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CADE0-72D4-B693-5405-C6C34600454F}"/>
              </a:ext>
            </a:extLst>
          </p:cNvPr>
          <p:cNvSpPr>
            <a:spLocks noGrp="1"/>
          </p:cNvSpPr>
          <p:nvPr>
            <p:ph type="title"/>
          </p:nvPr>
        </p:nvSpPr>
        <p:spPr>
          <a:xfrm>
            <a:off x="501569" y="250785"/>
            <a:ext cx="11854405" cy="801577"/>
          </a:xfrm>
        </p:spPr>
        <p:txBody>
          <a:bodyPr/>
          <a:lstStyle/>
          <a:p>
            <a:r>
              <a:rPr lang="en-US">
                <a:latin typeface="Montserrat" panose="00000500000000000000" pitchFamily="2" charset="0"/>
              </a:rPr>
              <a:t>Total Home WiFi</a:t>
            </a:r>
          </a:p>
        </p:txBody>
      </p:sp>
      <p:sp>
        <p:nvSpPr>
          <p:cNvPr id="3" name="Text Placeholder 2">
            <a:extLst>
              <a:ext uri="{FF2B5EF4-FFF2-40B4-BE49-F238E27FC236}">
                <a16:creationId xmlns:a16="http://schemas.microsoft.com/office/drawing/2014/main" id="{A76E69FD-69CB-FE98-FD5B-646D76C8917D}"/>
              </a:ext>
            </a:extLst>
          </p:cNvPr>
          <p:cNvSpPr>
            <a:spLocks noGrp="1"/>
          </p:cNvSpPr>
          <p:nvPr>
            <p:ph type="body" sz="quarter" idx="15"/>
          </p:nvPr>
        </p:nvSpPr>
        <p:spPr>
          <a:xfrm>
            <a:off x="501568" y="1048900"/>
            <a:ext cx="7009735" cy="696639"/>
          </a:xfrm>
        </p:spPr>
        <p:txBody>
          <a:bodyPr vert="horz" lIns="91440" tIns="45720" rIns="91440" bIns="45720" rtlCol="0" anchor="t">
            <a:normAutofit/>
          </a:bodyPr>
          <a:lstStyle/>
          <a:p>
            <a:r>
              <a:rPr lang="en-US" b="1">
                <a:solidFill>
                  <a:srgbClr val="3EB1C8"/>
                </a:solidFill>
                <a:latin typeface="Montserrat"/>
              </a:rPr>
              <a:t>Included with our Fiber Internet Service</a:t>
            </a:r>
          </a:p>
        </p:txBody>
      </p:sp>
      <p:sp>
        <p:nvSpPr>
          <p:cNvPr id="4" name="Text Placeholder 3">
            <a:extLst>
              <a:ext uri="{FF2B5EF4-FFF2-40B4-BE49-F238E27FC236}">
                <a16:creationId xmlns:a16="http://schemas.microsoft.com/office/drawing/2014/main" id="{C16EF129-9257-739C-D16E-B44F87C6712F}"/>
              </a:ext>
            </a:extLst>
          </p:cNvPr>
          <p:cNvSpPr>
            <a:spLocks noGrp="1"/>
          </p:cNvSpPr>
          <p:nvPr>
            <p:ph type="body" sz="quarter" idx="16"/>
          </p:nvPr>
        </p:nvSpPr>
        <p:spPr>
          <a:xfrm>
            <a:off x="501570" y="1887617"/>
            <a:ext cx="8417335" cy="1945908"/>
          </a:xfrm>
        </p:spPr>
        <p:txBody>
          <a:bodyPr vert="horz" lIns="91440" tIns="45720" rIns="91440" bIns="45720" rtlCol="0" anchor="t">
            <a:normAutofit/>
          </a:bodyPr>
          <a:lstStyle/>
          <a:p>
            <a:r>
              <a:rPr lang="en-US" sz="2600">
                <a:solidFill>
                  <a:srgbClr val="007DB2"/>
                </a:solidFill>
                <a:latin typeface="Montserrat" panose="00000500000000000000" pitchFamily="2" charset="0"/>
              </a:rPr>
              <a:t>Better In-Home Service and Coverage</a:t>
            </a:r>
          </a:p>
          <a:p>
            <a:pPr marL="240665" indent="-227965">
              <a:lnSpc>
                <a:spcPct val="100000"/>
              </a:lnSpc>
              <a:spcBef>
                <a:spcPts val="470"/>
              </a:spcBef>
              <a:buClr>
                <a:srgbClr val="46A8B8"/>
              </a:buClr>
              <a:buChar char="•"/>
              <a:tabLst>
                <a:tab pos="240665" algn="l"/>
                <a:tab pos="241300" algn="l"/>
              </a:tabLst>
            </a:pPr>
            <a:r>
              <a:rPr lang="en-US" sz="2200" b="0">
                <a:solidFill>
                  <a:srgbClr val="3B3E44"/>
                </a:solidFill>
                <a:latin typeface="Montserrat" panose="00000500000000000000" pitchFamily="2" charset="0"/>
                <a:cs typeface="Arial"/>
              </a:rPr>
              <a:t>Total</a:t>
            </a:r>
            <a:r>
              <a:rPr lang="en-US" sz="2200" b="0" spc="-100">
                <a:solidFill>
                  <a:srgbClr val="3B3E44"/>
                </a:solidFill>
                <a:latin typeface="Montserrat" panose="00000500000000000000" pitchFamily="2" charset="0"/>
                <a:cs typeface="Arial"/>
              </a:rPr>
              <a:t> </a:t>
            </a:r>
            <a:r>
              <a:rPr lang="en-US" sz="2200" b="0">
                <a:solidFill>
                  <a:srgbClr val="3B3E44"/>
                </a:solidFill>
                <a:latin typeface="Montserrat" panose="00000500000000000000" pitchFamily="2" charset="0"/>
                <a:cs typeface="Arial"/>
              </a:rPr>
              <a:t>Home</a:t>
            </a:r>
            <a:r>
              <a:rPr lang="en-US" sz="2200" b="0" spc="-105">
                <a:solidFill>
                  <a:srgbClr val="3B3E44"/>
                </a:solidFill>
                <a:latin typeface="Montserrat" panose="00000500000000000000" pitchFamily="2" charset="0"/>
                <a:cs typeface="Arial"/>
              </a:rPr>
              <a:t> </a:t>
            </a:r>
            <a:r>
              <a:rPr lang="en-US" sz="2200" b="0" spc="-10">
                <a:solidFill>
                  <a:srgbClr val="3B3E44"/>
                </a:solidFill>
                <a:latin typeface="Montserrat" panose="00000500000000000000" pitchFamily="2" charset="0"/>
                <a:cs typeface="Arial"/>
              </a:rPr>
              <a:t>Coverage</a:t>
            </a:r>
            <a:r>
              <a:rPr lang="en-US" sz="2200" b="0" spc="-60">
                <a:solidFill>
                  <a:srgbClr val="3B3E44"/>
                </a:solidFill>
                <a:latin typeface="Montserrat" panose="00000500000000000000" pitchFamily="2" charset="0"/>
                <a:cs typeface="Arial"/>
              </a:rPr>
              <a:t> </a:t>
            </a:r>
            <a:r>
              <a:rPr lang="en-US" sz="2200" b="0">
                <a:solidFill>
                  <a:srgbClr val="3B3E44"/>
                </a:solidFill>
                <a:latin typeface="Montserrat" panose="00000500000000000000" pitchFamily="2" charset="0"/>
                <a:cs typeface="Arial"/>
              </a:rPr>
              <a:t>–</a:t>
            </a:r>
            <a:r>
              <a:rPr lang="en-US" sz="2200" b="0" spc="-15">
                <a:solidFill>
                  <a:srgbClr val="3B3E44"/>
                </a:solidFill>
                <a:latin typeface="Montserrat" panose="00000500000000000000" pitchFamily="2" charset="0"/>
                <a:cs typeface="Arial"/>
              </a:rPr>
              <a:t> </a:t>
            </a:r>
            <a:r>
              <a:rPr lang="en-US" sz="2200" b="0">
                <a:solidFill>
                  <a:srgbClr val="3B3E44"/>
                </a:solidFill>
                <a:latin typeface="Montserrat" panose="00000500000000000000" pitchFamily="2" charset="0"/>
                <a:cs typeface="Arial"/>
              </a:rPr>
              <a:t>Not</a:t>
            </a:r>
            <a:r>
              <a:rPr lang="en-US" sz="2200" b="0" spc="-35">
                <a:solidFill>
                  <a:srgbClr val="3B3E44"/>
                </a:solidFill>
                <a:latin typeface="Montserrat" panose="00000500000000000000" pitchFamily="2" charset="0"/>
                <a:cs typeface="Arial"/>
              </a:rPr>
              <a:t> </a:t>
            </a:r>
            <a:r>
              <a:rPr lang="en-US" sz="2200" b="0">
                <a:solidFill>
                  <a:srgbClr val="3B3E44"/>
                </a:solidFill>
                <a:latin typeface="Montserrat" panose="00000500000000000000" pitchFamily="2" charset="0"/>
                <a:cs typeface="Arial"/>
              </a:rPr>
              <a:t>just</a:t>
            </a:r>
            <a:r>
              <a:rPr lang="en-US" sz="2200" b="0" spc="-70">
                <a:solidFill>
                  <a:srgbClr val="3B3E44"/>
                </a:solidFill>
                <a:latin typeface="Montserrat" panose="00000500000000000000" pitchFamily="2" charset="0"/>
                <a:cs typeface="Arial"/>
              </a:rPr>
              <a:t> </a:t>
            </a:r>
            <a:r>
              <a:rPr lang="en-US" sz="2200" b="0">
                <a:solidFill>
                  <a:srgbClr val="3B3E44"/>
                </a:solidFill>
                <a:latin typeface="Montserrat" panose="00000500000000000000" pitchFamily="2" charset="0"/>
                <a:cs typeface="Arial"/>
              </a:rPr>
              <a:t>a</a:t>
            </a:r>
            <a:r>
              <a:rPr lang="en-US" sz="2200" b="0" spc="-135">
                <a:solidFill>
                  <a:srgbClr val="3B3E44"/>
                </a:solidFill>
                <a:latin typeface="Montserrat" panose="00000500000000000000" pitchFamily="2" charset="0"/>
                <a:cs typeface="Arial"/>
              </a:rPr>
              <a:t> </a:t>
            </a:r>
            <a:r>
              <a:rPr lang="en-US" sz="2200" b="0" spc="-10">
                <a:solidFill>
                  <a:srgbClr val="3B3E44"/>
                </a:solidFill>
                <a:latin typeface="Montserrat" panose="00000500000000000000" pitchFamily="2" charset="0"/>
                <a:cs typeface="Arial"/>
              </a:rPr>
              <a:t>router</a:t>
            </a:r>
            <a:endParaRPr lang="en-US" sz="2200" b="0">
              <a:latin typeface="Montserrat" panose="00000500000000000000" pitchFamily="2" charset="0"/>
              <a:cs typeface="Arial"/>
            </a:endParaRPr>
          </a:p>
          <a:p>
            <a:pPr marL="240665" indent="-227965">
              <a:lnSpc>
                <a:spcPct val="100000"/>
              </a:lnSpc>
              <a:spcBef>
                <a:spcPts val="1060"/>
              </a:spcBef>
              <a:buClr>
                <a:srgbClr val="46A8B8"/>
              </a:buClr>
              <a:buChar char="•"/>
              <a:tabLst>
                <a:tab pos="240665" algn="l"/>
                <a:tab pos="241300" algn="l"/>
              </a:tabLst>
            </a:pPr>
            <a:r>
              <a:rPr lang="en-US" sz="2200" b="0" spc="-60" err="1">
                <a:solidFill>
                  <a:srgbClr val="3B3E44"/>
                </a:solidFill>
                <a:latin typeface="Montserrat" panose="00000500000000000000" pitchFamily="2" charset="0"/>
                <a:cs typeface="Arial"/>
              </a:rPr>
              <a:t>WiFi</a:t>
            </a:r>
            <a:r>
              <a:rPr lang="en-US" sz="2200" b="0" spc="-95">
                <a:solidFill>
                  <a:srgbClr val="3B3E44"/>
                </a:solidFill>
                <a:latin typeface="Montserrat" panose="00000500000000000000" pitchFamily="2" charset="0"/>
                <a:cs typeface="Arial"/>
              </a:rPr>
              <a:t> </a:t>
            </a:r>
            <a:r>
              <a:rPr lang="en-US" sz="2200" b="0" spc="-30">
                <a:solidFill>
                  <a:srgbClr val="3B3E44"/>
                </a:solidFill>
                <a:latin typeface="Montserrat" panose="00000500000000000000" pitchFamily="2" charset="0"/>
                <a:cs typeface="Arial"/>
              </a:rPr>
              <a:t>Assessment</a:t>
            </a:r>
            <a:r>
              <a:rPr lang="en-US" sz="2200" b="0" spc="-55">
                <a:solidFill>
                  <a:srgbClr val="3B3E44"/>
                </a:solidFill>
                <a:latin typeface="Montserrat" panose="00000500000000000000" pitchFamily="2" charset="0"/>
                <a:cs typeface="Arial"/>
              </a:rPr>
              <a:t> </a:t>
            </a:r>
            <a:r>
              <a:rPr lang="en-US" sz="2200" b="0">
                <a:solidFill>
                  <a:srgbClr val="3B3E44"/>
                </a:solidFill>
                <a:latin typeface="Montserrat" panose="00000500000000000000" pitchFamily="2" charset="0"/>
                <a:cs typeface="Arial"/>
              </a:rPr>
              <a:t>by</a:t>
            </a:r>
            <a:r>
              <a:rPr lang="en-US" sz="2200" b="0" spc="-150">
                <a:solidFill>
                  <a:srgbClr val="3B3E44"/>
                </a:solidFill>
                <a:latin typeface="Montserrat" panose="00000500000000000000" pitchFamily="2" charset="0"/>
                <a:cs typeface="Arial"/>
              </a:rPr>
              <a:t> </a:t>
            </a:r>
            <a:r>
              <a:rPr lang="en-US" sz="2200" b="0" spc="-10">
                <a:solidFill>
                  <a:srgbClr val="3B3E44"/>
                </a:solidFill>
                <a:latin typeface="Montserrat" panose="00000500000000000000" pitchFamily="2" charset="0"/>
                <a:cs typeface="Arial"/>
              </a:rPr>
              <a:t>Engineering</a:t>
            </a:r>
            <a:r>
              <a:rPr lang="en-US" sz="2200" b="0" spc="-55">
                <a:solidFill>
                  <a:srgbClr val="3B3E44"/>
                </a:solidFill>
                <a:latin typeface="Montserrat" panose="00000500000000000000" pitchFamily="2" charset="0"/>
                <a:cs typeface="Arial"/>
              </a:rPr>
              <a:t> </a:t>
            </a:r>
            <a:r>
              <a:rPr lang="en-US" sz="2200" b="0" spc="-20">
                <a:solidFill>
                  <a:srgbClr val="3B3E44"/>
                </a:solidFill>
                <a:latin typeface="Montserrat" panose="00000500000000000000" pitchFamily="2" charset="0"/>
                <a:cs typeface="Arial"/>
              </a:rPr>
              <a:t>Team</a:t>
            </a:r>
            <a:endParaRPr lang="en-US" sz="2200" b="0">
              <a:latin typeface="Montserrat" panose="00000500000000000000" pitchFamily="2" charset="0"/>
              <a:cs typeface="Arial"/>
            </a:endParaRPr>
          </a:p>
          <a:p>
            <a:pPr marL="240665" indent="-227965">
              <a:lnSpc>
                <a:spcPct val="100000"/>
              </a:lnSpc>
              <a:spcBef>
                <a:spcPts val="1060"/>
              </a:spcBef>
              <a:buClr>
                <a:srgbClr val="46A8B8"/>
              </a:buClr>
              <a:buChar char="•"/>
              <a:tabLst>
                <a:tab pos="240665" algn="l"/>
                <a:tab pos="241300" algn="l"/>
              </a:tabLst>
            </a:pPr>
            <a:r>
              <a:rPr lang="en-US" sz="2200" b="0">
                <a:solidFill>
                  <a:srgbClr val="3B3E44"/>
                </a:solidFill>
                <a:latin typeface="Montserrat" panose="00000500000000000000" pitchFamily="2" charset="0"/>
                <a:cs typeface="Arial"/>
              </a:rPr>
              <a:t>Automated</a:t>
            </a:r>
            <a:r>
              <a:rPr lang="en-US" sz="2200" b="0" spc="-95">
                <a:solidFill>
                  <a:srgbClr val="3B3E44"/>
                </a:solidFill>
                <a:latin typeface="Montserrat" panose="00000500000000000000" pitchFamily="2" charset="0"/>
                <a:cs typeface="Arial"/>
              </a:rPr>
              <a:t> </a:t>
            </a:r>
            <a:r>
              <a:rPr lang="en-US" sz="2200" b="0" spc="-45" err="1">
                <a:solidFill>
                  <a:srgbClr val="3B3E44"/>
                </a:solidFill>
                <a:latin typeface="Montserrat" panose="00000500000000000000" pitchFamily="2" charset="0"/>
                <a:cs typeface="Arial"/>
              </a:rPr>
              <a:t>WiFi</a:t>
            </a:r>
            <a:r>
              <a:rPr lang="en-US" sz="2200" b="0" spc="-100">
                <a:solidFill>
                  <a:srgbClr val="3B3E44"/>
                </a:solidFill>
                <a:latin typeface="Montserrat" panose="00000500000000000000" pitchFamily="2" charset="0"/>
                <a:cs typeface="Arial"/>
              </a:rPr>
              <a:t> H</a:t>
            </a:r>
            <a:r>
              <a:rPr lang="en-US" sz="2200" b="0">
                <a:solidFill>
                  <a:srgbClr val="3B3E44"/>
                </a:solidFill>
                <a:latin typeface="Montserrat" panose="00000500000000000000" pitchFamily="2" charset="0"/>
                <a:cs typeface="Arial"/>
              </a:rPr>
              <a:t>ealth</a:t>
            </a:r>
            <a:r>
              <a:rPr lang="en-US" sz="2200" b="0" spc="-100">
                <a:solidFill>
                  <a:srgbClr val="3B3E44"/>
                </a:solidFill>
                <a:latin typeface="Montserrat" panose="00000500000000000000" pitchFamily="2" charset="0"/>
                <a:cs typeface="Arial"/>
              </a:rPr>
              <a:t> </a:t>
            </a:r>
            <a:r>
              <a:rPr lang="en-US" sz="2200" b="0" spc="-20">
                <a:solidFill>
                  <a:srgbClr val="3B3E44"/>
                </a:solidFill>
                <a:latin typeface="Montserrat" panose="00000500000000000000" pitchFamily="2" charset="0"/>
                <a:cs typeface="Arial"/>
              </a:rPr>
              <a:t>Checks</a:t>
            </a:r>
            <a:r>
              <a:rPr lang="en-US" sz="2200" b="0" spc="-130">
                <a:solidFill>
                  <a:srgbClr val="3B3E44"/>
                </a:solidFill>
                <a:latin typeface="Montserrat" panose="00000500000000000000" pitchFamily="2" charset="0"/>
                <a:cs typeface="Arial"/>
              </a:rPr>
              <a:t> </a:t>
            </a:r>
            <a:r>
              <a:rPr lang="en-US" sz="2200" b="0">
                <a:solidFill>
                  <a:srgbClr val="3B3E44"/>
                </a:solidFill>
                <a:latin typeface="Montserrat" panose="00000500000000000000" pitchFamily="2" charset="0"/>
                <a:cs typeface="Arial"/>
              </a:rPr>
              <a:t>and</a:t>
            </a:r>
            <a:r>
              <a:rPr lang="en-US" sz="2200" b="0" spc="-80">
                <a:solidFill>
                  <a:srgbClr val="3B3E44"/>
                </a:solidFill>
                <a:latin typeface="Montserrat" panose="00000500000000000000" pitchFamily="2" charset="0"/>
                <a:cs typeface="Arial"/>
              </a:rPr>
              <a:t> </a:t>
            </a:r>
            <a:r>
              <a:rPr lang="en-US" sz="2200" b="0" spc="-10">
                <a:solidFill>
                  <a:srgbClr val="3B3E44"/>
                </a:solidFill>
                <a:latin typeface="Montserrat" panose="00000500000000000000" pitchFamily="2" charset="0"/>
                <a:cs typeface="Arial"/>
              </a:rPr>
              <a:t>adjustments</a:t>
            </a:r>
            <a:endParaRPr lang="en-US" sz="2200" b="0">
              <a:latin typeface="Montserrat" panose="00000500000000000000" pitchFamily="2" charset="0"/>
              <a:cs typeface="Arial"/>
            </a:endParaRPr>
          </a:p>
          <a:p>
            <a:endParaRPr lang="en-US">
              <a:latin typeface="Proxima Nova"/>
            </a:endParaRPr>
          </a:p>
        </p:txBody>
      </p:sp>
      <p:sp>
        <p:nvSpPr>
          <p:cNvPr id="5" name="Text Placeholder 4">
            <a:extLst>
              <a:ext uri="{FF2B5EF4-FFF2-40B4-BE49-F238E27FC236}">
                <a16:creationId xmlns:a16="http://schemas.microsoft.com/office/drawing/2014/main" id="{C4C9A288-E520-3E86-C3CE-45BECE3BC1D1}"/>
              </a:ext>
            </a:extLst>
          </p:cNvPr>
          <p:cNvSpPr>
            <a:spLocks noGrp="1"/>
          </p:cNvSpPr>
          <p:nvPr>
            <p:ph type="body" sz="quarter" idx="17"/>
          </p:nvPr>
        </p:nvSpPr>
        <p:spPr>
          <a:xfrm>
            <a:off x="538933" y="3975603"/>
            <a:ext cx="7465229" cy="2097371"/>
          </a:xfrm>
        </p:spPr>
        <p:txBody>
          <a:bodyPr vert="horz" lIns="91440" tIns="45720" rIns="91440" bIns="45720" rtlCol="0" anchor="t">
            <a:normAutofit/>
          </a:bodyPr>
          <a:lstStyle/>
          <a:p>
            <a:pPr marL="12700">
              <a:lnSpc>
                <a:spcPts val="3295"/>
              </a:lnSpc>
              <a:spcBef>
                <a:spcPts val="1190"/>
              </a:spcBef>
            </a:pPr>
            <a:r>
              <a:rPr lang="en-US" sz="2600" b="1" spc="-25">
                <a:solidFill>
                  <a:srgbClr val="007CB1"/>
                </a:solidFill>
                <a:latin typeface="Montserrat"/>
                <a:cs typeface="Arial"/>
              </a:rPr>
              <a:t>Better</a:t>
            </a:r>
            <a:r>
              <a:rPr lang="en-US" sz="2600" b="1" spc="-155">
                <a:solidFill>
                  <a:srgbClr val="007CB1"/>
                </a:solidFill>
                <a:latin typeface="Montserrat"/>
                <a:cs typeface="Arial"/>
              </a:rPr>
              <a:t> </a:t>
            </a:r>
            <a:r>
              <a:rPr lang="en-US" sz="2600" b="1" spc="-65">
                <a:solidFill>
                  <a:srgbClr val="007CB1"/>
                </a:solidFill>
                <a:latin typeface="Montserrat"/>
                <a:cs typeface="Arial"/>
              </a:rPr>
              <a:t>For</a:t>
            </a:r>
            <a:r>
              <a:rPr lang="en-US" sz="2600" b="1" spc="-165">
                <a:solidFill>
                  <a:srgbClr val="007CB1"/>
                </a:solidFill>
                <a:latin typeface="Montserrat"/>
                <a:cs typeface="Arial"/>
              </a:rPr>
              <a:t> </a:t>
            </a:r>
            <a:r>
              <a:rPr lang="en-US" sz="2600" b="1" spc="-25">
                <a:solidFill>
                  <a:srgbClr val="007CB1"/>
                </a:solidFill>
                <a:latin typeface="Montserrat"/>
                <a:cs typeface="Arial"/>
              </a:rPr>
              <a:t>You</a:t>
            </a:r>
            <a:endParaRPr lang="en-US" sz="2600">
              <a:latin typeface="Montserrat"/>
              <a:cs typeface="Arial"/>
            </a:endParaRPr>
          </a:p>
          <a:p>
            <a:pPr marL="240665" indent="-227965">
              <a:lnSpc>
                <a:spcPts val="2575"/>
              </a:lnSpc>
              <a:buClr>
                <a:srgbClr val="46A8B8"/>
              </a:buClr>
              <a:buChar char="•"/>
              <a:tabLst>
                <a:tab pos="240665" algn="l"/>
                <a:tab pos="241300" algn="l"/>
              </a:tabLst>
            </a:pPr>
            <a:r>
              <a:rPr lang="en-US" sz="2200" b="0" spc="-25">
                <a:solidFill>
                  <a:srgbClr val="3B3E44"/>
                </a:solidFill>
                <a:latin typeface="Montserrat"/>
                <a:cs typeface="Arial"/>
              </a:rPr>
              <a:t>Built-</a:t>
            </a:r>
            <a:r>
              <a:rPr lang="en-US" sz="2200" b="0">
                <a:solidFill>
                  <a:srgbClr val="3B3E44"/>
                </a:solidFill>
                <a:latin typeface="Montserrat"/>
                <a:cs typeface="Arial"/>
              </a:rPr>
              <a:t>in</a:t>
            </a:r>
            <a:r>
              <a:rPr lang="en-US" sz="2200" b="0" spc="-95">
                <a:solidFill>
                  <a:srgbClr val="3B3E44"/>
                </a:solidFill>
                <a:latin typeface="Montserrat"/>
                <a:cs typeface="Arial"/>
              </a:rPr>
              <a:t> </a:t>
            </a:r>
            <a:r>
              <a:rPr lang="en-US" sz="2200" b="0" spc="-10">
                <a:solidFill>
                  <a:srgbClr val="3B3E44"/>
                </a:solidFill>
                <a:latin typeface="Montserrat"/>
                <a:cs typeface="Arial"/>
              </a:rPr>
              <a:t>security</a:t>
            </a:r>
            <a:r>
              <a:rPr lang="en-US" sz="2200" b="0" spc="-60">
                <a:solidFill>
                  <a:srgbClr val="3B3E44"/>
                </a:solidFill>
                <a:latin typeface="Montserrat"/>
                <a:cs typeface="Arial"/>
              </a:rPr>
              <a:t> </a:t>
            </a:r>
            <a:r>
              <a:rPr lang="en-US" sz="2200" b="0">
                <a:solidFill>
                  <a:srgbClr val="3B3E44"/>
                </a:solidFill>
                <a:latin typeface="Montserrat"/>
                <a:cs typeface="Arial"/>
              </a:rPr>
              <a:t>software</a:t>
            </a:r>
            <a:r>
              <a:rPr lang="en-US" sz="2200" b="0" spc="-60">
                <a:solidFill>
                  <a:srgbClr val="3B3E44"/>
                </a:solidFill>
                <a:latin typeface="Montserrat"/>
                <a:cs typeface="Arial"/>
              </a:rPr>
              <a:t> </a:t>
            </a:r>
            <a:r>
              <a:rPr lang="en-US" sz="2200" b="0">
                <a:solidFill>
                  <a:srgbClr val="3B3E44"/>
                </a:solidFill>
                <a:latin typeface="Montserrat"/>
                <a:cs typeface="Arial"/>
              </a:rPr>
              <a:t>for</a:t>
            </a:r>
            <a:r>
              <a:rPr lang="en-US" sz="2200" b="0" spc="-40">
                <a:solidFill>
                  <a:srgbClr val="3B3E44"/>
                </a:solidFill>
                <a:latin typeface="Montserrat"/>
                <a:cs typeface="Arial"/>
              </a:rPr>
              <a:t> </a:t>
            </a:r>
            <a:r>
              <a:rPr lang="en-US" sz="2200" b="0">
                <a:solidFill>
                  <a:srgbClr val="3B3E44"/>
                </a:solidFill>
                <a:latin typeface="Montserrat"/>
                <a:cs typeface="Arial"/>
              </a:rPr>
              <a:t>all</a:t>
            </a:r>
            <a:r>
              <a:rPr lang="en-US" sz="2200" b="0" spc="-55">
                <a:solidFill>
                  <a:srgbClr val="3B3E44"/>
                </a:solidFill>
                <a:latin typeface="Montserrat"/>
                <a:cs typeface="Arial"/>
              </a:rPr>
              <a:t> </a:t>
            </a:r>
            <a:r>
              <a:rPr lang="en-US" sz="2200" b="0" spc="-10">
                <a:solidFill>
                  <a:srgbClr val="3B3E44"/>
                </a:solidFill>
                <a:latin typeface="Montserrat"/>
                <a:cs typeface="Arial"/>
              </a:rPr>
              <a:t>devices</a:t>
            </a:r>
            <a:endParaRPr lang="en-US" sz="2200" b="0">
              <a:latin typeface="Montserrat"/>
              <a:cs typeface="Arial"/>
            </a:endParaRPr>
          </a:p>
          <a:p>
            <a:pPr marL="240665" indent="-227965">
              <a:lnSpc>
                <a:spcPct val="100000"/>
              </a:lnSpc>
              <a:spcBef>
                <a:spcPts val="1055"/>
              </a:spcBef>
              <a:buClr>
                <a:srgbClr val="46A8B8"/>
              </a:buClr>
              <a:buChar char="•"/>
              <a:tabLst>
                <a:tab pos="240665" algn="l"/>
                <a:tab pos="241300" algn="l"/>
              </a:tabLst>
            </a:pPr>
            <a:r>
              <a:rPr lang="en-US" sz="2200" b="0">
                <a:solidFill>
                  <a:srgbClr val="3B3E44"/>
                </a:solidFill>
                <a:latin typeface="Montserrat"/>
                <a:cs typeface="Arial"/>
              </a:rPr>
              <a:t>Control</a:t>
            </a:r>
            <a:r>
              <a:rPr lang="en-US" sz="2200" b="0" spc="-60">
                <a:solidFill>
                  <a:srgbClr val="3B3E44"/>
                </a:solidFill>
                <a:latin typeface="Montserrat"/>
                <a:cs typeface="Arial"/>
              </a:rPr>
              <a:t> </a:t>
            </a:r>
            <a:r>
              <a:rPr lang="en-US" sz="2200" b="0">
                <a:solidFill>
                  <a:srgbClr val="3B3E44"/>
                </a:solidFill>
                <a:latin typeface="Montserrat"/>
                <a:cs typeface="Arial"/>
              </a:rPr>
              <a:t>your</a:t>
            </a:r>
            <a:r>
              <a:rPr lang="en-US" sz="2200" b="0" spc="-80">
                <a:solidFill>
                  <a:srgbClr val="3B3E44"/>
                </a:solidFill>
                <a:latin typeface="Montserrat"/>
                <a:cs typeface="Arial"/>
              </a:rPr>
              <a:t> </a:t>
            </a:r>
            <a:r>
              <a:rPr lang="en-US" sz="2200" b="0">
                <a:solidFill>
                  <a:srgbClr val="3B3E44"/>
                </a:solidFill>
                <a:latin typeface="Montserrat"/>
                <a:cs typeface="Arial"/>
              </a:rPr>
              <a:t>network</a:t>
            </a:r>
            <a:r>
              <a:rPr lang="en-US" sz="2200" b="0" spc="-45">
                <a:solidFill>
                  <a:srgbClr val="3B3E44"/>
                </a:solidFill>
                <a:latin typeface="Montserrat"/>
                <a:cs typeface="Arial"/>
              </a:rPr>
              <a:t> </a:t>
            </a:r>
            <a:r>
              <a:rPr lang="en-US" sz="2200" b="0">
                <a:solidFill>
                  <a:srgbClr val="3B3E44"/>
                </a:solidFill>
                <a:latin typeface="Montserrat"/>
                <a:cs typeface="Arial"/>
              </a:rPr>
              <a:t>via</a:t>
            </a:r>
            <a:r>
              <a:rPr lang="en-US" sz="2200" b="0" spc="-125">
                <a:solidFill>
                  <a:srgbClr val="3B3E44"/>
                </a:solidFill>
                <a:latin typeface="Montserrat"/>
                <a:cs typeface="Arial"/>
              </a:rPr>
              <a:t> </a:t>
            </a:r>
            <a:r>
              <a:rPr lang="en-US" sz="2200" b="0">
                <a:solidFill>
                  <a:srgbClr val="3B3E44"/>
                </a:solidFill>
                <a:latin typeface="Montserrat"/>
                <a:cs typeface="Arial"/>
              </a:rPr>
              <a:t>an</a:t>
            </a:r>
            <a:r>
              <a:rPr lang="en-US" sz="2200" b="0" spc="-110">
                <a:solidFill>
                  <a:srgbClr val="3B3E44"/>
                </a:solidFill>
                <a:latin typeface="Montserrat"/>
                <a:cs typeface="Arial"/>
              </a:rPr>
              <a:t> </a:t>
            </a:r>
            <a:r>
              <a:rPr lang="en-US" sz="2200" b="0">
                <a:solidFill>
                  <a:srgbClr val="3B3E44"/>
                </a:solidFill>
                <a:latin typeface="Montserrat"/>
                <a:cs typeface="Arial"/>
              </a:rPr>
              <a:t>app</a:t>
            </a:r>
            <a:r>
              <a:rPr lang="en-US" sz="2200" b="0" spc="-105">
                <a:solidFill>
                  <a:srgbClr val="3B3E44"/>
                </a:solidFill>
                <a:latin typeface="Montserrat"/>
                <a:cs typeface="Arial"/>
              </a:rPr>
              <a:t> </a:t>
            </a:r>
            <a:r>
              <a:rPr lang="en-US" sz="2200" b="0">
                <a:solidFill>
                  <a:srgbClr val="3B3E44"/>
                </a:solidFill>
                <a:latin typeface="Montserrat"/>
                <a:cs typeface="Arial"/>
              </a:rPr>
              <a:t>(if</a:t>
            </a:r>
            <a:r>
              <a:rPr lang="en-US" sz="2200" b="0" spc="-80">
                <a:solidFill>
                  <a:srgbClr val="3B3E44"/>
                </a:solidFill>
                <a:latin typeface="Montserrat"/>
                <a:cs typeface="Arial"/>
              </a:rPr>
              <a:t> </a:t>
            </a:r>
            <a:r>
              <a:rPr lang="en-US" sz="2200" b="0">
                <a:solidFill>
                  <a:srgbClr val="3B3E44"/>
                </a:solidFill>
                <a:latin typeface="Montserrat"/>
                <a:cs typeface="Arial"/>
              </a:rPr>
              <a:t>you</a:t>
            </a:r>
            <a:r>
              <a:rPr lang="en-US" sz="2200" b="0" spc="-70">
                <a:solidFill>
                  <a:srgbClr val="3B3E44"/>
                </a:solidFill>
                <a:latin typeface="Montserrat"/>
                <a:cs typeface="Arial"/>
              </a:rPr>
              <a:t> </a:t>
            </a:r>
            <a:r>
              <a:rPr lang="en-US" sz="2200" b="0" spc="-10">
                <a:solidFill>
                  <a:srgbClr val="3B3E44"/>
                </a:solidFill>
                <a:latin typeface="Montserrat"/>
                <a:cs typeface="Arial"/>
              </a:rPr>
              <a:t>want)</a:t>
            </a:r>
            <a:endParaRPr lang="en-US" sz="2200" b="0">
              <a:latin typeface="Montserrat"/>
              <a:cs typeface="Arial"/>
            </a:endParaRPr>
          </a:p>
          <a:p>
            <a:pPr marL="240665" indent="-227965">
              <a:lnSpc>
                <a:spcPct val="100000"/>
              </a:lnSpc>
              <a:spcBef>
                <a:spcPts val="1060"/>
              </a:spcBef>
              <a:buClr>
                <a:srgbClr val="46A8B8"/>
              </a:buClr>
              <a:buChar char="•"/>
              <a:tabLst>
                <a:tab pos="240665" algn="l"/>
                <a:tab pos="241300" algn="l"/>
              </a:tabLst>
            </a:pPr>
            <a:r>
              <a:rPr lang="en-US" sz="2200" b="0" spc="-20">
                <a:solidFill>
                  <a:srgbClr val="3B3E44"/>
                </a:solidFill>
                <a:latin typeface="Montserrat"/>
                <a:cs typeface="Arial"/>
              </a:rPr>
              <a:t>Set</a:t>
            </a:r>
            <a:r>
              <a:rPr lang="en-US" sz="2200" b="0" spc="-60">
                <a:solidFill>
                  <a:srgbClr val="3B3E44"/>
                </a:solidFill>
                <a:latin typeface="Montserrat"/>
                <a:cs typeface="Arial"/>
              </a:rPr>
              <a:t> </a:t>
            </a:r>
            <a:r>
              <a:rPr lang="en-US" sz="2200" b="0">
                <a:solidFill>
                  <a:srgbClr val="3B3E44"/>
                </a:solidFill>
                <a:latin typeface="Montserrat"/>
                <a:cs typeface="Arial"/>
              </a:rPr>
              <a:t>up</a:t>
            </a:r>
            <a:r>
              <a:rPr lang="en-US" sz="2200" b="0" spc="-45">
                <a:solidFill>
                  <a:srgbClr val="3B3E44"/>
                </a:solidFill>
                <a:latin typeface="Montserrat"/>
                <a:cs typeface="Arial"/>
              </a:rPr>
              <a:t> </a:t>
            </a:r>
            <a:r>
              <a:rPr lang="en-US" sz="2200" b="0">
                <a:solidFill>
                  <a:srgbClr val="3B3E44"/>
                </a:solidFill>
                <a:latin typeface="Montserrat"/>
                <a:cs typeface="Arial"/>
              </a:rPr>
              <a:t>guest</a:t>
            </a:r>
            <a:r>
              <a:rPr lang="en-US" sz="2200" b="0" spc="-55">
                <a:solidFill>
                  <a:srgbClr val="3B3E44"/>
                </a:solidFill>
                <a:latin typeface="Montserrat"/>
                <a:cs typeface="Arial"/>
              </a:rPr>
              <a:t> </a:t>
            </a:r>
            <a:r>
              <a:rPr lang="en-US" sz="2200" b="0">
                <a:solidFill>
                  <a:srgbClr val="3B3E44"/>
                </a:solidFill>
                <a:latin typeface="Montserrat"/>
                <a:cs typeface="Arial"/>
              </a:rPr>
              <a:t>networks,</a:t>
            </a:r>
            <a:r>
              <a:rPr lang="en-US" sz="2200" b="0" spc="-155">
                <a:solidFill>
                  <a:srgbClr val="3B3E44"/>
                </a:solidFill>
                <a:latin typeface="Montserrat"/>
                <a:cs typeface="Arial"/>
              </a:rPr>
              <a:t> </a:t>
            </a:r>
            <a:r>
              <a:rPr lang="en-US" sz="2200" b="0">
                <a:solidFill>
                  <a:srgbClr val="3B3E44"/>
                </a:solidFill>
                <a:latin typeface="Montserrat"/>
                <a:cs typeface="Arial"/>
              </a:rPr>
              <a:t>control</a:t>
            </a:r>
            <a:r>
              <a:rPr lang="en-US" sz="2200" b="0" spc="-45">
                <a:solidFill>
                  <a:srgbClr val="3B3E44"/>
                </a:solidFill>
                <a:latin typeface="Montserrat"/>
                <a:cs typeface="Arial"/>
              </a:rPr>
              <a:t> </a:t>
            </a:r>
            <a:r>
              <a:rPr lang="en-US" sz="2200" b="0" spc="-10">
                <a:solidFill>
                  <a:srgbClr val="3B3E44"/>
                </a:solidFill>
                <a:latin typeface="Montserrat"/>
                <a:cs typeface="Arial"/>
              </a:rPr>
              <a:t>access</a:t>
            </a:r>
            <a:endParaRPr lang="en-US" sz="2200" b="0">
              <a:latin typeface="Montserrat"/>
              <a:cs typeface="Arial"/>
            </a:endParaRPr>
          </a:p>
          <a:p>
            <a:endParaRPr lang="en-US">
              <a:latin typeface="Proxima Nova"/>
            </a:endParaRPr>
          </a:p>
        </p:txBody>
      </p:sp>
      <p:pic>
        <p:nvPicPr>
          <p:cNvPr id="6" name="object 7">
            <a:extLst>
              <a:ext uri="{FF2B5EF4-FFF2-40B4-BE49-F238E27FC236}">
                <a16:creationId xmlns:a16="http://schemas.microsoft.com/office/drawing/2014/main" id="{E8D12F30-64BC-463E-BB89-F3AF0BFED08D}"/>
              </a:ext>
            </a:extLst>
          </p:cNvPr>
          <p:cNvPicPr/>
          <p:nvPr/>
        </p:nvPicPr>
        <p:blipFill>
          <a:blip r:embed="rId3" cstate="print"/>
          <a:stretch>
            <a:fillRect/>
          </a:stretch>
        </p:blipFill>
        <p:spPr>
          <a:xfrm>
            <a:off x="8918905" y="395926"/>
            <a:ext cx="2696067" cy="2550677"/>
          </a:xfrm>
          <a:prstGeom prst="rect">
            <a:avLst/>
          </a:prstGeom>
        </p:spPr>
      </p:pic>
    </p:spTree>
    <p:extLst>
      <p:ext uri="{BB962C8B-B14F-4D97-AF65-F5344CB8AC3E}">
        <p14:creationId xmlns:p14="http://schemas.microsoft.com/office/powerpoint/2010/main" val="10008488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5A59F003-E00A-43F9-91DC-CC54E3B874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96FB038-D423-4419-9057-F138D1BE62BB}"/>
              </a:ext>
            </a:extLst>
          </p:cNvPr>
          <p:cNvPicPr>
            <a:picLocks noChangeAspect="1"/>
          </p:cNvPicPr>
          <p:nvPr/>
        </p:nvPicPr>
        <p:blipFill rotWithShape="1">
          <a:blip r:embed="rId3"/>
          <a:srcRect t="21448" b="41006"/>
          <a:stretch/>
        </p:blipFill>
        <p:spPr>
          <a:xfrm>
            <a:off x="20" y="10"/>
            <a:ext cx="12191981" cy="6857990"/>
          </a:xfrm>
          <a:prstGeom prst="rect">
            <a:avLst/>
          </a:prstGeom>
        </p:spPr>
      </p:pic>
      <p:sp>
        <p:nvSpPr>
          <p:cNvPr id="35" name="Rectangle 34">
            <a:extLst>
              <a:ext uri="{FF2B5EF4-FFF2-40B4-BE49-F238E27FC236}">
                <a16:creationId xmlns:a16="http://schemas.microsoft.com/office/drawing/2014/main" id="{D74A4382-E3AD-430A-9A1F-DFA3E0E77A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799868" y="-1534136"/>
            <a:ext cx="4592270" cy="12192001"/>
          </a:xfrm>
          <a:prstGeom prst="rect">
            <a:avLst/>
          </a:prstGeom>
          <a:gradFill>
            <a:gsLst>
              <a:gs pos="35000">
                <a:schemeClr val="bg1">
                  <a:alpha val="46000"/>
                </a:schemeClr>
              </a:gs>
              <a:gs pos="21000">
                <a:schemeClr val="bg1">
                  <a:alpha val="30000"/>
                </a:schemeClr>
              </a:gs>
              <a:gs pos="0">
                <a:schemeClr val="bg1">
                  <a:alpha val="0"/>
                </a:schemeClr>
              </a:gs>
              <a:gs pos="100000">
                <a:schemeClr val="bg1">
                  <a:alpha val="9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A53F98D-677C-307C-1549-1FF48C9F6FD7}"/>
              </a:ext>
            </a:extLst>
          </p:cNvPr>
          <p:cNvSpPr>
            <a:spLocks noGrp="1"/>
          </p:cNvSpPr>
          <p:nvPr>
            <p:ph type="title"/>
          </p:nvPr>
        </p:nvSpPr>
        <p:spPr>
          <a:xfrm>
            <a:off x="404553" y="3091928"/>
            <a:ext cx="9078562" cy="2387600"/>
          </a:xfrm>
        </p:spPr>
        <p:txBody>
          <a:bodyPr vert="horz" lIns="91440" tIns="45720" rIns="91440" bIns="45720" rtlCol="0" anchor="b">
            <a:normAutofit/>
          </a:bodyPr>
          <a:lstStyle/>
          <a:p>
            <a:r>
              <a:rPr lang="en-US" sz="6600">
                <a:solidFill>
                  <a:schemeClr val="tx1"/>
                </a:solidFill>
                <a:latin typeface="Montserrat"/>
              </a:rPr>
              <a:t>Television Services</a:t>
            </a:r>
          </a:p>
        </p:txBody>
      </p:sp>
      <p:sp>
        <p:nvSpPr>
          <p:cNvPr id="37" name="Rectangle: Rounded Corners 36">
            <a:extLst>
              <a:ext uri="{FF2B5EF4-FFF2-40B4-BE49-F238E27FC236}">
                <a16:creationId xmlns:a16="http://schemas.microsoft.com/office/drawing/2014/main" id="{79F40191-0F44-4FD1-82CC-ACB507C14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575039"/>
            <a:ext cx="9785897" cy="6858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04641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object 9">
            <a:extLst>
              <a:ext uri="{FF2B5EF4-FFF2-40B4-BE49-F238E27FC236}">
                <a16:creationId xmlns:a16="http://schemas.microsoft.com/office/drawing/2014/main" id="{B6603F51-E5BA-4A9A-AD62-59B9A7D9E6E7}"/>
              </a:ext>
            </a:extLst>
          </p:cNvPr>
          <p:cNvPicPr/>
          <p:nvPr/>
        </p:nvPicPr>
        <p:blipFill>
          <a:blip r:embed="rId2" cstate="print"/>
          <a:stretch>
            <a:fillRect/>
          </a:stretch>
        </p:blipFill>
        <p:spPr>
          <a:xfrm rot="787464">
            <a:off x="8757003" y="3132494"/>
            <a:ext cx="1733430" cy="3707076"/>
          </a:xfrm>
          <a:prstGeom prst="rect">
            <a:avLst/>
          </a:prstGeom>
        </p:spPr>
      </p:pic>
      <p:sp>
        <p:nvSpPr>
          <p:cNvPr id="2" name="Title 1">
            <a:extLst>
              <a:ext uri="{FF2B5EF4-FFF2-40B4-BE49-F238E27FC236}">
                <a16:creationId xmlns:a16="http://schemas.microsoft.com/office/drawing/2014/main" id="{457452AA-AF58-C07D-8FE6-380444899A09}"/>
              </a:ext>
            </a:extLst>
          </p:cNvPr>
          <p:cNvSpPr>
            <a:spLocks noGrp="1"/>
          </p:cNvSpPr>
          <p:nvPr>
            <p:ph type="title"/>
          </p:nvPr>
        </p:nvSpPr>
        <p:spPr>
          <a:xfrm>
            <a:off x="861133" y="0"/>
            <a:ext cx="7990635" cy="1753386"/>
          </a:xfrm>
        </p:spPr>
        <p:txBody>
          <a:bodyPr>
            <a:noAutofit/>
          </a:bodyPr>
          <a:lstStyle/>
          <a:p>
            <a:r>
              <a:rPr lang="en-US">
                <a:latin typeface="Montserrat" panose="00000500000000000000" pitchFamily="2" charset="0"/>
              </a:rPr>
              <a:t>Easy-to-use Voice Remote &amp; Ultra Slim Set-Top</a:t>
            </a:r>
          </a:p>
        </p:txBody>
      </p:sp>
      <p:sp>
        <p:nvSpPr>
          <p:cNvPr id="8" name="Content Placeholder 7">
            <a:extLst>
              <a:ext uri="{FF2B5EF4-FFF2-40B4-BE49-F238E27FC236}">
                <a16:creationId xmlns:a16="http://schemas.microsoft.com/office/drawing/2014/main" id="{A9A3CB77-7B05-D85D-6CDB-ABBE19BA2C45}"/>
              </a:ext>
            </a:extLst>
          </p:cNvPr>
          <p:cNvSpPr>
            <a:spLocks noGrp="1"/>
          </p:cNvSpPr>
          <p:nvPr>
            <p:ph idx="1"/>
          </p:nvPr>
        </p:nvSpPr>
        <p:spPr>
          <a:xfrm>
            <a:off x="784835" y="2356174"/>
            <a:ext cx="5447069" cy="3169476"/>
          </a:xfrm>
        </p:spPr>
        <p:txBody>
          <a:bodyPr>
            <a:normAutofit/>
          </a:bodyPr>
          <a:lstStyle/>
          <a:p>
            <a:pPr marL="241300" indent="-228600">
              <a:lnSpc>
                <a:spcPct val="100000"/>
              </a:lnSpc>
              <a:spcBef>
                <a:spcPts val="1560"/>
              </a:spcBef>
              <a:buClr>
                <a:srgbClr val="46A8B8"/>
              </a:buClr>
              <a:buChar char="•"/>
              <a:tabLst>
                <a:tab pos="241300" algn="l"/>
              </a:tabLst>
            </a:pPr>
            <a:r>
              <a:rPr lang="en-US" spc="-10">
                <a:solidFill>
                  <a:srgbClr val="004160"/>
                </a:solidFill>
                <a:latin typeface="Montserrat" panose="00000500000000000000" pitchFamily="2" charset="0"/>
                <a:cs typeface="Arial"/>
              </a:rPr>
              <a:t>Supports</a:t>
            </a:r>
            <a:r>
              <a:rPr lang="en-US" spc="-160">
                <a:solidFill>
                  <a:srgbClr val="004160"/>
                </a:solidFill>
                <a:latin typeface="Montserrat" panose="00000500000000000000" pitchFamily="2" charset="0"/>
                <a:cs typeface="Arial"/>
              </a:rPr>
              <a:t> </a:t>
            </a:r>
            <a:r>
              <a:rPr lang="en-US" spc="-40">
                <a:solidFill>
                  <a:srgbClr val="004160"/>
                </a:solidFill>
                <a:latin typeface="Montserrat" panose="00000500000000000000" pitchFamily="2" charset="0"/>
                <a:cs typeface="Arial"/>
              </a:rPr>
              <a:t>4K</a:t>
            </a:r>
            <a:r>
              <a:rPr lang="en-US" spc="-160">
                <a:solidFill>
                  <a:srgbClr val="004160"/>
                </a:solidFill>
                <a:latin typeface="Montserrat" panose="00000500000000000000" pitchFamily="2" charset="0"/>
                <a:cs typeface="Arial"/>
              </a:rPr>
              <a:t> </a:t>
            </a:r>
            <a:r>
              <a:rPr lang="en-US">
                <a:solidFill>
                  <a:srgbClr val="004160"/>
                </a:solidFill>
                <a:latin typeface="Montserrat" panose="00000500000000000000" pitchFamily="2" charset="0"/>
                <a:cs typeface="Arial"/>
              </a:rPr>
              <a:t>HD</a:t>
            </a:r>
            <a:r>
              <a:rPr lang="en-US" spc="-155">
                <a:solidFill>
                  <a:srgbClr val="004160"/>
                </a:solidFill>
                <a:latin typeface="Montserrat" panose="00000500000000000000" pitchFamily="2" charset="0"/>
                <a:cs typeface="Arial"/>
              </a:rPr>
              <a:t> </a:t>
            </a:r>
            <a:r>
              <a:rPr lang="en-US" spc="-25">
                <a:solidFill>
                  <a:srgbClr val="004160"/>
                </a:solidFill>
                <a:latin typeface="Montserrat" panose="00000500000000000000" pitchFamily="2" charset="0"/>
                <a:cs typeface="Arial"/>
              </a:rPr>
              <a:t>TV</a:t>
            </a:r>
            <a:endParaRPr lang="en-US">
              <a:latin typeface="Montserrat" panose="00000500000000000000" pitchFamily="2" charset="0"/>
              <a:cs typeface="Arial"/>
            </a:endParaRPr>
          </a:p>
          <a:p>
            <a:pPr marL="241300" marR="539115" indent="-228600">
              <a:lnSpc>
                <a:spcPts val="3020"/>
              </a:lnSpc>
              <a:spcBef>
                <a:spcPts val="1850"/>
              </a:spcBef>
              <a:buClr>
                <a:srgbClr val="46A8B8"/>
              </a:buClr>
              <a:buChar char="•"/>
              <a:tabLst>
                <a:tab pos="241300" algn="l"/>
              </a:tabLst>
            </a:pPr>
            <a:r>
              <a:rPr lang="en-US" spc="-70">
                <a:solidFill>
                  <a:srgbClr val="004160"/>
                </a:solidFill>
                <a:latin typeface="Montserrat" panose="00000500000000000000" pitchFamily="2" charset="0"/>
                <a:cs typeface="Arial"/>
              </a:rPr>
              <a:t>Small</a:t>
            </a:r>
            <a:r>
              <a:rPr lang="en-US" spc="-75">
                <a:solidFill>
                  <a:srgbClr val="004160"/>
                </a:solidFill>
                <a:latin typeface="Montserrat" panose="00000500000000000000" pitchFamily="2" charset="0"/>
                <a:cs typeface="Arial"/>
              </a:rPr>
              <a:t> </a:t>
            </a:r>
            <a:r>
              <a:rPr lang="en-US" spc="-40">
                <a:solidFill>
                  <a:srgbClr val="004160"/>
                </a:solidFill>
                <a:latin typeface="Montserrat" panose="00000500000000000000" pitchFamily="2" charset="0"/>
                <a:cs typeface="Arial"/>
              </a:rPr>
              <a:t>set-</a:t>
            </a:r>
            <a:r>
              <a:rPr lang="en-US">
                <a:solidFill>
                  <a:srgbClr val="004160"/>
                </a:solidFill>
                <a:latin typeface="Montserrat" panose="00000500000000000000" pitchFamily="2" charset="0"/>
                <a:cs typeface="Arial"/>
              </a:rPr>
              <a:t>top</a:t>
            </a:r>
            <a:r>
              <a:rPr lang="en-US" spc="45">
                <a:solidFill>
                  <a:srgbClr val="004160"/>
                </a:solidFill>
                <a:latin typeface="Montserrat" panose="00000500000000000000" pitchFamily="2" charset="0"/>
                <a:cs typeface="Arial"/>
              </a:rPr>
              <a:t> </a:t>
            </a:r>
            <a:r>
              <a:rPr lang="en-US">
                <a:solidFill>
                  <a:srgbClr val="004160"/>
                </a:solidFill>
                <a:latin typeface="Montserrat" panose="00000500000000000000" pitchFamily="2" charset="0"/>
                <a:cs typeface="Arial"/>
              </a:rPr>
              <a:t>works</a:t>
            </a:r>
            <a:r>
              <a:rPr lang="en-US" spc="-70">
                <a:solidFill>
                  <a:srgbClr val="004160"/>
                </a:solidFill>
                <a:latin typeface="Montserrat" panose="00000500000000000000" pitchFamily="2" charset="0"/>
                <a:cs typeface="Arial"/>
              </a:rPr>
              <a:t> </a:t>
            </a:r>
            <a:r>
              <a:rPr lang="en-US">
                <a:solidFill>
                  <a:srgbClr val="004160"/>
                </a:solidFill>
                <a:latin typeface="Montserrat" panose="00000500000000000000" pitchFamily="2" charset="0"/>
                <a:cs typeface="Arial"/>
              </a:rPr>
              <a:t>when</a:t>
            </a:r>
            <a:r>
              <a:rPr lang="en-US" spc="-30">
                <a:solidFill>
                  <a:srgbClr val="004160"/>
                </a:solidFill>
                <a:latin typeface="Montserrat" panose="00000500000000000000" pitchFamily="2" charset="0"/>
                <a:cs typeface="Arial"/>
              </a:rPr>
              <a:t> </a:t>
            </a:r>
            <a:r>
              <a:rPr lang="en-US" spc="-10">
                <a:solidFill>
                  <a:srgbClr val="004160"/>
                </a:solidFill>
                <a:latin typeface="Montserrat" panose="00000500000000000000" pitchFamily="2" charset="0"/>
                <a:cs typeface="Arial"/>
              </a:rPr>
              <a:t>hidden </a:t>
            </a:r>
            <a:r>
              <a:rPr lang="en-US">
                <a:solidFill>
                  <a:srgbClr val="004160"/>
                </a:solidFill>
                <a:latin typeface="Montserrat" panose="00000500000000000000" pitchFamily="2" charset="0"/>
                <a:cs typeface="Arial"/>
              </a:rPr>
              <a:t>behind </a:t>
            </a:r>
            <a:r>
              <a:rPr lang="en-US" spc="-25">
                <a:solidFill>
                  <a:srgbClr val="004160"/>
                </a:solidFill>
                <a:latin typeface="Montserrat" panose="00000500000000000000" pitchFamily="2" charset="0"/>
                <a:cs typeface="Arial"/>
              </a:rPr>
              <a:t>TV!</a:t>
            </a:r>
            <a:endParaRPr lang="en-US">
              <a:latin typeface="Montserrat" panose="00000500000000000000" pitchFamily="2" charset="0"/>
              <a:cs typeface="Arial"/>
            </a:endParaRPr>
          </a:p>
          <a:p>
            <a:pPr marL="241300" marR="5080" indent="-228600">
              <a:lnSpc>
                <a:spcPts val="3020"/>
              </a:lnSpc>
              <a:spcBef>
                <a:spcPts val="1810"/>
              </a:spcBef>
              <a:buClr>
                <a:srgbClr val="46A8B8"/>
              </a:buClr>
              <a:buChar char="•"/>
              <a:tabLst>
                <a:tab pos="241300" algn="l"/>
              </a:tabLst>
            </a:pPr>
            <a:r>
              <a:rPr lang="en-US" spc="-35">
                <a:solidFill>
                  <a:srgbClr val="004160"/>
                </a:solidFill>
                <a:latin typeface="Montserrat" panose="00000500000000000000" pitchFamily="2" charset="0"/>
                <a:cs typeface="Arial"/>
              </a:rPr>
              <a:t>Enhanced</a:t>
            </a:r>
            <a:r>
              <a:rPr lang="en-US" spc="-85">
                <a:solidFill>
                  <a:srgbClr val="004160"/>
                </a:solidFill>
                <a:latin typeface="Montserrat" panose="00000500000000000000" pitchFamily="2" charset="0"/>
                <a:cs typeface="Arial"/>
              </a:rPr>
              <a:t> </a:t>
            </a:r>
            <a:r>
              <a:rPr lang="en-US" spc="-10">
                <a:solidFill>
                  <a:srgbClr val="004160"/>
                </a:solidFill>
                <a:latin typeface="Montserrat" panose="00000500000000000000" pitchFamily="2" charset="0"/>
                <a:cs typeface="Arial"/>
              </a:rPr>
              <a:t>customer</a:t>
            </a:r>
            <a:r>
              <a:rPr lang="en-US" spc="-130">
                <a:solidFill>
                  <a:srgbClr val="004160"/>
                </a:solidFill>
                <a:latin typeface="Montserrat" panose="00000500000000000000" pitchFamily="2" charset="0"/>
                <a:cs typeface="Arial"/>
              </a:rPr>
              <a:t> </a:t>
            </a:r>
            <a:r>
              <a:rPr lang="en-US">
                <a:solidFill>
                  <a:srgbClr val="004160"/>
                </a:solidFill>
                <a:latin typeface="Montserrat" panose="00000500000000000000" pitchFamily="2" charset="0"/>
                <a:cs typeface="Arial"/>
              </a:rPr>
              <a:t>support</a:t>
            </a:r>
            <a:r>
              <a:rPr lang="en-US" spc="-55">
                <a:solidFill>
                  <a:srgbClr val="004160"/>
                </a:solidFill>
                <a:latin typeface="Montserrat" panose="00000500000000000000" pitchFamily="2" charset="0"/>
                <a:cs typeface="Arial"/>
              </a:rPr>
              <a:t> </a:t>
            </a:r>
            <a:r>
              <a:rPr lang="en-US" spc="-10">
                <a:solidFill>
                  <a:srgbClr val="004160"/>
                </a:solidFill>
                <a:latin typeface="Montserrat" panose="00000500000000000000" pitchFamily="2" charset="0"/>
                <a:cs typeface="Arial"/>
              </a:rPr>
              <a:t>through </a:t>
            </a:r>
            <a:r>
              <a:rPr lang="en-US">
                <a:solidFill>
                  <a:srgbClr val="004160"/>
                </a:solidFill>
                <a:latin typeface="Montserrat" panose="00000500000000000000" pitchFamily="2" charset="0"/>
                <a:cs typeface="Arial"/>
              </a:rPr>
              <a:t>virtual</a:t>
            </a:r>
            <a:r>
              <a:rPr lang="en-US" spc="-150">
                <a:solidFill>
                  <a:srgbClr val="004160"/>
                </a:solidFill>
                <a:latin typeface="Montserrat" panose="00000500000000000000" pitchFamily="2" charset="0"/>
                <a:cs typeface="Arial"/>
              </a:rPr>
              <a:t> </a:t>
            </a:r>
            <a:r>
              <a:rPr lang="en-US">
                <a:solidFill>
                  <a:srgbClr val="004160"/>
                </a:solidFill>
                <a:latin typeface="Montserrat" panose="00000500000000000000" pitchFamily="2" charset="0"/>
                <a:cs typeface="Arial"/>
              </a:rPr>
              <a:t>technician</a:t>
            </a:r>
            <a:r>
              <a:rPr lang="en-US" spc="-175">
                <a:solidFill>
                  <a:srgbClr val="004160"/>
                </a:solidFill>
                <a:latin typeface="Montserrat" panose="00000500000000000000" pitchFamily="2" charset="0"/>
                <a:cs typeface="Arial"/>
              </a:rPr>
              <a:t> </a:t>
            </a:r>
            <a:r>
              <a:rPr lang="en-US" spc="-10">
                <a:solidFill>
                  <a:srgbClr val="004160"/>
                </a:solidFill>
                <a:latin typeface="Montserrat" panose="00000500000000000000" pitchFamily="2" charset="0"/>
                <a:cs typeface="Arial"/>
              </a:rPr>
              <a:t>system</a:t>
            </a:r>
            <a:endParaRPr lang="en-US">
              <a:latin typeface="Montserrat" panose="00000500000000000000" pitchFamily="2" charset="0"/>
              <a:cs typeface="Arial"/>
            </a:endParaRPr>
          </a:p>
          <a:p>
            <a:pPr marL="298450" marR="569595" indent="-285750">
              <a:lnSpc>
                <a:spcPct val="150000"/>
              </a:lnSpc>
              <a:spcBef>
                <a:spcPts val="484"/>
              </a:spcBef>
              <a:buClr>
                <a:srgbClr val="04617B"/>
              </a:buClr>
              <a:tabLst>
                <a:tab pos="241300" algn="l"/>
              </a:tabLst>
            </a:pPr>
            <a:endParaRPr lang="en-US" sz="2000">
              <a:latin typeface="Montserrat" panose="00000500000000000000" pitchFamily="2" charset="0"/>
            </a:endParaRPr>
          </a:p>
        </p:txBody>
      </p:sp>
      <p:pic>
        <p:nvPicPr>
          <p:cNvPr id="6" name="object 5">
            <a:extLst>
              <a:ext uri="{FF2B5EF4-FFF2-40B4-BE49-F238E27FC236}">
                <a16:creationId xmlns:a16="http://schemas.microsoft.com/office/drawing/2014/main" id="{0B2CF745-E552-4E68-B42A-3A8E31C84A27}"/>
              </a:ext>
            </a:extLst>
          </p:cNvPr>
          <p:cNvPicPr/>
          <p:nvPr/>
        </p:nvPicPr>
        <p:blipFill>
          <a:blip r:embed="rId3" cstate="print"/>
          <a:stretch>
            <a:fillRect/>
          </a:stretch>
        </p:blipFill>
        <p:spPr>
          <a:xfrm>
            <a:off x="6009937" y="2073897"/>
            <a:ext cx="2928928" cy="2416874"/>
          </a:xfrm>
          <a:prstGeom prst="rect">
            <a:avLst/>
          </a:prstGeom>
        </p:spPr>
      </p:pic>
      <p:pic>
        <p:nvPicPr>
          <p:cNvPr id="9" name="object 7">
            <a:extLst>
              <a:ext uri="{FF2B5EF4-FFF2-40B4-BE49-F238E27FC236}">
                <a16:creationId xmlns:a16="http://schemas.microsoft.com/office/drawing/2014/main" id="{7BD67354-576F-4860-8C28-3BDA16361FD5}"/>
              </a:ext>
            </a:extLst>
          </p:cNvPr>
          <p:cNvPicPr/>
          <p:nvPr/>
        </p:nvPicPr>
        <p:blipFill>
          <a:blip r:embed="rId4" cstate="print"/>
          <a:stretch>
            <a:fillRect/>
          </a:stretch>
        </p:blipFill>
        <p:spPr>
          <a:xfrm>
            <a:off x="8733401" y="197924"/>
            <a:ext cx="3364229" cy="3101458"/>
          </a:xfrm>
          <a:prstGeom prst="rect">
            <a:avLst/>
          </a:prstGeom>
        </p:spPr>
      </p:pic>
      <p:sp>
        <p:nvSpPr>
          <p:cNvPr id="5" name="TextBox 4">
            <a:extLst>
              <a:ext uri="{FF2B5EF4-FFF2-40B4-BE49-F238E27FC236}">
                <a16:creationId xmlns:a16="http://schemas.microsoft.com/office/drawing/2014/main" id="{E3E65284-56B8-4016-BA05-35374298C996}"/>
              </a:ext>
            </a:extLst>
          </p:cNvPr>
          <p:cNvSpPr txBox="1"/>
          <p:nvPr/>
        </p:nvSpPr>
        <p:spPr>
          <a:xfrm>
            <a:off x="8851768" y="1009989"/>
            <a:ext cx="3067855" cy="1477328"/>
          </a:xfrm>
          <a:prstGeom prst="rect">
            <a:avLst/>
          </a:prstGeom>
          <a:noFill/>
        </p:spPr>
        <p:txBody>
          <a:bodyPr wrap="square" rtlCol="0">
            <a:spAutoFit/>
          </a:bodyPr>
          <a:lstStyle/>
          <a:p>
            <a:pPr marL="12700" marR="5080" indent="-6985" algn="ctr">
              <a:lnSpc>
                <a:spcPct val="100000"/>
              </a:lnSpc>
              <a:spcBef>
                <a:spcPts val="100"/>
              </a:spcBef>
            </a:pPr>
            <a:r>
              <a:rPr lang="en-US" sz="1800" i="1" spc="-25">
                <a:solidFill>
                  <a:schemeClr val="tx2"/>
                </a:solidFill>
                <a:latin typeface="Montserrat" panose="00000500000000000000" pitchFamily="2" charset="0"/>
                <a:cs typeface="Arial"/>
              </a:rPr>
              <a:t>Say</a:t>
            </a:r>
            <a:r>
              <a:rPr lang="en-US" sz="1800" i="1" spc="-65">
                <a:solidFill>
                  <a:schemeClr val="tx2"/>
                </a:solidFill>
                <a:latin typeface="Montserrat" panose="00000500000000000000" pitchFamily="2" charset="0"/>
                <a:cs typeface="Arial"/>
              </a:rPr>
              <a:t> </a:t>
            </a:r>
            <a:r>
              <a:rPr lang="en-US" sz="1800" i="1">
                <a:solidFill>
                  <a:schemeClr val="tx2"/>
                </a:solidFill>
                <a:latin typeface="Montserrat" panose="00000500000000000000" pitchFamily="2" charset="0"/>
                <a:cs typeface="Arial"/>
              </a:rPr>
              <a:t>things</a:t>
            </a:r>
            <a:r>
              <a:rPr lang="en-US" sz="1800" i="1" spc="-90">
                <a:solidFill>
                  <a:schemeClr val="tx2"/>
                </a:solidFill>
                <a:latin typeface="Montserrat" panose="00000500000000000000" pitchFamily="2" charset="0"/>
                <a:cs typeface="Arial"/>
              </a:rPr>
              <a:t> </a:t>
            </a:r>
            <a:r>
              <a:rPr lang="en-US" sz="1800" i="1">
                <a:solidFill>
                  <a:schemeClr val="tx2"/>
                </a:solidFill>
                <a:latin typeface="Montserrat" panose="00000500000000000000" pitchFamily="2" charset="0"/>
                <a:cs typeface="Arial"/>
              </a:rPr>
              <a:t>like</a:t>
            </a:r>
            <a:r>
              <a:rPr lang="en-US" sz="1800" i="1" spc="-35">
                <a:solidFill>
                  <a:schemeClr val="tx2"/>
                </a:solidFill>
                <a:latin typeface="Montserrat" panose="00000500000000000000" pitchFamily="2" charset="0"/>
                <a:cs typeface="Arial"/>
              </a:rPr>
              <a:t> </a:t>
            </a:r>
            <a:r>
              <a:rPr lang="en-US" sz="1800" b="1" i="1" spc="-10">
                <a:solidFill>
                  <a:schemeClr val="tx2"/>
                </a:solidFill>
                <a:latin typeface="Montserrat" panose="00000500000000000000" pitchFamily="2" charset="0"/>
                <a:cs typeface="Arial"/>
              </a:rPr>
              <a:t>“Fast </a:t>
            </a:r>
            <a:r>
              <a:rPr lang="en-US" sz="1800" b="1" i="1" spc="-25">
                <a:solidFill>
                  <a:schemeClr val="tx2"/>
                </a:solidFill>
                <a:latin typeface="Montserrat" panose="00000500000000000000" pitchFamily="2" charset="0"/>
                <a:cs typeface="Arial"/>
              </a:rPr>
              <a:t>forward</a:t>
            </a:r>
            <a:r>
              <a:rPr lang="en-US" sz="1800" b="1" i="1" spc="-90">
                <a:solidFill>
                  <a:schemeClr val="tx2"/>
                </a:solidFill>
                <a:latin typeface="Montserrat" panose="00000500000000000000" pitchFamily="2" charset="0"/>
                <a:cs typeface="Arial"/>
              </a:rPr>
              <a:t> </a:t>
            </a:r>
            <a:r>
              <a:rPr lang="en-US" sz="1800" b="1" i="1" spc="-10">
                <a:solidFill>
                  <a:schemeClr val="tx2"/>
                </a:solidFill>
                <a:latin typeface="Montserrat" panose="00000500000000000000" pitchFamily="2" charset="0"/>
                <a:cs typeface="Arial"/>
              </a:rPr>
              <a:t>three</a:t>
            </a:r>
            <a:r>
              <a:rPr lang="en-US" sz="1800" b="1" i="1" spc="-60">
                <a:solidFill>
                  <a:schemeClr val="tx2"/>
                </a:solidFill>
                <a:latin typeface="Montserrat" panose="00000500000000000000" pitchFamily="2" charset="0"/>
                <a:cs typeface="Arial"/>
              </a:rPr>
              <a:t> </a:t>
            </a:r>
            <a:r>
              <a:rPr lang="en-US" sz="1800" b="1" i="1" spc="-50">
                <a:solidFill>
                  <a:schemeClr val="tx2"/>
                </a:solidFill>
                <a:latin typeface="Montserrat" panose="00000500000000000000" pitchFamily="2" charset="0"/>
                <a:cs typeface="Arial"/>
              </a:rPr>
              <a:t>minutes”</a:t>
            </a:r>
            <a:r>
              <a:rPr lang="en-US" sz="1800" i="1" spc="-50">
                <a:solidFill>
                  <a:schemeClr val="tx2"/>
                </a:solidFill>
                <a:latin typeface="Montserrat" panose="00000500000000000000" pitchFamily="2" charset="0"/>
                <a:cs typeface="Arial"/>
              </a:rPr>
              <a:t>, </a:t>
            </a:r>
            <a:r>
              <a:rPr lang="en-US" sz="1800" i="1">
                <a:solidFill>
                  <a:schemeClr val="tx2"/>
                </a:solidFill>
                <a:latin typeface="Montserrat" panose="00000500000000000000" pitchFamily="2" charset="0"/>
                <a:cs typeface="Arial"/>
              </a:rPr>
              <a:t>or</a:t>
            </a:r>
            <a:r>
              <a:rPr lang="en-US" sz="1800" i="1" spc="5">
                <a:solidFill>
                  <a:schemeClr val="tx2"/>
                </a:solidFill>
                <a:latin typeface="Montserrat" panose="00000500000000000000" pitchFamily="2" charset="0"/>
                <a:cs typeface="Arial"/>
              </a:rPr>
              <a:t> </a:t>
            </a:r>
            <a:r>
              <a:rPr lang="en-US" sz="1800" b="1" i="1" spc="-20">
                <a:solidFill>
                  <a:schemeClr val="tx2"/>
                </a:solidFill>
                <a:latin typeface="Montserrat" panose="00000500000000000000" pitchFamily="2" charset="0"/>
                <a:cs typeface="Arial"/>
              </a:rPr>
              <a:t>“Watch</a:t>
            </a:r>
            <a:r>
              <a:rPr lang="en-US" sz="1800" b="1" i="1" spc="-75">
                <a:solidFill>
                  <a:schemeClr val="tx2"/>
                </a:solidFill>
                <a:latin typeface="Montserrat" panose="00000500000000000000" pitchFamily="2" charset="0"/>
                <a:cs typeface="Arial"/>
              </a:rPr>
              <a:t> </a:t>
            </a:r>
            <a:r>
              <a:rPr lang="en-US" sz="1800" b="1" i="1" spc="-35">
                <a:solidFill>
                  <a:schemeClr val="tx2"/>
                </a:solidFill>
                <a:latin typeface="Montserrat" panose="00000500000000000000" pitchFamily="2" charset="0"/>
                <a:cs typeface="Arial"/>
              </a:rPr>
              <a:t>NCIS</a:t>
            </a:r>
            <a:r>
              <a:rPr lang="en-US" sz="1800" b="1" i="1" spc="-105">
                <a:solidFill>
                  <a:schemeClr val="tx2"/>
                </a:solidFill>
                <a:latin typeface="Montserrat" panose="00000500000000000000" pitchFamily="2" charset="0"/>
                <a:cs typeface="Arial"/>
              </a:rPr>
              <a:t> </a:t>
            </a:r>
            <a:r>
              <a:rPr lang="en-US" sz="1800" b="1" i="1" spc="-25">
                <a:solidFill>
                  <a:schemeClr val="tx2"/>
                </a:solidFill>
                <a:latin typeface="Montserrat" panose="00000500000000000000" pitchFamily="2" charset="0"/>
                <a:cs typeface="Arial"/>
              </a:rPr>
              <a:t>on </a:t>
            </a:r>
            <a:r>
              <a:rPr lang="en-US" sz="1800" b="1" i="1" spc="-35">
                <a:solidFill>
                  <a:schemeClr val="tx2"/>
                </a:solidFill>
                <a:latin typeface="Montserrat" panose="00000500000000000000" pitchFamily="2" charset="0"/>
                <a:cs typeface="Arial"/>
              </a:rPr>
              <a:t>now”</a:t>
            </a:r>
            <a:r>
              <a:rPr lang="en-US" sz="1800" i="1" spc="-35">
                <a:solidFill>
                  <a:schemeClr val="tx2"/>
                </a:solidFill>
                <a:latin typeface="Montserrat" panose="00000500000000000000" pitchFamily="2" charset="0"/>
                <a:cs typeface="Arial"/>
              </a:rPr>
              <a:t>,</a:t>
            </a:r>
            <a:r>
              <a:rPr lang="en-US" sz="1800" i="1" spc="-95">
                <a:solidFill>
                  <a:schemeClr val="tx2"/>
                </a:solidFill>
                <a:latin typeface="Montserrat" panose="00000500000000000000" pitchFamily="2" charset="0"/>
                <a:cs typeface="Arial"/>
              </a:rPr>
              <a:t> </a:t>
            </a:r>
            <a:r>
              <a:rPr lang="en-US" sz="1800" i="1">
                <a:solidFill>
                  <a:schemeClr val="tx2"/>
                </a:solidFill>
                <a:latin typeface="Montserrat" panose="00000500000000000000" pitchFamily="2" charset="0"/>
                <a:cs typeface="Arial"/>
              </a:rPr>
              <a:t>or</a:t>
            </a:r>
            <a:r>
              <a:rPr lang="en-US" sz="1800" i="1" spc="5">
                <a:solidFill>
                  <a:schemeClr val="tx2"/>
                </a:solidFill>
                <a:latin typeface="Montserrat" panose="00000500000000000000" pitchFamily="2" charset="0"/>
                <a:cs typeface="Arial"/>
              </a:rPr>
              <a:t> </a:t>
            </a:r>
            <a:r>
              <a:rPr lang="en-US" sz="1800" i="1" spc="-30">
                <a:solidFill>
                  <a:schemeClr val="tx2"/>
                </a:solidFill>
                <a:latin typeface="Montserrat" panose="00000500000000000000" pitchFamily="2" charset="0"/>
                <a:cs typeface="Arial"/>
              </a:rPr>
              <a:t>“</a:t>
            </a:r>
            <a:r>
              <a:rPr lang="en-US" sz="1800" b="1" i="1" spc="-30">
                <a:solidFill>
                  <a:schemeClr val="tx2"/>
                </a:solidFill>
                <a:latin typeface="Montserrat" panose="00000500000000000000" pitchFamily="2" charset="0"/>
                <a:cs typeface="Arial"/>
              </a:rPr>
              <a:t>Find</a:t>
            </a:r>
            <a:r>
              <a:rPr lang="en-US" sz="1800" b="1" i="1" spc="-125">
                <a:solidFill>
                  <a:schemeClr val="tx2"/>
                </a:solidFill>
                <a:latin typeface="Montserrat" panose="00000500000000000000" pitchFamily="2" charset="0"/>
                <a:cs typeface="Arial"/>
              </a:rPr>
              <a:t> </a:t>
            </a:r>
            <a:r>
              <a:rPr lang="en-US" sz="1800" b="1" i="1" spc="-20">
                <a:solidFill>
                  <a:schemeClr val="tx2"/>
                </a:solidFill>
                <a:latin typeface="Montserrat" panose="00000500000000000000" pitchFamily="2" charset="0"/>
                <a:cs typeface="Arial"/>
              </a:rPr>
              <a:t>some </a:t>
            </a:r>
            <a:r>
              <a:rPr lang="en-US" sz="1800" b="1" i="1" spc="-30">
                <a:solidFill>
                  <a:schemeClr val="tx2"/>
                </a:solidFill>
                <a:latin typeface="Montserrat" panose="00000500000000000000" pitchFamily="2" charset="0"/>
                <a:cs typeface="Arial"/>
              </a:rPr>
              <a:t>action</a:t>
            </a:r>
            <a:r>
              <a:rPr lang="en-US" sz="1800" b="1" i="1" spc="-85">
                <a:solidFill>
                  <a:schemeClr val="tx2"/>
                </a:solidFill>
                <a:latin typeface="Montserrat" panose="00000500000000000000" pitchFamily="2" charset="0"/>
                <a:cs typeface="Arial"/>
              </a:rPr>
              <a:t> </a:t>
            </a:r>
            <a:r>
              <a:rPr lang="en-US" sz="1800" b="1" i="1" spc="-10">
                <a:solidFill>
                  <a:schemeClr val="tx2"/>
                </a:solidFill>
                <a:latin typeface="Montserrat" panose="00000500000000000000" pitchFamily="2" charset="0"/>
                <a:cs typeface="Arial"/>
              </a:rPr>
              <a:t>movies.”</a:t>
            </a:r>
            <a:endParaRPr lang="en-US" sz="1800">
              <a:solidFill>
                <a:schemeClr val="tx2"/>
              </a:solidFill>
              <a:latin typeface="Montserrat" panose="00000500000000000000" pitchFamily="2" charset="0"/>
              <a:cs typeface="Arial"/>
            </a:endParaRPr>
          </a:p>
        </p:txBody>
      </p:sp>
    </p:spTree>
    <p:extLst>
      <p:ext uri="{BB962C8B-B14F-4D97-AF65-F5344CB8AC3E}">
        <p14:creationId xmlns:p14="http://schemas.microsoft.com/office/powerpoint/2010/main" val="8509449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 name="object 7">
            <a:extLst>
              <a:ext uri="{FF2B5EF4-FFF2-40B4-BE49-F238E27FC236}">
                <a16:creationId xmlns:a16="http://schemas.microsoft.com/office/drawing/2014/main" id="{463775EA-5110-4E90-971E-7CAA486D227F}"/>
              </a:ext>
            </a:extLst>
          </p:cNvPr>
          <p:cNvGrpSpPr/>
          <p:nvPr/>
        </p:nvGrpSpPr>
        <p:grpSpPr>
          <a:xfrm>
            <a:off x="6993980" y="1030540"/>
            <a:ext cx="4770671" cy="2792690"/>
            <a:chOff x="7083552" y="2610612"/>
            <a:chExt cx="4573905" cy="2947670"/>
          </a:xfrm>
        </p:grpSpPr>
        <p:pic>
          <p:nvPicPr>
            <p:cNvPr id="11" name="object 8">
              <a:extLst>
                <a:ext uri="{FF2B5EF4-FFF2-40B4-BE49-F238E27FC236}">
                  <a16:creationId xmlns:a16="http://schemas.microsoft.com/office/drawing/2014/main" id="{999C978D-CAD1-488E-B513-16C6487024BE}"/>
                </a:ext>
              </a:extLst>
            </p:cNvPr>
            <p:cNvPicPr/>
            <p:nvPr/>
          </p:nvPicPr>
          <p:blipFill>
            <a:blip r:embed="rId2" cstate="print"/>
            <a:stretch>
              <a:fillRect/>
            </a:stretch>
          </p:blipFill>
          <p:spPr>
            <a:xfrm>
              <a:off x="9269730" y="4004310"/>
              <a:ext cx="2384538" cy="1553502"/>
            </a:xfrm>
            <a:prstGeom prst="rect">
              <a:avLst/>
            </a:prstGeom>
          </p:spPr>
        </p:pic>
        <p:pic>
          <p:nvPicPr>
            <p:cNvPr id="12" name="object 9">
              <a:extLst>
                <a:ext uri="{FF2B5EF4-FFF2-40B4-BE49-F238E27FC236}">
                  <a16:creationId xmlns:a16="http://schemas.microsoft.com/office/drawing/2014/main" id="{2C6CBDA2-1DD6-4966-9119-6A7106CF5CE4}"/>
                </a:ext>
              </a:extLst>
            </p:cNvPr>
            <p:cNvPicPr/>
            <p:nvPr/>
          </p:nvPicPr>
          <p:blipFill>
            <a:blip r:embed="rId3" cstate="print"/>
            <a:stretch>
              <a:fillRect/>
            </a:stretch>
          </p:blipFill>
          <p:spPr>
            <a:xfrm>
              <a:off x="7083552" y="4134611"/>
              <a:ext cx="2162262" cy="1265574"/>
            </a:xfrm>
            <a:prstGeom prst="rect">
              <a:avLst/>
            </a:prstGeom>
          </p:spPr>
        </p:pic>
        <p:pic>
          <p:nvPicPr>
            <p:cNvPr id="13" name="object 10">
              <a:extLst>
                <a:ext uri="{FF2B5EF4-FFF2-40B4-BE49-F238E27FC236}">
                  <a16:creationId xmlns:a16="http://schemas.microsoft.com/office/drawing/2014/main" id="{6F06F66E-91E2-4906-ACF8-9C889CF176CE}"/>
                </a:ext>
              </a:extLst>
            </p:cNvPr>
            <p:cNvPicPr/>
            <p:nvPr/>
          </p:nvPicPr>
          <p:blipFill>
            <a:blip r:embed="rId4" cstate="print"/>
            <a:stretch>
              <a:fillRect/>
            </a:stretch>
          </p:blipFill>
          <p:spPr>
            <a:xfrm>
              <a:off x="7770876" y="2610612"/>
              <a:ext cx="3886187" cy="1658873"/>
            </a:xfrm>
            <a:prstGeom prst="rect">
              <a:avLst/>
            </a:prstGeom>
          </p:spPr>
        </p:pic>
      </p:grpSp>
      <p:sp>
        <p:nvSpPr>
          <p:cNvPr id="2" name="Title 1">
            <a:extLst>
              <a:ext uri="{FF2B5EF4-FFF2-40B4-BE49-F238E27FC236}">
                <a16:creationId xmlns:a16="http://schemas.microsoft.com/office/drawing/2014/main" id="{457452AA-AF58-C07D-8FE6-380444899A09}"/>
              </a:ext>
            </a:extLst>
          </p:cNvPr>
          <p:cNvSpPr>
            <a:spLocks noGrp="1"/>
          </p:cNvSpPr>
          <p:nvPr>
            <p:ph type="title"/>
          </p:nvPr>
        </p:nvSpPr>
        <p:spPr>
          <a:xfrm>
            <a:off x="941032" y="0"/>
            <a:ext cx="11654393" cy="1065229"/>
          </a:xfrm>
        </p:spPr>
        <p:txBody>
          <a:bodyPr>
            <a:noAutofit/>
          </a:bodyPr>
          <a:lstStyle/>
          <a:p>
            <a:r>
              <a:rPr lang="en-US">
                <a:latin typeface="Montserrat" panose="00000500000000000000" pitchFamily="2" charset="0"/>
              </a:rPr>
              <a:t>The Power of Android TV &amp; TiVo</a:t>
            </a:r>
          </a:p>
        </p:txBody>
      </p:sp>
      <p:sp>
        <p:nvSpPr>
          <p:cNvPr id="8" name="Content Placeholder 7">
            <a:extLst>
              <a:ext uri="{FF2B5EF4-FFF2-40B4-BE49-F238E27FC236}">
                <a16:creationId xmlns:a16="http://schemas.microsoft.com/office/drawing/2014/main" id="{A9A3CB77-7B05-D85D-6CDB-ABBE19BA2C45}"/>
              </a:ext>
            </a:extLst>
          </p:cNvPr>
          <p:cNvSpPr>
            <a:spLocks noGrp="1"/>
          </p:cNvSpPr>
          <p:nvPr>
            <p:ph idx="1"/>
          </p:nvPr>
        </p:nvSpPr>
        <p:spPr>
          <a:xfrm>
            <a:off x="941032" y="892588"/>
            <a:ext cx="6769840" cy="971488"/>
          </a:xfrm>
        </p:spPr>
        <p:txBody>
          <a:bodyPr vert="horz" lIns="91440" tIns="45720" rIns="91440" bIns="45720" rtlCol="0" anchor="t">
            <a:normAutofit/>
          </a:bodyPr>
          <a:lstStyle/>
          <a:p>
            <a:pPr marL="12700" marR="569595" indent="0">
              <a:lnSpc>
                <a:spcPct val="150000"/>
              </a:lnSpc>
              <a:spcBef>
                <a:spcPts val="484"/>
              </a:spcBef>
              <a:buClr>
                <a:srgbClr val="04617B"/>
              </a:buClr>
              <a:buNone/>
              <a:tabLst>
                <a:tab pos="241300" algn="l"/>
              </a:tabLst>
            </a:pPr>
            <a:r>
              <a:rPr lang="en-US" sz="2000" b="1">
                <a:solidFill>
                  <a:schemeClr val="tx2"/>
                </a:solidFill>
                <a:latin typeface="Montserrat" panose="00000500000000000000" pitchFamily="2" charset="0"/>
              </a:rPr>
              <a:t>The Best of Traditional TV, Apps, and an Advanced Voice Remote</a:t>
            </a:r>
          </a:p>
        </p:txBody>
      </p:sp>
      <p:sp>
        <p:nvSpPr>
          <p:cNvPr id="3" name="TextBox 2">
            <a:extLst>
              <a:ext uri="{FF2B5EF4-FFF2-40B4-BE49-F238E27FC236}">
                <a16:creationId xmlns:a16="http://schemas.microsoft.com/office/drawing/2014/main" id="{F9154AF6-9079-45DA-AF80-91DBEC23EB31}"/>
              </a:ext>
            </a:extLst>
          </p:cNvPr>
          <p:cNvSpPr txBox="1"/>
          <p:nvPr/>
        </p:nvSpPr>
        <p:spPr>
          <a:xfrm>
            <a:off x="903861" y="2005660"/>
            <a:ext cx="8469298" cy="3570208"/>
          </a:xfrm>
          <a:prstGeom prst="rect">
            <a:avLst/>
          </a:prstGeom>
          <a:noFill/>
        </p:spPr>
        <p:txBody>
          <a:bodyPr wrap="square" lIns="91440" tIns="45720" rIns="91440" bIns="45720" rtlCol="0" anchor="t">
            <a:spAutoFit/>
          </a:bodyPr>
          <a:lstStyle/>
          <a:p>
            <a:pPr marL="241300" indent="-228600">
              <a:lnSpc>
                <a:spcPct val="100000"/>
              </a:lnSpc>
              <a:spcBef>
                <a:spcPts val="100"/>
              </a:spcBef>
              <a:buClr>
                <a:srgbClr val="46A8B8"/>
              </a:buClr>
              <a:buChar char="•"/>
              <a:tabLst>
                <a:tab pos="241300" algn="l"/>
              </a:tabLst>
            </a:pPr>
            <a:r>
              <a:rPr lang="en-US" sz="2600" spc="-40">
                <a:solidFill>
                  <a:srgbClr val="004161"/>
                </a:solidFill>
                <a:latin typeface="Montserrat"/>
                <a:cs typeface="Arial"/>
              </a:rPr>
              <a:t>Simple,</a:t>
            </a:r>
            <a:r>
              <a:rPr lang="en-US" sz="2600" spc="-165">
                <a:solidFill>
                  <a:srgbClr val="004161"/>
                </a:solidFill>
                <a:latin typeface="Montserrat"/>
                <a:cs typeface="Arial"/>
              </a:rPr>
              <a:t> </a:t>
            </a:r>
            <a:r>
              <a:rPr lang="en-US" sz="2600" spc="-65">
                <a:solidFill>
                  <a:srgbClr val="004161"/>
                </a:solidFill>
                <a:latin typeface="Montserrat"/>
                <a:cs typeface="Arial"/>
              </a:rPr>
              <a:t>easy-</a:t>
            </a:r>
            <a:r>
              <a:rPr lang="en-US" sz="2600" spc="-10">
                <a:solidFill>
                  <a:srgbClr val="004161"/>
                </a:solidFill>
                <a:latin typeface="Montserrat"/>
                <a:cs typeface="Arial"/>
              </a:rPr>
              <a:t>to-</a:t>
            </a:r>
            <a:r>
              <a:rPr lang="en-US" sz="2600">
                <a:solidFill>
                  <a:srgbClr val="004161"/>
                </a:solidFill>
                <a:latin typeface="Montserrat"/>
                <a:cs typeface="Arial"/>
              </a:rPr>
              <a:t>use</a:t>
            </a:r>
            <a:r>
              <a:rPr lang="en-US" sz="2600" spc="-100">
                <a:solidFill>
                  <a:srgbClr val="004161"/>
                </a:solidFill>
                <a:latin typeface="Montserrat"/>
                <a:cs typeface="Arial"/>
              </a:rPr>
              <a:t> </a:t>
            </a:r>
            <a:r>
              <a:rPr lang="en-US" sz="2600" spc="-10">
                <a:solidFill>
                  <a:srgbClr val="004161"/>
                </a:solidFill>
                <a:latin typeface="Montserrat"/>
                <a:cs typeface="Arial"/>
              </a:rPr>
              <a:t>guide</a:t>
            </a:r>
            <a:endParaRPr lang="en-US" sz="2600">
              <a:solidFill>
                <a:srgbClr val="004161"/>
              </a:solidFill>
              <a:latin typeface="Montserrat"/>
              <a:cs typeface="Arial"/>
            </a:endParaRPr>
          </a:p>
          <a:p>
            <a:pPr marL="241300" indent="-228600">
              <a:lnSpc>
                <a:spcPct val="100000"/>
              </a:lnSpc>
              <a:buClr>
                <a:srgbClr val="46A8B8"/>
              </a:buClr>
              <a:buChar char="•"/>
              <a:tabLst>
                <a:tab pos="241300" algn="l"/>
              </a:tabLst>
            </a:pPr>
            <a:r>
              <a:rPr lang="en-US" sz="2600" spc="-25">
                <a:solidFill>
                  <a:srgbClr val="004161"/>
                </a:solidFill>
                <a:latin typeface="Montserrat"/>
                <a:cs typeface="Arial"/>
              </a:rPr>
              <a:t>Visual</a:t>
            </a:r>
            <a:r>
              <a:rPr lang="en-US" sz="2600" spc="-95">
                <a:solidFill>
                  <a:srgbClr val="004161"/>
                </a:solidFill>
                <a:latin typeface="Montserrat"/>
                <a:cs typeface="Arial"/>
              </a:rPr>
              <a:t> </a:t>
            </a:r>
            <a:r>
              <a:rPr lang="en-US" sz="2600">
                <a:solidFill>
                  <a:srgbClr val="004161"/>
                </a:solidFill>
                <a:latin typeface="Montserrat"/>
                <a:cs typeface="Arial"/>
              </a:rPr>
              <a:t>display</a:t>
            </a:r>
            <a:r>
              <a:rPr lang="en-US" sz="2600" spc="-120">
                <a:solidFill>
                  <a:srgbClr val="004161"/>
                </a:solidFill>
                <a:latin typeface="Montserrat"/>
                <a:cs typeface="Arial"/>
              </a:rPr>
              <a:t> </a:t>
            </a:r>
            <a:r>
              <a:rPr lang="en-US" sz="2600">
                <a:solidFill>
                  <a:srgbClr val="004161"/>
                </a:solidFill>
                <a:latin typeface="Montserrat"/>
                <a:cs typeface="Arial"/>
              </a:rPr>
              <a:t>with</a:t>
            </a:r>
            <a:r>
              <a:rPr lang="en-US" sz="2600" spc="-60">
                <a:solidFill>
                  <a:srgbClr val="004161"/>
                </a:solidFill>
                <a:latin typeface="Montserrat"/>
                <a:cs typeface="Arial"/>
              </a:rPr>
              <a:t> </a:t>
            </a:r>
            <a:r>
              <a:rPr lang="en-US" sz="2600">
                <a:solidFill>
                  <a:srgbClr val="004161"/>
                </a:solidFill>
                <a:latin typeface="Montserrat"/>
                <a:cs typeface="Arial"/>
              </a:rPr>
              <a:t>poster</a:t>
            </a:r>
            <a:r>
              <a:rPr lang="en-US" sz="2600" spc="-70">
                <a:solidFill>
                  <a:srgbClr val="004161"/>
                </a:solidFill>
                <a:latin typeface="Montserrat"/>
                <a:cs typeface="Arial"/>
              </a:rPr>
              <a:t> </a:t>
            </a:r>
            <a:r>
              <a:rPr lang="en-US" sz="2600" spc="-25">
                <a:solidFill>
                  <a:srgbClr val="004161"/>
                </a:solidFill>
                <a:latin typeface="Montserrat"/>
                <a:cs typeface="Arial"/>
              </a:rPr>
              <a:t>art</a:t>
            </a:r>
            <a:endParaRPr lang="en-US" sz="2600">
              <a:solidFill>
                <a:srgbClr val="004161"/>
              </a:solidFill>
              <a:latin typeface="Montserrat"/>
              <a:cs typeface="Arial"/>
            </a:endParaRPr>
          </a:p>
          <a:p>
            <a:pPr marL="241300" indent="-228600">
              <a:lnSpc>
                <a:spcPct val="100000"/>
              </a:lnSpc>
              <a:buClr>
                <a:srgbClr val="46A8B8"/>
              </a:buClr>
              <a:buChar char="•"/>
              <a:tabLst>
                <a:tab pos="241300" algn="l"/>
              </a:tabLst>
            </a:pPr>
            <a:r>
              <a:rPr lang="en-US" sz="2600">
                <a:solidFill>
                  <a:srgbClr val="004161"/>
                </a:solidFill>
                <a:latin typeface="Montserrat"/>
                <a:cs typeface="Arial"/>
              </a:rPr>
              <a:t>Any</a:t>
            </a:r>
            <a:r>
              <a:rPr lang="en-US" sz="2600" spc="-160">
                <a:solidFill>
                  <a:srgbClr val="004161"/>
                </a:solidFill>
                <a:latin typeface="Montserrat"/>
                <a:cs typeface="Arial"/>
              </a:rPr>
              <a:t> </a:t>
            </a:r>
            <a:r>
              <a:rPr lang="en-US" sz="2600">
                <a:solidFill>
                  <a:srgbClr val="004161"/>
                </a:solidFill>
                <a:latin typeface="Montserrat"/>
                <a:cs typeface="Arial"/>
              </a:rPr>
              <a:t>screen</a:t>
            </a:r>
            <a:r>
              <a:rPr lang="en-US" sz="2600" spc="-125">
                <a:solidFill>
                  <a:srgbClr val="004161"/>
                </a:solidFill>
                <a:latin typeface="Montserrat"/>
                <a:cs typeface="Arial"/>
              </a:rPr>
              <a:t> </a:t>
            </a:r>
            <a:r>
              <a:rPr lang="en-US" sz="2600">
                <a:solidFill>
                  <a:srgbClr val="004161"/>
                </a:solidFill>
                <a:latin typeface="Montserrat"/>
                <a:cs typeface="Arial"/>
              </a:rPr>
              <a:t>in</a:t>
            </a:r>
            <a:r>
              <a:rPr lang="en-US" sz="2600" spc="-135">
                <a:solidFill>
                  <a:srgbClr val="004161"/>
                </a:solidFill>
                <a:latin typeface="Montserrat"/>
                <a:cs typeface="Arial"/>
              </a:rPr>
              <a:t> </a:t>
            </a:r>
            <a:r>
              <a:rPr lang="en-US" sz="2600">
                <a:solidFill>
                  <a:srgbClr val="004161"/>
                </a:solidFill>
                <a:latin typeface="Montserrat"/>
                <a:cs typeface="Arial"/>
              </a:rPr>
              <a:t>any</a:t>
            </a:r>
            <a:r>
              <a:rPr lang="en-US" sz="2600" spc="-155">
                <a:solidFill>
                  <a:srgbClr val="004161"/>
                </a:solidFill>
                <a:latin typeface="Montserrat"/>
                <a:cs typeface="Arial"/>
              </a:rPr>
              <a:t> </a:t>
            </a:r>
            <a:r>
              <a:rPr lang="en-US" sz="2600" spc="-20">
                <a:solidFill>
                  <a:srgbClr val="004161"/>
                </a:solidFill>
                <a:latin typeface="Montserrat"/>
                <a:cs typeface="Arial"/>
              </a:rPr>
              <a:t>room</a:t>
            </a:r>
            <a:endParaRPr lang="en-US" sz="2600">
              <a:solidFill>
                <a:srgbClr val="004161"/>
              </a:solidFill>
              <a:latin typeface="Montserrat"/>
              <a:cs typeface="Arial"/>
            </a:endParaRPr>
          </a:p>
          <a:p>
            <a:pPr marL="241300" indent="-228600">
              <a:buClr>
                <a:srgbClr val="46A8B8"/>
              </a:buClr>
              <a:buChar char="•"/>
              <a:tabLst>
                <a:tab pos="241300" algn="l"/>
              </a:tabLst>
            </a:pPr>
            <a:r>
              <a:rPr lang="en-US" sz="2600" spc="-20">
                <a:solidFill>
                  <a:srgbClr val="004161"/>
                </a:solidFill>
                <a:latin typeface="Montserrat"/>
                <a:cs typeface="Arial"/>
              </a:rPr>
              <a:t>Easily find, play, record, and delete your shows</a:t>
            </a:r>
          </a:p>
          <a:p>
            <a:pPr marL="241300" indent="-228600">
              <a:buClr>
                <a:srgbClr val="46A8B8"/>
              </a:buClr>
              <a:buChar char="•"/>
              <a:tabLst>
                <a:tab pos="241300" algn="l"/>
              </a:tabLst>
            </a:pPr>
            <a:r>
              <a:rPr lang="en-US" sz="2600">
                <a:solidFill>
                  <a:srgbClr val="004161"/>
                </a:solidFill>
                <a:latin typeface="Montserrat"/>
                <a:cs typeface="Arial"/>
              </a:rPr>
              <a:t>Network</a:t>
            </a:r>
            <a:r>
              <a:rPr lang="en-US" sz="2600" spc="-90">
                <a:solidFill>
                  <a:srgbClr val="004161"/>
                </a:solidFill>
                <a:latin typeface="Montserrat"/>
                <a:cs typeface="Arial"/>
              </a:rPr>
              <a:t> </a:t>
            </a:r>
            <a:r>
              <a:rPr lang="en-US" sz="2600" spc="-100">
                <a:solidFill>
                  <a:srgbClr val="004161"/>
                </a:solidFill>
                <a:latin typeface="Montserrat"/>
                <a:cs typeface="Arial"/>
              </a:rPr>
              <a:t>DVR,</a:t>
            </a:r>
            <a:r>
              <a:rPr lang="en-US" sz="2600" spc="-270">
                <a:solidFill>
                  <a:srgbClr val="004161"/>
                </a:solidFill>
                <a:latin typeface="Montserrat"/>
                <a:cs typeface="Arial"/>
              </a:rPr>
              <a:t> </a:t>
            </a:r>
            <a:r>
              <a:rPr lang="en-US" sz="2600" spc="-10">
                <a:solidFill>
                  <a:srgbClr val="004161"/>
                </a:solidFill>
                <a:latin typeface="Montserrat"/>
                <a:cs typeface="Arial"/>
              </a:rPr>
              <a:t>Start</a:t>
            </a:r>
            <a:r>
              <a:rPr lang="en-US" sz="2600" spc="-70">
                <a:solidFill>
                  <a:srgbClr val="004161"/>
                </a:solidFill>
                <a:latin typeface="Montserrat"/>
                <a:cs typeface="Arial"/>
              </a:rPr>
              <a:t> </a:t>
            </a:r>
            <a:r>
              <a:rPr lang="en-US" sz="2600">
                <a:solidFill>
                  <a:srgbClr val="004161"/>
                </a:solidFill>
                <a:latin typeface="Montserrat"/>
                <a:cs typeface="Arial"/>
              </a:rPr>
              <a:t>Over</a:t>
            </a:r>
            <a:r>
              <a:rPr lang="en-US" sz="2600" spc="-110">
                <a:solidFill>
                  <a:srgbClr val="004161"/>
                </a:solidFill>
                <a:latin typeface="Montserrat"/>
                <a:cs typeface="Arial"/>
              </a:rPr>
              <a:t> </a:t>
            </a:r>
            <a:r>
              <a:rPr lang="en-US" sz="2600">
                <a:solidFill>
                  <a:srgbClr val="004161"/>
                </a:solidFill>
                <a:latin typeface="Montserrat"/>
                <a:cs typeface="Arial"/>
              </a:rPr>
              <a:t>&amp;</a:t>
            </a:r>
            <a:r>
              <a:rPr lang="en-US" sz="2600" spc="-180">
                <a:solidFill>
                  <a:srgbClr val="004161"/>
                </a:solidFill>
                <a:latin typeface="Montserrat"/>
                <a:cs typeface="Arial"/>
              </a:rPr>
              <a:t> </a:t>
            </a:r>
            <a:r>
              <a:rPr lang="en-US" sz="2600" spc="-20">
                <a:solidFill>
                  <a:srgbClr val="004161"/>
                </a:solidFill>
                <a:latin typeface="Montserrat"/>
                <a:cs typeface="Arial"/>
              </a:rPr>
              <a:t>Catch</a:t>
            </a:r>
            <a:r>
              <a:rPr lang="en-US" sz="2600" spc="-90">
                <a:solidFill>
                  <a:srgbClr val="004161"/>
                </a:solidFill>
                <a:latin typeface="Montserrat"/>
                <a:cs typeface="Arial"/>
              </a:rPr>
              <a:t> </a:t>
            </a:r>
            <a:r>
              <a:rPr lang="en-US" sz="2600" spc="-25">
                <a:solidFill>
                  <a:srgbClr val="004161"/>
                </a:solidFill>
                <a:latin typeface="Montserrat"/>
                <a:cs typeface="Arial"/>
              </a:rPr>
              <a:t>Up</a:t>
            </a:r>
            <a:endParaRPr lang="en-US" sz="2600" spc="-25">
              <a:solidFill>
                <a:srgbClr val="004161"/>
              </a:solidFill>
              <a:latin typeface="Montserrat"/>
            </a:endParaRPr>
          </a:p>
          <a:p>
            <a:pPr marL="241300" indent="-228600">
              <a:lnSpc>
                <a:spcPct val="100000"/>
              </a:lnSpc>
              <a:buClr>
                <a:srgbClr val="46A8B8"/>
              </a:buClr>
              <a:buChar char="•"/>
              <a:tabLst>
                <a:tab pos="241300" algn="l"/>
              </a:tabLst>
            </a:pPr>
            <a:r>
              <a:rPr lang="en-US" sz="2600" spc="-25">
                <a:solidFill>
                  <a:srgbClr val="004161"/>
                </a:solidFill>
                <a:latin typeface="Montserrat"/>
                <a:cs typeface="Arial"/>
              </a:rPr>
              <a:t>Get recommendations on what to watch</a:t>
            </a:r>
            <a:endParaRPr lang="en-US" sz="2600" spc="-25">
              <a:solidFill>
                <a:srgbClr val="004161"/>
              </a:solidFill>
              <a:latin typeface="Montserrat"/>
            </a:endParaRPr>
          </a:p>
          <a:p>
            <a:pPr marL="241300" indent="-228600">
              <a:lnSpc>
                <a:spcPct val="100000"/>
              </a:lnSpc>
              <a:buClr>
                <a:srgbClr val="46A8B8"/>
              </a:buClr>
              <a:buChar char="•"/>
              <a:tabLst>
                <a:tab pos="241300" algn="l"/>
              </a:tabLst>
            </a:pPr>
            <a:r>
              <a:rPr lang="en-US" sz="2600" spc="-100">
                <a:solidFill>
                  <a:srgbClr val="004161"/>
                </a:solidFill>
                <a:latin typeface="Montserrat"/>
                <a:cs typeface="Arial"/>
              </a:rPr>
              <a:t>Say </a:t>
            </a:r>
            <a:r>
              <a:rPr lang="en-US" sz="2600" spc="-10">
                <a:solidFill>
                  <a:srgbClr val="004161"/>
                </a:solidFill>
                <a:latin typeface="Montserrat"/>
                <a:cs typeface="Arial"/>
              </a:rPr>
              <a:t>it.</a:t>
            </a:r>
            <a:r>
              <a:rPr lang="en-US" sz="2600" spc="-185">
                <a:solidFill>
                  <a:srgbClr val="004161"/>
                </a:solidFill>
                <a:latin typeface="Montserrat"/>
                <a:cs typeface="Arial"/>
              </a:rPr>
              <a:t> </a:t>
            </a:r>
            <a:r>
              <a:rPr lang="en-US" sz="2600" spc="-10">
                <a:solidFill>
                  <a:srgbClr val="004161"/>
                </a:solidFill>
                <a:latin typeface="Montserrat"/>
                <a:cs typeface="Arial"/>
              </a:rPr>
              <a:t>See</a:t>
            </a:r>
            <a:r>
              <a:rPr lang="en-US" sz="2600" spc="-185">
                <a:solidFill>
                  <a:srgbClr val="004161"/>
                </a:solidFill>
                <a:latin typeface="Montserrat"/>
                <a:cs typeface="Arial"/>
              </a:rPr>
              <a:t> </a:t>
            </a:r>
            <a:r>
              <a:rPr lang="en-US" sz="2600">
                <a:solidFill>
                  <a:srgbClr val="004161"/>
                </a:solidFill>
                <a:latin typeface="Montserrat"/>
                <a:cs typeface="Arial"/>
              </a:rPr>
              <a:t>it.</a:t>
            </a:r>
            <a:r>
              <a:rPr lang="en-US" sz="2600" spc="-195">
                <a:solidFill>
                  <a:srgbClr val="004161"/>
                </a:solidFill>
                <a:latin typeface="Montserrat"/>
                <a:cs typeface="Arial"/>
              </a:rPr>
              <a:t> </a:t>
            </a:r>
            <a:r>
              <a:rPr lang="en-US" sz="2600" spc="-20">
                <a:solidFill>
                  <a:srgbClr val="004161"/>
                </a:solidFill>
                <a:latin typeface="Montserrat"/>
                <a:cs typeface="Arial"/>
              </a:rPr>
              <a:t>Watch</a:t>
            </a:r>
            <a:r>
              <a:rPr lang="en-US" sz="2600" spc="-105">
                <a:solidFill>
                  <a:srgbClr val="004161"/>
                </a:solidFill>
                <a:latin typeface="Montserrat"/>
                <a:cs typeface="Arial"/>
              </a:rPr>
              <a:t> </a:t>
            </a:r>
            <a:r>
              <a:rPr lang="en-US" sz="2600" spc="-25">
                <a:solidFill>
                  <a:srgbClr val="004161"/>
                </a:solidFill>
                <a:latin typeface="Montserrat"/>
                <a:cs typeface="Arial"/>
              </a:rPr>
              <a:t>it</a:t>
            </a:r>
            <a:endParaRPr lang="en-US" sz="2600">
              <a:solidFill>
                <a:srgbClr val="004161"/>
              </a:solidFill>
              <a:latin typeface="Montserrat"/>
              <a:cs typeface="Arial"/>
            </a:endParaRPr>
          </a:p>
          <a:p>
            <a:pPr marL="241300" indent="-228600">
              <a:lnSpc>
                <a:spcPct val="100000"/>
              </a:lnSpc>
              <a:buClr>
                <a:srgbClr val="46A8B8"/>
              </a:buClr>
              <a:buChar char="•"/>
              <a:tabLst>
                <a:tab pos="241300" algn="l"/>
              </a:tabLst>
            </a:pPr>
            <a:r>
              <a:rPr lang="en-US" sz="2600">
                <a:solidFill>
                  <a:srgbClr val="004161"/>
                </a:solidFill>
                <a:latin typeface="Montserrat"/>
                <a:cs typeface="Arial"/>
              </a:rPr>
              <a:t>Google</a:t>
            </a:r>
            <a:r>
              <a:rPr lang="en-US" sz="2600" spc="-90">
                <a:solidFill>
                  <a:srgbClr val="004161"/>
                </a:solidFill>
                <a:latin typeface="Montserrat"/>
                <a:cs typeface="Arial"/>
              </a:rPr>
              <a:t> </a:t>
            </a:r>
            <a:r>
              <a:rPr lang="en-US" sz="2600" spc="-10">
                <a:solidFill>
                  <a:srgbClr val="004161"/>
                </a:solidFill>
                <a:latin typeface="Montserrat"/>
                <a:cs typeface="Arial"/>
              </a:rPr>
              <a:t>Assistant</a:t>
            </a:r>
            <a:endParaRPr lang="en-US" sz="2600">
              <a:solidFill>
                <a:srgbClr val="004161"/>
              </a:solidFill>
              <a:latin typeface="Montserrat" panose="00000500000000000000" pitchFamily="2" charset="0"/>
              <a:cs typeface="Arial"/>
            </a:endParaRPr>
          </a:p>
          <a:p>
            <a:endParaRPr lang="en-US"/>
          </a:p>
        </p:txBody>
      </p:sp>
      <p:pic>
        <p:nvPicPr>
          <p:cNvPr id="14" name="object 10">
            <a:extLst>
              <a:ext uri="{FF2B5EF4-FFF2-40B4-BE49-F238E27FC236}">
                <a16:creationId xmlns:a16="http://schemas.microsoft.com/office/drawing/2014/main" id="{3D8CEA8D-4CCE-42A3-9652-4FFFC4589DDC}"/>
              </a:ext>
            </a:extLst>
          </p:cNvPr>
          <p:cNvPicPr/>
          <p:nvPr/>
        </p:nvPicPr>
        <p:blipFill>
          <a:blip r:embed="rId5" cstate="print"/>
          <a:stretch>
            <a:fillRect/>
          </a:stretch>
        </p:blipFill>
        <p:spPr>
          <a:xfrm>
            <a:off x="4892511" y="5394103"/>
            <a:ext cx="7299489" cy="1471824"/>
          </a:xfrm>
          <a:prstGeom prst="rect">
            <a:avLst/>
          </a:prstGeom>
        </p:spPr>
      </p:pic>
    </p:spTree>
    <p:extLst>
      <p:ext uri="{BB962C8B-B14F-4D97-AF65-F5344CB8AC3E}">
        <p14:creationId xmlns:p14="http://schemas.microsoft.com/office/powerpoint/2010/main" val="11241265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452AA-AF58-C07D-8FE6-380444899A09}"/>
              </a:ext>
            </a:extLst>
          </p:cNvPr>
          <p:cNvSpPr>
            <a:spLocks noGrp="1"/>
          </p:cNvSpPr>
          <p:nvPr>
            <p:ph type="title"/>
          </p:nvPr>
        </p:nvSpPr>
        <p:spPr/>
        <p:txBody>
          <a:bodyPr anchor="ctr">
            <a:normAutofit/>
          </a:bodyPr>
          <a:lstStyle/>
          <a:p>
            <a:r>
              <a:rPr lang="en-US" sz="3600">
                <a:latin typeface="Montserrat" panose="00000500000000000000" pitchFamily="2" charset="0"/>
              </a:rPr>
              <a:t>Record All Your Shows</a:t>
            </a:r>
          </a:p>
        </p:txBody>
      </p:sp>
      <p:pic>
        <p:nvPicPr>
          <p:cNvPr id="17" name="object 8">
            <a:extLst>
              <a:ext uri="{FF2B5EF4-FFF2-40B4-BE49-F238E27FC236}">
                <a16:creationId xmlns:a16="http://schemas.microsoft.com/office/drawing/2014/main" id="{32FD5D6C-494F-4B27-937C-BB320898FE5F}"/>
              </a:ext>
            </a:extLst>
          </p:cNvPr>
          <p:cNvPicPr/>
          <p:nvPr/>
        </p:nvPicPr>
        <p:blipFill rotWithShape="1">
          <a:blip r:embed="rId2" cstate="print"/>
          <a:srcRect r="11285" b="-1"/>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5" name="Title 1">
            <a:extLst>
              <a:ext uri="{FF2B5EF4-FFF2-40B4-BE49-F238E27FC236}">
                <a16:creationId xmlns:a16="http://schemas.microsoft.com/office/drawing/2014/main" id="{C10BA1EB-2076-2FB6-BA9E-6281CDFB97F2}"/>
              </a:ext>
            </a:extLst>
          </p:cNvPr>
          <p:cNvSpPr txBox="1">
            <a:spLocks/>
          </p:cNvSpPr>
          <p:nvPr/>
        </p:nvSpPr>
        <p:spPr>
          <a:xfrm>
            <a:off x="1011812" y="3622123"/>
            <a:ext cx="3290887" cy="24526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baseline="0">
                <a:solidFill>
                  <a:srgbClr val="004161"/>
                </a:solidFill>
                <a:latin typeface="Montserrat" pitchFamily="2" charset="77"/>
                <a:ea typeface="+mj-ea"/>
                <a:cs typeface="+mj-cs"/>
              </a:defRPr>
            </a:lvl1pPr>
          </a:lstStyle>
          <a:p>
            <a:pPr algn="ctr"/>
            <a:r>
              <a:rPr lang="en-US" sz="3600">
                <a:latin typeface="Montserrat" panose="00000500000000000000" pitchFamily="2" charset="0"/>
              </a:rPr>
              <a:t>Record All Your Shows</a:t>
            </a:r>
          </a:p>
        </p:txBody>
      </p:sp>
      <p:sp>
        <p:nvSpPr>
          <p:cNvPr id="6" name="Content Placeholder 4">
            <a:extLst>
              <a:ext uri="{FF2B5EF4-FFF2-40B4-BE49-F238E27FC236}">
                <a16:creationId xmlns:a16="http://schemas.microsoft.com/office/drawing/2014/main" id="{55995B30-4FAB-AA41-A685-64BD2BF07925}"/>
              </a:ext>
            </a:extLst>
          </p:cNvPr>
          <p:cNvSpPr>
            <a:spLocks noGrp="1"/>
          </p:cNvSpPr>
          <p:nvPr>
            <p:ph idx="1"/>
          </p:nvPr>
        </p:nvSpPr>
        <p:spPr>
          <a:xfrm>
            <a:off x="4433776" y="3625162"/>
            <a:ext cx="7292556" cy="2452687"/>
          </a:xfrm>
        </p:spPr>
        <p:txBody>
          <a:bodyPr anchor="ctr">
            <a:normAutofit/>
          </a:bodyPr>
          <a:lstStyle/>
          <a:p>
            <a:pPr marL="241300">
              <a:spcBef>
                <a:spcPts val="1560"/>
              </a:spcBef>
              <a:buClr>
                <a:srgbClr val="46A8B8"/>
              </a:buClr>
              <a:tabLst>
                <a:tab pos="241300" algn="l"/>
              </a:tabLst>
            </a:pPr>
            <a:r>
              <a:rPr lang="en-US" sz="2400">
                <a:solidFill>
                  <a:srgbClr val="004161"/>
                </a:solidFill>
                <a:latin typeface="Montserrat"/>
                <a:cs typeface="Arial"/>
              </a:rPr>
              <a:t>Cloud</a:t>
            </a:r>
            <a:r>
              <a:rPr lang="en-US" sz="2400" spc="-110">
                <a:solidFill>
                  <a:srgbClr val="004161"/>
                </a:solidFill>
                <a:latin typeface="Montserrat"/>
                <a:cs typeface="Arial"/>
              </a:rPr>
              <a:t> </a:t>
            </a:r>
            <a:r>
              <a:rPr lang="en-US" sz="2400" spc="-80">
                <a:solidFill>
                  <a:srgbClr val="004161"/>
                </a:solidFill>
                <a:latin typeface="Montserrat"/>
                <a:cs typeface="Arial"/>
              </a:rPr>
              <a:t>DVR</a:t>
            </a:r>
            <a:r>
              <a:rPr lang="en-US" sz="2400" spc="-315">
                <a:solidFill>
                  <a:srgbClr val="004161"/>
                </a:solidFill>
                <a:latin typeface="Montserrat"/>
                <a:cs typeface="Arial"/>
              </a:rPr>
              <a:t>  </a:t>
            </a:r>
            <a:r>
              <a:rPr lang="en-US" sz="2400" spc="-10">
                <a:solidFill>
                  <a:srgbClr val="004161"/>
                </a:solidFill>
                <a:latin typeface="Montserrat"/>
                <a:cs typeface="Arial"/>
              </a:rPr>
              <a:t>Storage</a:t>
            </a:r>
            <a:endParaRPr lang="en-US" sz="2400">
              <a:solidFill>
                <a:srgbClr val="004161"/>
              </a:solidFill>
              <a:latin typeface="Montserrat"/>
              <a:cs typeface="Arial"/>
            </a:endParaRPr>
          </a:p>
          <a:p>
            <a:pPr marL="241300" marR="248920" indent="-228600">
              <a:spcBef>
                <a:spcPts val="1850"/>
              </a:spcBef>
              <a:buClr>
                <a:srgbClr val="46A8B8"/>
              </a:buClr>
              <a:buChar char="•"/>
              <a:tabLst>
                <a:tab pos="241300" algn="l"/>
              </a:tabLst>
            </a:pPr>
            <a:r>
              <a:rPr lang="en-US" sz="2400" spc="-20">
                <a:solidFill>
                  <a:srgbClr val="004161"/>
                </a:solidFill>
                <a:latin typeface="Montserrat"/>
                <a:cs typeface="Arial"/>
              </a:rPr>
              <a:t>Set</a:t>
            </a:r>
            <a:r>
              <a:rPr lang="en-US" sz="2400" spc="-75">
                <a:solidFill>
                  <a:srgbClr val="004161"/>
                </a:solidFill>
                <a:latin typeface="Montserrat"/>
                <a:cs typeface="Arial"/>
              </a:rPr>
              <a:t> </a:t>
            </a:r>
            <a:r>
              <a:rPr lang="en-US" sz="2400">
                <a:solidFill>
                  <a:srgbClr val="004161"/>
                </a:solidFill>
                <a:latin typeface="Montserrat"/>
                <a:cs typeface="Arial"/>
              </a:rPr>
              <a:t>up</a:t>
            </a:r>
            <a:r>
              <a:rPr lang="en-US" sz="2400" spc="-105">
                <a:solidFill>
                  <a:srgbClr val="004161"/>
                </a:solidFill>
                <a:latin typeface="Montserrat"/>
                <a:cs typeface="Arial"/>
              </a:rPr>
              <a:t> </a:t>
            </a:r>
            <a:r>
              <a:rPr lang="en-US" sz="2400">
                <a:solidFill>
                  <a:srgbClr val="004161"/>
                </a:solidFill>
                <a:latin typeface="Montserrat"/>
                <a:cs typeface="Arial"/>
              </a:rPr>
              <a:t>single</a:t>
            </a:r>
            <a:r>
              <a:rPr lang="en-US" sz="2400" spc="-70">
                <a:solidFill>
                  <a:srgbClr val="004161"/>
                </a:solidFill>
                <a:latin typeface="Montserrat"/>
                <a:cs typeface="Arial"/>
              </a:rPr>
              <a:t> </a:t>
            </a:r>
            <a:r>
              <a:rPr lang="en-US" sz="2400">
                <a:solidFill>
                  <a:srgbClr val="004161"/>
                </a:solidFill>
                <a:latin typeface="Montserrat"/>
                <a:cs typeface="Arial"/>
              </a:rPr>
              <a:t>episodes</a:t>
            </a:r>
            <a:r>
              <a:rPr lang="en-US" sz="2400" spc="-145">
                <a:solidFill>
                  <a:srgbClr val="004161"/>
                </a:solidFill>
                <a:latin typeface="Montserrat"/>
                <a:cs typeface="Arial"/>
              </a:rPr>
              <a:t> </a:t>
            </a:r>
            <a:r>
              <a:rPr lang="en-US" sz="2400" spc="-25">
                <a:solidFill>
                  <a:srgbClr val="004161"/>
                </a:solidFill>
                <a:latin typeface="Montserrat"/>
                <a:cs typeface="Arial"/>
              </a:rPr>
              <a:t>or </a:t>
            </a:r>
            <a:r>
              <a:rPr lang="en-US" sz="2400" spc="-10">
                <a:solidFill>
                  <a:srgbClr val="004161"/>
                </a:solidFill>
                <a:latin typeface="Montserrat"/>
                <a:cs typeface="Arial"/>
              </a:rPr>
              <a:t>series</a:t>
            </a:r>
            <a:r>
              <a:rPr lang="en-US" sz="2400" spc="-180">
                <a:solidFill>
                  <a:srgbClr val="004161"/>
                </a:solidFill>
                <a:latin typeface="Montserrat"/>
                <a:cs typeface="Arial"/>
              </a:rPr>
              <a:t> </a:t>
            </a:r>
            <a:r>
              <a:rPr lang="en-US" sz="2400" spc="-10">
                <a:solidFill>
                  <a:srgbClr val="004161"/>
                </a:solidFill>
                <a:latin typeface="Montserrat"/>
                <a:cs typeface="Arial"/>
              </a:rPr>
              <a:t>recordings</a:t>
            </a:r>
            <a:endParaRPr lang="en-US" sz="2400">
              <a:solidFill>
                <a:srgbClr val="004161"/>
              </a:solidFill>
              <a:latin typeface="Montserrat"/>
              <a:cs typeface="Arial"/>
            </a:endParaRPr>
          </a:p>
          <a:p>
            <a:pPr marL="241300" marR="5080" indent="-228600">
              <a:spcBef>
                <a:spcPts val="1810"/>
              </a:spcBef>
              <a:buClr>
                <a:srgbClr val="46A8B8"/>
              </a:buClr>
              <a:buChar char="•"/>
              <a:tabLst>
                <a:tab pos="241300" algn="l"/>
              </a:tabLst>
            </a:pPr>
            <a:r>
              <a:rPr lang="en-US" sz="2400" spc="-25">
                <a:solidFill>
                  <a:srgbClr val="004161"/>
                </a:solidFill>
                <a:latin typeface="Montserrat"/>
                <a:cs typeface="Arial"/>
              </a:rPr>
              <a:t>Watch</a:t>
            </a:r>
            <a:r>
              <a:rPr lang="en-US" sz="2400" spc="-80">
                <a:solidFill>
                  <a:srgbClr val="004161"/>
                </a:solidFill>
                <a:latin typeface="Montserrat"/>
                <a:cs typeface="Arial"/>
              </a:rPr>
              <a:t> </a:t>
            </a:r>
            <a:r>
              <a:rPr lang="en-US" sz="2400">
                <a:solidFill>
                  <a:srgbClr val="004161"/>
                </a:solidFill>
                <a:latin typeface="Montserrat"/>
                <a:cs typeface="Arial"/>
              </a:rPr>
              <a:t>recordings</a:t>
            </a:r>
            <a:r>
              <a:rPr lang="en-US" sz="2400" spc="-125">
                <a:solidFill>
                  <a:srgbClr val="004161"/>
                </a:solidFill>
                <a:latin typeface="Montserrat"/>
                <a:cs typeface="Arial"/>
              </a:rPr>
              <a:t> </a:t>
            </a:r>
            <a:r>
              <a:rPr lang="en-US" sz="2400">
                <a:solidFill>
                  <a:srgbClr val="004161"/>
                </a:solidFill>
                <a:latin typeface="Montserrat"/>
                <a:cs typeface="Arial"/>
              </a:rPr>
              <a:t>from</a:t>
            </a:r>
            <a:r>
              <a:rPr lang="en-US" sz="2400" spc="-114">
                <a:solidFill>
                  <a:srgbClr val="004161"/>
                </a:solidFill>
                <a:latin typeface="Montserrat"/>
                <a:cs typeface="Arial"/>
              </a:rPr>
              <a:t> </a:t>
            </a:r>
            <a:r>
              <a:rPr lang="en-US" sz="2400" spc="-25">
                <a:solidFill>
                  <a:srgbClr val="004161"/>
                </a:solidFill>
                <a:latin typeface="Montserrat"/>
                <a:cs typeface="Arial"/>
              </a:rPr>
              <a:t>any </a:t>
            </a:r>
            <a:r>
              <a:rPr lang="en-US" sz="2400">
                <a:solidFill>
                  <a:srgbClr val="004161"/>
                </a:solidFill>
                <a:latin typeface="Montserrat"/>
                <a:cs typeface="Arial"/>
              </a:rPr>
              <a:t>device,</a:t>
            </a:r>
            <a:r>
              <a:rPr lang="en-US" sz="2400" spc="-20">
                <a:solidFill>
                  <a:srgbClr val="004161"/>
                </a:solidFill>
                <a:latin typeface="Montserrat"/>
                <a:cs typeface="Arial"/>
              </a:rPr>
              <a:t> </a:t>
            </a:r>
            <a:r>
              <a:rPr lang="en-US" sz="2400" spc="-10">
                <a:solidFill>
                  <a:srgbClr val="004161"/>
                </a:solidFill>
                <a:latin typeface="Montserrat"/>
                <a:cs typeface="Arial"/>
              </a:rPr>
              <a:t>anywhere</a:t>
            </a:r>
            <a:endParaRPr lang="en-US" sz="2400">
              <a:solidFill>
                <a:srgbClr val="004161"/>
              </a:solidFill>
              <a:latin typeface="Montserrat" panose="00000500000000000000" pitchFamily="2" charset="0"/>
              <a:cs typeface="Arial"/>
            </a:endParaRPr>
          </a:p>
        </p:txBody>
      </p:sp>
    </p:spTree>
    <p:extLst>
      <p:ext uri="{BB962C8B-B14F-4D97-AF65-F5344CB8AC3E}">
        <p14:creationId xmlns:p14="http://schemas.microsoft.com/office/powerpoint/2010/main" val="3072502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452AA-AF58-C07D-8FE6-380444899A09}"/>
              </a:ext>
            </a:extLst>
          </p:cNvPr>
          <p:cNvSpPr>
            <a:spLocks noGrp="1"/>
          </p:cNvSpPr>
          <p:nvPr>
            <p:ph type="title"/>
          </p:nvPr>
        </p:nvSpPr>
        <p:spPr>
          <a:xfrm>
            <a:off x="876731" y="162993"/>
            <a:ext cx="10872990" cy="1065229"/>
          </a:xfrm>
        </p:spPr>
        <p:txBody>
          <a:bodyPr>
            <a:noAutofit/>
          </a:bodyPr>
          <a:lstStyle/>
          <a:p>
            <a:r>
              <a:rPr lang="en-US">
                <a:latin typeface="Montserrat" panose="00000500000000000000" pitchFamily="2" charset="0"/>
              </a:rPr>
              <a:t>Easy Access to Your Favorite Apps </a:t>
            </a:r>
            <a:br>
              <a:rPr lang="en-US">
                <a:latin typeface="Montserrat" panose="00000500000000000000" pitchFamily="2" charset="0"/>
              </a:rPr>
            </a:br>
            <a:r>
              <a:rPr lang="en-US">
                <a:latin typeface="Montserrat" panose="00000500000000000000" pitchFamily="2" charset="0"/>
              </a:rPr>
              <a:t>&amp; Google Assistant </a:t>
            </a:r>
          </a:p>
        </p:txBody>
      </p:sp>
      <p:sp>
        <p:nvSpPr>
          <p:cNvPr id="16" name="Content Placeholder 4">
            <a:extLst>
              <a:ext uri="{FF2B5EF4-FFF2-40B4-BE49-F238E27FC236}">
                <a16:creationId xmlns:a16="http://schemas.microsoft.com/office/drawing/2014/main" id="{326749B5-C546-46EE-9569-6341FA016180}"/>
              </a:ext>
            </a:extLst>
          </p:cNvPr>
          <p:cNvSpPr>
            <a:spLocks noGrp="1"/>
          </p:cNvSpPr>
          <p:nvPr>
            <p:ph idx="1"/>
          </p:nvPr>
        </p:nvSpPr>
        <p:spPr>
          <a:xfrm>
            <a:off x="876731" y="1580225"/>
            <a:ext cx="5825418" cy="4486124"/>
          </a:xfrm>
        </p:spPr>
        <p:txBody>
          <a:bodyPr>
            <a:normAutofit fontScale="92500" lnSpcReduction="10000"/>
          </a:bodyPr>
          <a:lstStyle/>
          <a:p>
            <a:pPr marL="240665" marR="858519" indent="-227965">
              <a:lnSpc>
                <a:spcPct val="100000"/>
              </a:lnSpc>
              <a:spcBef>
                <a:spcPts val="100"/>
              </a:spcBef>
              <a:buClr>
                <a:srgbClr val="3EB1C8"/>
              </a:buClr>
              <a:buChar char="•"/>
              <a:tabLst>
                <a:tab pos="240665" algn="l"/>
                <a:tab pos="241300" algn="l"/>
              </a:tabLst>
            </a:pPr>
            <a:r>
              <a:rPr lang="en-US" sz="2800" spc="-25">
                <a:solidFill>
                  <a:schemeClr val="tx2"/>
                </a:solidFill>
                <a:latin typeface="Montserrat" panose="00000500000000000000" pitchFamily="2" charset="0"/>
                <a:cs typeface="Arial"/>
              </a:rPr>
              <a:t>Access</a:t>
            </a:r>
            <a:r>
              <a:rPr lang="en-US" sz="2800" spc="-11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to</a:t>
            </a:r>
            <a:r>
              <a:rPr lang="en-US" sz="2800" spc="3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over</a:t>
            </a:r>
            <a:r>
              <a:rPr lang="en-US" sz="2800" spc="-3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5,000</a:t>
            </a:r>
            <a:r>
              <a:rPr lang="en-US" sz="2800" spc="11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apps</a:t>
            </a:r>
            <a:r>
              <a:rPr lang="en-US" sz="2800" spc="-5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on</a:t>
            </a:r>
            <a:r>
              <a:rPr lang="en-US" sz="2800" spc="-10">
                <a:solidFill>
                  <a:schemeClr val="tx2"/>
                </a:solidFill>
                <a:latin typeface="Montserrat" panose="00000500000000000000" pitchFamily="2" charset="0"/>
                <a:cs typeface="Arial"/>
              </a:rPr>
              <a:t> </a:t>
            </a:r>
            <a:r>
              <a:rPr lang="en-US" sz="2800" spc="-25">
                <a:solidFill>
                  <a:schemeClr val="tx2"/>
                </a:solidFill>
                <a:latin typeface="Montserrat" panose="00000500000000000000" pitchFamily="2" charset="0"/>
                <a:cs typeface="Arial"/>
              </a:rPr>
              <a:t>the </a:t>
            </a:r>
            <a:r>
              <a:rPr lang="en-US" sz="2800">
                <a:solidFill>
                  <a:schemeClr val="tx2"/>
                </a:solidFill>
                <a:latin typeface="Montserrat" panose="00000500000000000000" pitchFamily="2" charset="0"/>
                <a:cs typeface="Arial"/>
              </a:rPr>
              <a:t>Google</a:t>
            </a:r>
            <a:r>
              <a:rPr lang="en-US" sz="2800" spc="-85">
                <a:solidFill>
                  <a:schemeClr val="tx2"/>
                </a:solidFill>
                <a:latin typeface="Montserrat" panose="00000500000000000000" pitchFamily="2" charset="0"/>
                <a:cs typeface="Arial"/>
              </a:rPr>
              <a:t> </a:t>
            </a:r>
            <a:r>
              <a:rPr lang="en-US" sz="2800" spc="-25">
                <a:solidFill>
                  <a:schemeClr val="tx2"/>
                </a:solidFill>
                <a:latin typeface="Montserrat" panose="00000500000000000000" pitchFamily="2" charset="0"/>
                <a:cs typeface="Arial"/>
              </a:rPr>
              <a:t>TV</a:t>
            </a:r>
            <a:r>
              <a:rPr lang="en-US" sz="2800" spc="-135">
                <a:solidFill>
                  <a:schemeClr val="tx2"/>
                </a:solidFill>
                <a:latin typeface="Montserrat" panose="00000500000000000000" pitchFamily="2" charset="0"/>
                <a:cs typeface="Arial"/>
              </a:rPr>
              <a:t> </a:t>
            </a:r>
            <a:r>
              <a:rPr lang="en-US" sz="2800" spc="-50">
                <a:solidFill>
                  <a:schemeClr val="tx2"/>
                </a:solidFill>
                <a:latin typeface="Montserrat" panose="00000500000000000000" pitchFamily="2" charset="0"/>
                <a:cs typeface="Arial"/>
              </a:rPr>
              <a:t>Play</a:t>
            </a:r>
            <a:r>
              <a:rPr lang="en-US" sz="2800" spc="-135">
                <a:solidFill>
                  <a:schemeClr val="tx2"/>
                </a:solidFill>
                <a:latin typeface="Montserrat" panose="00000500000000000000" pitchFamily="2" charset="0"/>
                <a:cs typeface="Arial"/>
              </a:rPr>
              <a:t> </a:t>
            </a:r>
            <a:r>
              <a:rPr lang="en-US" sz="2800" spc="-20">
                <a:solidFill>
                  <a:schemeClr val="tx2"/>
                </a:solidFill>
                <a:latin typeface="Montserrat" panose="00000500000000000000" pitchFamily="2" charset="0"/>
                <a:cs typeface="Arial"/>
              </a:rPr>
              <a:t>Store</a:t>
            </a:r>
            <a:endParaRPr lang="en-US" sz="2800">
              <a:solidFill>
                <a:schemeClr val="tx2"/>
              </a:solidFill>
              <a:latin typeface="Montserrat" panose="00000500000000000000" pitchFamily="2" charset="0"/>
              <a:cs typeface="Arial"/>
            </a:endParaRPr>
          </a:p>
          <a:p>
            <a:pPr marL="240665" marR="239395" indent="-227965">
              <a:lnSpc>
                <a:spcPct val="100000"/>
              </a:lnSpc>
              <a:spcBef>
                <a:spcPts val="1800"/>
              </a:spcBef>
              <a:buClr>
                <a:srgbClr val="3EB1C8"/>
              </a:buClr>
              <a:buChar char="•"/>
              <a:tabLst>
                <a:tab pos="240665" algn="l"/>
                <a:tab pos="241300" algn="l"/>
              </a:tabLst>
            </a:pPr>
            <a:r>
              <a:rPr lang="en-US" sz="2800" spc="-10">
                <a:solidFill>
                  <a:schemeClr val="tx2"/>
                </a:solidFill>
                <a:latin typeface="Montserrat" panose="00000500000000000000" pitchFamily="2" charset="0"/>
                <a:cs typeface="Arial"/>
              </a:rPr>
              <a:t>Find</a:t>
            </a:r>
            <a:r>
              <a:rPr lang="en-US" sz="2800" spc="-75">
                <a:solidFill>
                  <a:schemeClr val="tx2"/>
                </a:solidFill>
                <a:latin typeface="Montserrat" panose="00000500000000000000" pitchFamily="2" charset="0"/>
                <a:cs typeface="Arial"/>
              </a:rPr>
              <a:t> </a:t>
            </a:r>
            <a:r>
              <a:rPr lang="en-US" sz="2800" spc="-10">
                <a:solidFill>
                  <a:schemeClr val="tx2"/>
                </a:solidFill>
                <a:latin typeface="Montserrat" panose="00000500000000000000" pitchFamily="2" charset="0"/>
                <a:cs typeface="Arial"/>
              </a:rPr>
              <a:t>movies</a:t>
            </a:r>
            <a:r>
              <a:rPr lang="en-US" sz="2800" spc="-114">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with</a:t>
            </a:r>
            <a:r>
              <a:rPr lang="en-US" sz="2800" spc="-5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your</a:t>
            </a:r>
            <a:r>
              <a:rPr lang="en-US" sz="2800" spc="-7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favorite</a:t>
            </a:r>
            <a:r>
              <a:rPr lang="en-US" sz="2800" spc="-45">
                <a:solidFill>
                  <a:schemeClr val="tx2"/>
                </a:solidFill>
                <a:latin typeface="Montserrat" panose="00000500000000000000" pitchFamily="2" charset="0"/>
                <a:cs typeface="Arial"/>
              </a:rPr>
              <a:t> </a:t>
            </a:r>
            <a:r>
              <a:rPr lang="en-US" sz="2800" spc="-10">
                <a:solidFill>
                  <a:schemeClr val="tx2"/>
                </a:solidFill>
                <a:latin typeface="Montserrat" panose="00000500000000000000" pitchFamily="2" charset="0"/>
                <a:cs typeface="Arial"/>
              </a:rPr>
              <a:t>actor, </a:t>
            </a:r>
            <a:r>
              <a:rPr lang="en-US" sz="2800">
                <a:solidFill>
                  <a:schemeClr val="tx2"/>
                </a:solidFill>
                <a:latin typeface="Montserrat" panose="00000500000000000000" pitchFamily="2" charset="0"/>
                <a:cs typeface="Arial"/>
              </a:rPr>
              <a:t>quickly</a:t>
            </a:r>
            <a:r>
              <a:rPr lang="en-US" sz="2800" spc="-65">
                <a:solidFill>
                  <a:schemeClr val="tx2"/>
                </a:solidFill>
                <a:latin typeface="Montserrat" panose="00000500000000000000" pitchFamily="2" charset="0"/>
                <a:cs typeface="Arial"/>
              </a:rPr>
              <a:t> </a:t>
            </a:r>
            <a:r>
              <a:rPr lang="en-US" sz="2800" spc="-30">
                <a:solidFill>
                  <a:schemeClr val="tx2"/>
                </a:solidFill>
                <a:latin typeface="Montserrat" panose="00000500000000000000" pitchFamily="2" charset="0"/>
                <a:cs typeface="Arial"/>
              </a:rPr>
              <a:t>access</a:t>
            </a:r>
            <a:r>
              <a:rPr lang="en-US" sz="2800" spc="-12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the</a:t>
            </a:r>
            <a:r>
              <a:rPr lang="en-US" sz="2800" spc="-4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score</a:t>
            </a:r>
            <a:r>
              <a:rPr lang="en-US" sz="2800" spc="-2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of</a:t>
            </a:r>
            <a:r>
              <a:rPr lang="en-US" sz="2800" spc="-1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the</a:t>
            </a:r>
            <a:r>
              <a:rPr lang="en-US" sz="2800" spc="-30">
                <a:solidFill>
                  <a:schemeClr val="tx2"/>
                </a:solidFill>
                <a:latin typeface="Montserrat" panose="00000500000000000000" pitchFamily="2" charset="0"/>
                <a:cs typeface="Arial"/>
              </a:rPr>
              <a:t> </a:t>
            </a:r>
            <a:r>
              <a:rPr lang="en-US" sz="2800" spc="-10">
                <a:solidFill>
                  <a:schemeClr val="tx2"/>
                </a:solidFill>
                <a:latin typeface="Montserrat" panose="00000500000000000000" pitchFamily="2" charset="0"/>
                <a:cs typeface="Arial"/>
              </a:rPr>
              <a:t>football </a:t>
            </a:r>
            <a:r>
              <a:rPr lang="en-US" sz="2800">
                <a:solidFill>
                  <a:schemeClr val="tx2"/>
                </a:solidFill>
                <a:latin typeface="Montserrat" panose="00000500000000000000" pitchFamily="2" charset="0"/>
                <a:cs typeface="Arial"/>
              </a:rPr>
              <a:t>game</a:t>
            </a:r>
            <a:r>
              <a:rPr lang="en-US" sz="2800" spc="-6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or</a:t>
            </a:r>
            <a:r>
              <a:rPr lang="en-US" sz="2800" spc="-2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get</a:t>
            </a:r>
            <a:r>
              <a:rPr lang="en-US" sz="2800" spc="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tomorrow’s</a:t>
            </a:r>
            <a:r>
              <a:rPr lang="en-US" sz="2800" spc="-9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weather</a:t>
            </a:r>
            <a:r>
              <a:rPr lang="en-US" sz="2800" spc="-4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 </a:t>
            </a:r>
            <a:r>
              <a:rPr lang="en-US" sz="2800" spc="-25">
                <a:solidFill>
                  <a:schemeClr val="tx2"/>
                </a:solidFill>
                <a:latin typeface="Montserrat" panose="00000500000000000000" pitchFamily="2" charset="0"/>
                <a:cs typeface="Arial"/>
              </a:rPr>
              <a:t>all </a:t>
            </a:r>
            <a:r>
              <a:rPr lang="en-US" sz="2800">
                <a:solidFill>
                  <a:schemeClr val="tx2"/>
                </a:solidFill>
                <a:latin typeface="Montserrat" panose="00000500000000000000" pitchFamily="2" charset="0"/>
                <a:cs typeface="Arial"/>
              </a:rPr>
              <a:t>from</a:t>
            </a:r>
            <a:r>
              <a:rPr lang="en-US" sz="2800" spc="-7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your</a:t>
            </a:r>
            <a:r>
              <a:rPr lang="en-US" sz="2800" spc="-50">
                <a:solidFill>
                  <a:schemeClr val="tx2"/>
                </a:solidFill>
                <a:latin typeface="Montserrat" panose="00000500000000000000" pitchFamily="2" charset="0"/>
                <a:cs typeface="Arial"/>
              </a:rPr>
              <a:t> </a:t>
            </a:r>
            <a:r>
              <a:rPr lang="en-US" sz="2800" spc="-20">
                <a:solidFill>
                  <a:schemeClr val="tx2"/>
                </a:solidFill>
                <a:latin typeface="Montserrat" panose="00000500000000000000" pitchFamily="2" charset="0"/>
                <a:cs typeface="Arial"/>
              </a:rPr>
              <a:t>set-</a:t>
            </a:r>
            <a:r>
              <a:rPr lang="en-US" sz="2800">
                <a:solidFill>
                  <a:schemeClr val="tx2"/>
                </a:solidFill>
                <a:latin typeface="Montserrat" panose="00000500000000000000" pitchFamily="2" charset="0"/>
                <a:cs typeface="Arial"/>
              </a:rPr>
              <a:t>top</a:t>
            </a:r>
            <a:r>
              <a:rPr lang="en-US" sz="2800" spc="20">
                <a:solidFill>
                  <a:schemeClr val="tx2"/>
                </a:solidFill>
                <a:latin typeface="Montserrat" panose="00000500000000000000" pitchFamily="2" charset="0"/>
                <a:cs typeface="Arial"/>
              </a:rPr>
              <a:t> </a:t>
            </a:r>
            <a:r>
              <a:rPr lang="en-US" sz="2800" spc="-25">
                <a:solidFill>
                  <a:schemeClr val="tx2"/>
                </a:solidFill>
                <a:latin typeface="Montserrat" panose="00000500000000000000" pitchFamily="2" charset="0"/>
                <a:cs typeface="Arial"/>
              </a:rPr>
              <a:t>box</a:t>
            </a:r>
            <a:endParaRPr lang="en-US" sz="2800">
              <a:solidFill>
                <a:schemeClr val="tx2"/>
              </a:solidFill>
              <a:latin typeface="Montserrat" panose="00000500000000000000" pitchFamily="2" charset="0"/>
              <a:cs typeface="Arial"/>
            </a:endParaRPr>
          </a:p>
          <a:p>
            <a:pPr marL="240665" marR="5080" indent="-227965">
              <a:lnSpc>
                <a:spcPct val="100000"/>
              </a:lnSpc>
              <a:spcBef>
                <a:spcPts val="1800"/>
              </a:spcBef>
              <a:buClr>
                <a:srgbClr val="3EB1C8"/>
              </a:buClr>
              <a:buChar char="•"/>
              <a:tabLst>
                <a:tab pos="240665" algn="l"/>
                <a:tab pos="241300" algn="l"/>
              </a:tabLst>
            </a:pPr>
            <a:r>
              <a:rPr lang="en-US" sz="2800" spc="-10">
                <a:solidFill>
                  <a:schemeClr val="tx2"/>
                </a:solidFill>
                <a:latin typeface="Montserrat" panose="00000500000000000000" pitchFamily="2" charset="0"/>
                <a:cs typeface="Arial"/>
              </a:rPr>
              <a:t>Powerful</a:t>
            </a:r>
            <a:r>
              <a:rPr lang="en-US" sz="2800" spc="-5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Voice</a:t>
            </a:r>
            <a:r>
              <a:rPr lang="en-US" sz="2800" spc="-120">
                <a:solidFill>
                  <a:schemeClr val="tx2"/>
                </a:solidFill>
                <a:latin typeface="Montserrat" panose="00000500000000000000" pitchFamily="2" charset="0"/>
                <a:cs typeface="Arial"/>
              </a:rPr>
              <a:t> </a:t>
            </a:r>
            <a:r>
              <a:rPr lang="en-US" sz="2800" spc="-25">
                <a:solidFill>
                  <a:schemeClr val="tx2"/>
                </a:solidFill>
                <a:latin typeface="Montserrat" panose="00000500000000000000" pitchFamily="2" charset="0"/>
                <a:cs typeface="Arial"/>
              </a:rPr>
              <a:t>Search</a:t>
            </a:r>
            <a:r>
              <a:rPr lang="en-US" sz="2800" spc="-9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to</a:t>
            </a:r>
            <a:r>
              <a:rPr lang="en-US" sz="2800" spc="-30">
                <a:solidFill>
                  <a:schemeClr val="tx2"/>
                </a:solidFill>
                <a:latin typeface="Montserrat" panose="00000500000000000000" pitchFamily="2" charset="0"/>
                <a:cs typeface="Arial"/>
              </a:rPr>
              <a:t> </a:t>
            </a:r>
            <a:r>
              <a:rPr lang="en-US" sz="2800" spc="-10">
                <a:solidFill>
                  <a:schemeClr val="tx2"/>
                </a:solidFill>
                <a:latin typeface="Montserrat" panose="00000500000000000000" pitchFamily="2" charset="0"/>
                <a:cs typeface="Arial"/>
              </a:rPr>
              <a:t>simultaneously </a:t>
            </a:r>
            <a:r>
              <a:rPr lang="en-US" sz="2800" spc="-20">
                <a:solidFill>
                  <a:schemeClr val="tx2"/>
                </a:solidFill>
                <a:latin typeface="Montserrat" panose="00000500000000000000" pitchFamily="2" charset="0"/>
                <a:cs typeface="Arial"/>
              </a:rPr>
              <a:t>search</a:t>
            </a:r>
            <a:r>
              <a:rPr lang="en-US" sz="2800" spc="-90">
                <a:solidFill>
                  <a:schemeClr val="tx2"/>
                </a:solidFill>
                <a:latin typeface="Montserrat" panose="00000500000000000000" pitchFamily="2" charset="0"/>
                <a:cs typeface="Arial"/>
              </a:rPr>
              <a:t> </a:t>
            </a:r>
            <a:r>
              <a:rPr lang="en-US" sz="2800" spc="-25">
                <a:solidFill>
                  <a:schemeClr val="tx2"/>
                </a:solidFill>
                <a:latin typeface="Montserrat" panose="00000500000000000000" pitchFamily="2" charset="0"/>
                <a:cs typeface="Arial"/>
              </a:rPr>
              <a:t>across</a:t>
            </a:r>
            <a:r>
              <a:rPr lang="en-US" sz="2800" spc="-125">
                <a:solidFill>
                  <a:schemeClr val="tx2"/>
                </a:solidFill>
                <a:latin typeface="Montserrat" panose="00000500000000000000" pitchFamily="2" charset="0"/>
                <a:cs typeface="Arial"/>
              </a:rPr>
              <a:t> </a:t>
            </a:r>
            <a:r>
              <a:rPr lang="en-US" sz="2800" spc="-10">
                <a:solidFill>
                  <a:schemeClr val="tx2"/>
                </a:solidFill>
                <a:latin typeface="Montserrat" panose="00000500000000000000" pitchFamily="2" charset="0"/>
                <a:cs typeface="Arial"/>
              </a:rPr>
              <a:t>Live</a:t>
            </a:r>
            <a:r>
              <a:rPr lang="en-US" sz="2800" spc="-60">
                <a:solidFill>
                  <a:schemeClr val="tx2"/>
                </a:solidFill>
                <a:latin typeface="Montserrat" panose="00000500000000000000" pitchFamily="2" charset="0"/>
                <a:cs typeface="Arial"/>
              </a:rPr>
              <a:t> </a:t>
            </a:r>
            <a:r>
              <a:rPr lang="en-US" sz="2800" spc="-45">
                <a:solidFill>
                  <a:schemeClr val="tx2"/>
                </a:solidFill>
                <a:latin typeface="Montserrat" panose="00000500000000000000" pitchFamily="2" charset="0"/>
                <a:cs typeface="Arial"/>
              </a:rPr>
              <a:t>TV,</a:t>
            </a:r>
            <a:r>
              <a:rPr lang="en-US" sz="2800" spc="-215">
                <a:solidFill>
                  <a:schemeClr val="tx2"/>
                </a:solidFill>
                <a:latin typeface="Montserrat" panose="00000500000000000000" pitchFamily="2" charset="0"/>
                <a:cs typeface="Arial"/>
              </a:rPr>
              <a:t> </a:t>
            </a:r>
            <a:r>
              <a:rPr lang="en-US" sz="2800" spc="-25">
                <a:solidFill>
                  <a:schemeClr val="tx2"/>
                </a:solidFill>
                <a:latin typeface="Montserrat" panose="00000500000000000000" pitchFamily="2" charset="0"/>
                <a:cs typeface="Arial"/>
              </a:rPr>
              <a:t>Recordings,</a:t>
            </a:r>
            <a:r>
              <a:rPr lang="en-US" sz="2800" spc="-135">
                <a:solidFill>
                  <a:schemeClr val="tx2"/>
                </a:solidFill>
                <a:latin typeface="Montserrat" panose="00000500000000000000" pitchFamily="2" charset="0"/>
                <a:cs typeface="Arial"/>
              </a:rPr>
              <a:t> </a:t>
            </a:r>
            <a:r>
              <a:rPr lang="en-US" sz="2800" spc="-50">
                <a:solidFill>
                  <a:schemeClr val="tx2"/>
                </a:solidFill>
                <a:latin typeface="Montserrat" panose="00000500000000000000" pitchFamily="2" charset="0"/>
                <a:cs typeface="Arial"/>
              </a:rPr>
              <a:t>&amp; </a:t>
            </a:r>
            <a:r>
              <a:rPr lang="en-US" sz="2800" spc="-30">
                <a:solidFill>
                  <a:schemeClr val="tx2"/>
                </a:solidFill>
                <a:latin typeface="Montserrat" panose="00000500000000000000" pitchFamily="2" charset="0"/>
                <a:cs typeface="Arial"/>
              </a:rPr>
              <a:t>Streaming</a:t>
            </a:r>
            <a:r>
              <a:rPr lang="en-US" sz="2800" spc="-95">
                <a:solidFill>
                  <a:schemeClr val="tx2"/>
                </a:solidFill>
                <a:latin typeface="Montserrat" panose="00000500000000000000" pitchFamily="2" charset="0"/>
                <a:cs typeface="Arial"/>
              </a:rPr>
              <a:t> </a:t>
            </a:r>
            <a:r>
              <a:rPr lang="en-US" sz="2800" spc="-10">
                <a:solidFill>
                  <a:schemeClr val="tx2"/>
                </a:solidFill>
                <a:latin typeface="Montserrat" panose="00000500000000000000" pitchFamily="2" charset="0"/>
                <a:cs typeface="Arial"/>
              </a:rPr>
              <a:t>Services</a:t>
            </a:r>
            <a:endParaRPr lang="en-US" sz="2800">
              <a:solidFill>
                <a:schemeClr val="tx2"/>
              </a:solidFill>
              <a:latin typeface="Montserrat" panose="00000500000000000000" pitchFamily="2" charset="0"/>
              <a:cs typeface="Arial"/>
            </a:endParaRPr>
          </a:p>
          <a:p>
            <a:pPr marL="241300" indent="-228600">
              <a:lnSpc>
                <a:spcPct val="150000"/>
              </a:lnSpc>
              <a:spcBef>
                <a:spcPts val="1560"/>
              </a:spcBef>
              <a:buClr>
                <a:srgbClr val="46A8B8"/>
              </a:buClr>
              <a:buChar char="•"/>
              <a:tabLst>
                <a:tab pos="241300" algn="l"/>
              </a:tabLst>
            </a:pPr>
            <a:endParaRPr lang="en-US" sz="2800">
              <a:latin typeface="Montserrat" panose="00000500000000000000" pitchFamily="2" charset="0"/>
              <a:cs typeface="Arial"/>
            </a:endParaRPr>
          </a:p>
        </p:txBody>
      </p:sp>
      <p:pic>
        <p:nvPicPr>
          <p:cNvPr id="5" name="object 27">
            <a:extLst>
              <a:ext uri="{FF2B5EF4-FFF2-40B4-BE49-F238E27FC236}">
                <a16:creationId xmlns:a16="http://schemas.microsoft.com/office/drawing/2014/main" id="{77D7717F-C621-4FC9-A741-6FCBFCACFBE8}"/>
              </a:ext>
            </a:extLst>
          </p:cNvPr>
          <p:cNvPicPr/>
          <p:nvPr/>
        </p:nvPicPr>
        <p:blipFill>
          <a:blip r:embed="rId2" cstate="print"/>
          <a:stretch>
            <a:fillRect/>
          </a:stretch>
        </p:blipFill>
        <p:spPr>
          <a:xfrm>
            <a:off x="6974189" y="1125076"/>
            <a:ext cx="1896024" cy="643800"/>
          </a:xfrm>
          <a:prstGeom prst="rect">
            <a:avLst/>
          </a:prstGeom>
        </p:spPr>
      </p:pic>
      <p:pic>
        <p:nvPicPr>
          <p:cNvPr id="6" name="object 24">
            <a:extLst>
              <a:ext uri="{FF2B5EF4-FFF2-40B4-BE49-F238E27FC236}">
                <a16:creationId xmlns:a16="http://schemas.microsoft.com/office/drawing/2014/main" id="{3296C45E-E91F-4F65-B209-389AECB4F6CC}"/>
              </a:ext>
            </a:extLst>
          </p:cNvPr>
          <p:cNvPicPr/>
          <p:nvPr/>
        </p:nvPicPr>
        <p:blipFill>
          <a:blip r:embed="rId3" cstate="print"/>
          <a:stretch>
            <a:fillRect/>
          </a:stretch>
        </p:blipFill>
        <p:spPr>
          <a:xfrm>
            <a:off x="8036122" y="2341162"/>
            <a:ext cx="1954163" cy="723651"/>
          </a:xfrm>
          <a:prstGeom prst="rect">
            <a:avLst/>
          </a:prstGeom>
        </p:spPr>
      </p:pic>
      <p:pic>
        <p:nvPicPr>
          <p:cNvPr id="7" name="object 10">
            <a:extLst>
              <a:ext uri="{FF2B5EF4-FFF2-40B4-BE49-F238E27FC236}">
                <a16:creationId xmlns:a16="http://schemas.microsoft.com/office/drawing/2014/main" id="{44A82C79-9036-4515-8613-5E6789CF0A63}"/>
              </a:ext>
            </a:extLst>
          </p:cNvPr>
          <p:cNvPicPr/>
          <p:nvPr/>
        </p:nvPicPr>
        <p:blipFill>
          <a:blip r:embed="rId4" cstate="print"/>
          <a:stretch>
            <a:fillRect/>
          </a:stretch>
        </p:blipFill>
        <p:spPr>
          <a:xfrm>
            <a:off x="6978983" y="3047164"/>
            <a:ext cx="780305" cy="1252462"/>
          </a:xfrm>
          <a:prstGeom prst="rect">
            <a:avLst/>
          </a:prstGeom>
        </p:spPr>
      </p:pic>
      <p:pic>
        <p:nvPicPr>
          <p:cNvPr id="8" name="object 22">
            <a:extLst>
              <a:ext uri="{FF2B5EF4-FFF2-40B4-BE49-F238E27FC236}">
                <a16:creationId xmlns:a16="http://schemas.microsoft.com/office/drawing/2014/main" id="{5781612A-8ABC-4680-B311-A5E2E7D8D465}"/>
              </a:ext>
            </a:extLst>
          </p:cNvPr>
          <p:cNvPicPr/>
          <p:nvPr/>
        </p:nvPicPr>
        <p:blipFill>
          <a:blip r:embed="rId5" cstate="print"/>
          <a:stretch>
            <a:fillRect/>
          </a:stretch>
        </p:blipFill>
        <p:spPr>
          <a:xfrm>
            <a:off x="7056144" y="5108637"/>
            <a:ext cx="1896024" cy="854974"/>
          </a:xfrm>
          <a:prstGeom prst="rect">
            <a:avLst/>
          </a:prstGeom>
        </p:spPr>
      </p:pic>
      <p:pic>
        <p:nvPicPr>
          <p:cNvPr id="9" name="object 26">
            <a:extLst>
              <a:ext uri="{FF2B5EF4-FFF2-40B4-BE49-F238E27FC236}">
                <a16:creationId xmlns:a16="http://schemas.microsoft.com/office/drawing/2014/main" id="{6E119E72-5267-426D-A438-469316262645}"/>
              </a:ext>
            </a:extLst>
          </p:cNvPr>
          <p:cNvPicPr/>
          <p:nvPr/>
        </p:nvPicPr>
        <p:blipFill>
          <a:blip r:embed="rId6" cstate="print"/>
          <a:stretch>
            <a:fillRect/>
          </a:stretch>
        </p:blipFill>
        <p:spPr>
          <a:xfrm>
            <a:off x="8317148" y="4287187"/>
            <a:ext cx="2261459" cy="539738"/>
          </a:xfrm>
          <a:prstGeom prst="rect">
            <a:avLst/>
          </a:prstGeom>
        </p:spPr>
      </p:pic>
      <p:grpSp>
        <p:nvGrpSpPr>
          <p:cNvPr id="10" name="object 11">
            <a:extLst>
              <a:ext uri="{FF2B5EF4-FFF2-40B4-BE49-F238E27FC236}">
                <a16:creationId xmlns:a16="http://schemas.microsoft.com/office/drawing/2014/main" id="{A6E1C1FA-53BD-4DF8-A02C-D68DB4D4A1D2}"/>
              </a:ext>
            </a:extLst>
          </p:cNvPr>
          <p:cNvGrpSpPr/>
          <p:nvPr/>
        </p:nvGrpSpPr>
        <p:grpSpPr>
          <a:xfrm>
            <a:off x="10537192" y="5108637"/>
            <a:ext cx="1314410" cy="1412504"/>
            <a:chOff x="10454413" y="4468904"/>
            <a:chExt cx="1080770" cy="1115060"/>
          </a:xfrm>
        </p:grpSpPr>
        <p:sp>
          <p:nvSpPr>
            <p:cNvPr id="11" name="object 12">
              <a:extLst>
                <a:ext uri="{FF2B5EF4-FFF2-40B4-BE49-F238E27FC236}">
                  <a16:creationId xmlns:a16="http://schemas.microsoft.com/office/drawing/2014/main" id="{3286D505-0A11-4C7B-96DF-7B76F91D209C}"/>
                </a:ext>
              </a:extLst>
            </p:cNvPr>
            <p:cNvSpPr/>
            <p:nvPr/>
          </p:nvSpPr>
          <p:spPr>
            <a:xfrm>
              <a:off x="10454413" y="4468904"/>
              <a:ext cx="1080770" cy="1115060"/>
            </a:xfrm>
            <a:custGeom>
              <a:avLst/>
              <a:gdLst/>
              <a:ahLst/>
              <a:cxnLst/>
              <a:rect l="l" t="t" r="r" b="b"/>
              <a:pathLst>
                <a:path w="1080770" h="1115060">
                  <a:moveTo>
                    <a:pt x="533968" y="1114879"/>
                  </a:moveTo>
                  <a:lnTo>
                    <a:pt x="0" y="577555"/>
                  </a:lnTo>
                  <a:lnTo>
                    <a:pt x="0" y="0"/>
                  </a:lnTo>
                  <a:lnTo>
                    <a:pt x="1080234" y="0"/>
                  </a:lnTo>
                  <a:lnTo>
                    <a:pt x="1080234" y="577555"/>
                  </a:lnTo>
                  <a:lnTo>
                    <a:pt x="533968" y="1114879"/>
                  </a:lnTo>
                  <a:close/>
                </a:path>
              </a:pathLst>
            </a:custGeom>
            <a:solidFill>
              <a:srgbClr val="C11E23"/>
            </a:solidFill>
          </p:spPr>
          <p:txBody>
            <a:bodyPr wrap="square" lIns="0" tIns="0" rIns="0" bIns="0" rtlCol="0"/>
            <a:lstStyle/>
            <a:p>
              <a:endParaRPr/>
            </a:p>
          </p:txBody>
        </p:sp>
        <p:sp>
          <p:nvSpPr>
            <p:cNvPr id="12" name="object 13">
              <a:extLst>
                <a:ext uri="{FF2B5EF4-FFF2-40B4-BE49-F238E27FC236}">
                  <a16:creationId xmlns:a16="http://schemas.microsoft.com/office/drawing/2014/main" id="{F7953D48-7501-4A51-A149-D6016559A538}"/>
                </a:ext>
              </a:extLst>
            </p:cNvPr>
            <p:cNvSpPr/>
            <p:nvPr/>
          </p:nvSpPr>
          <p:spPr>
            <a:xfrm>
              <a:off x="10475451" y="4487602"/>
              <a:ext cx="1038225" cy="1071880"/>
            </a:xfrm>
            <a:custGeom>
              <a:avLst/>
              <a:gdLst/>
              <a:ahLst/>
              <a:cxnLst/>
              <a:rect l="l" t="t" r="r" b="b"/>
              <a:pathLst>
                <a:path w="1038225" h="1071879">
                  <a:moveTo>
                    <a:pt x="513125" y="1071619"/>
                  </a:moveTo>
                  <a:lnTo>
                    <a:pt x="0" y="555108"/>
                  </a:lnTo>
                  <a:lnTo>
                    <a:pt x="0" y="0"/>
                  </a:lnTo>
                  <a:lnTo>
                    <a:pt x="1038209" y="0"/>
                  </a:lnTo>
                  <a:lnTo>
                    <a:pt x="1038209" y="555108"/>
                  </a:lnTo>
                  <a:lnTo>
                    <a:pt x="513125" y="1071619"/>
                  </a:lnTo>
                  <a:close/>
                </a:path>
              </a:pathLst>
            </a:custGeom>
            <a:solidFill>
              <a:srgbClr val="FFFFFF"/>
            </a:solidFill>
          </p:spPr>
          <p:txBody>
            <a:bodyPr wrap="square" lIns="0" tIns="0" rIns="0" bIns="0" rtlCol="0"/>
            <a:lstStyle/>
            <a:p>
              <a:endParaRPr/>
            </a:p>
          </p:txBody>
        </p:sp>
        <p:sp>
          <p:nvSpPr>
            <p:cNvPr id="13" name="object 14">
              <a:extLst>
                <a:ext uri="{FF2B5EF4-FFF2-40B4-BE49-F238E27FC236}">
                  <a16:creationId xmlns:a16="http://schemas.microsoft.com/office/drawing/2014/main" id="{46821CDE-91CA-4628-B4F3-0FF2FFA2C156}"/>
                </a:ext>
              </a:extLst>
            </p:cNvPr>
            <p:cNvSpPr/>
            <p:nvPr/>
          </p:nvSpPr>
          <p:spPr>
            <a:xfrm>
              <a:off x="10502591" y="4509712"/>
              <a:ext cx="984250" cy="1016000"/>
            </a:xfrm>
            <a:custGeom>
              <a:avLst/>
              <a:gdLst/>
              <a:ahLst/>
              <a:cxnLst/>
              <a:rect l="l" t="t" r="r" b="b"/>
              <a:pathLst>
                <a:path w="984250" h="1016000">
                  <a:moveTo>
                    <a:pt x="486274" y="1015477"/>
                  </a:moveTo>
                  <a:lnTo>
                    <a:pt x="0" y="526028"/>
                  </a:lnTo>
                  <a:lnTo>
                    <a:pt x="0" y="0"/>
                  </a:lnTo>
                  <a:lnTo>
                    <a:pt x="983883" y="0"/>
                  </a:lnTo>
                  <a:lnTo>
                    <a:pt x="983883" y="526028"/>
                  </a:lnTo>
                  <a:lnTo>
                    <a:pt x="486274" y="1015477"/>
                  </a:lnTo>
                  <a:close/>
                </a:path>
              </a:pathLst>
            </a:custGeom>
            <a:solidFill>
              <a:srgbClr val="181C40"/>
            </a:solidFill>
          </p:spPr>
          <p:txBody>
            <a:bodyPr wrap="square" lIns="0" tIns="0" rIns="0" bIns="0" rtlCol="0"/>
            <a:lstStyle/>
            <a:p>
              <a:endParaRPr/>
            </a:p>
          </p:txBody>
        </p:sp>
        <p:sp>
          <p:nvSpPr>
            <p:cNvPr id="14" name="object 15">
              <a:extLst>
                <a:ext uri="{FF2B5EF4-FFF2-40B4-BE49-F238E27FC236}">
                  <a16:creationId xmlns:a16="http://schemas.microsoft.com/office/drawing/2014/main" id="{25D50A9D-023D-4298-82AB-FA7853CDE8F5}"/>
                </a:ext>
              </a:extLst>
            </p:cNvPr>
            <p:cNvSpPr/>
            <p:nvPr/>
          </p:nvSpPr>
          <p:spPr>
            <a:xfrm>
              <a:off x="10813070" y="5318558"/>
              <a:ext cx="353060" cy="175895"/>
            </a:xfrm>
            <a:custGeom>
              <a:avLst/>
              <a:gdLst/>
              <a:ahLst/>
              <a:cxnLst/>
              <a:rect l="l" t="t" r="r" b="b"/>
              <a:pathLst>
                <a:path w="353059" h="175895">
                  <a:moveTo>
                    <a:pt x="174498" y="175676"/>
                  </a:moveTo>
                  <a:lnTo>
                    <a:pt x="0" y="0"/>
                  </a:lnTo>
                  <a:lnTo>
                    <a:pt x="353033" y="0"/>
                  </a:lnTo>
                  <a:lnTo>
                    <a:pt x="174498" y="175676"/>
                  </a:lnTo>
                  <a:close/>
                </a:path>
              </a:pathLst>
            </a:custGeom>
            <a:solidFill>
              <a:srgbClr val="FFFFFF"/>
            </a:solidFill>
          </p:spPr>
          <p:txBody>
            <a:bodyPr wrap="square" lIns="0" tIns="0" rIns="0" bIns="0" rtlCol="0"/>
            <a:lstStyle/>
            <a:p>
              <a:endParaRPr/>
            </a:p>
          </p:txBody>
        </p:sp>
        <p:sp>
          <p:nvSpPr>
            <p:cNvPr id="15" name="object 16">
              <a:extLst>
                <a:ext uri="{FF2B5EF4-FFF2-40B4-BE49-F238E27FC236}">
                  <a16:creationId xmlns:a16="http://schemas.microsoft.com/office/drawing/2014/main" id="{F86720BE-DA47-4E6A-AF67-DD6BB8EB7441}"/>
                </a:ext>
              </a:extLst>
            </p:cNvPr>
            <p:cNvSpPr/>
            <p:nvPr/>
          </p:nvSpPr>
          <p:spPr>
            <a:xfrm>
              <a:off x="10847174" y="5331103"/>
              <a:ext cx="287020" cy="142875"/>
            </a:xfrm>
            <a:custGeom>
              <a:avLst/>
              <a:gdLst/>
              <a:ahLst/>
              <a:cxnLst/>
              <a:rect l="l" t="t" r="r" b="b"/>
              <a:pathLst>
                <a:path w="287020" h="142875">
                  <a:moveTo>
                    <a:pt x="141741" y="142704"/>
                  </a:moveTo>
                  <a:lnTo>
                    <a:pt x="0" y="0"/>
                  </a:lnTo>
                  <a:lnTo>
                    <a:pt x="286844" y="0"/>
                  </a:lnTo>
                  <a:lnTo>
                    <a:pt x="141741" y="142704"/>
                  </a:lnTo>
                  <a:close/>
                </a:path>
              </a:pathLst>
            </a:custGeom>
            <a:solidFill>
              <a:srgbClr val="C11E23"/>
            </a:solidFill>
          </p:spPr>
          <p:txBody>
            <a:bodyPr wrap="square" lIns="0" tIns="0" rIns="0" bIns="0" rtlCol="0"/>
            <a:lstStyle/>
            <a:p>
              <a:endParaRPr/>
            </a:p>
          </p:txBody>
        </p:sp>
        <p:sp>
          <p:nvSpPr>
            <p:cNvPr id="18" name="object 17">
              <a:extLst>
                <a:ext uri="{FF2B5EF4-FFF2-40B4-BE49-F238E27FC236}">
                  <a16:creationId xmlns:a16="http://schemas.microsoft.com/office/drawing/2014/main" id="{99B936E0-1F54-45E3-B84B-F4D0996673B1}"/>
                </a:ext>
              </a:extLst>
            </p:cNvPr>
            <p:cNvSpPr/>
            <p:nvPr/>
          </p:nvSpPr>
          <p:spPr>
            <a:xfrm>
              <a:off x="10543997" y="4550333"/>
              <a:ext cx="907415" cy="268605"/>
            </a:xfrm>
            <a:custGeom>
              <a:avLst/>
              <a:gdLst/>
              <a:ahLst/>
              <a:cxnLst/>
              <a:rect l="l" t="t" r="r" b="b"/>
              <a:pathLst>
                <a:path w="907415" h="268604">
                  <a:moveTo>
                    <a:pt x="339242" y="0"/>
                  </a:moveTo>
                  <a:lnTo>
                    <a:pt x="226225" y="0"/>
                  </a:lnTo>
                  <a:lnTo>
                    <a:pt x="169697" y="107861"/>
                  </a:lnTo>
                  <a:lnTo>
                    <a:pt x="113449" y="0"/>
                  </a:lnTo>
                  <a:lnTo>
                    <a:pt x="190" y="0"/>
                  </a:lnTo>
                  <a:lnTo>
                    <a:pt x="0" y="268109"/>
                  </a:lnTo>
                  <a:lnTo>
                    <a:pt x="113157" y="268109"/>
                  </a:lnTo>
                  <a:lnTo>
                    <a:pt x="113398" y="124675"/>
                  </a:lnTo>
                  <a:lnTo>
                    <a:pt x="169545" y="232244"/>
                  </a:lnTo>
                  <a:lnTo>
                    <a:pt x="226225" y="124675"/>
                  </a:lnTo>
                  <a:lnTo>
                    <a:pt x="225844" y="268109"/>
                  </a:lnTo>
                  <a:lnTo>
                    <a:pt x="339191" y="268109"/>
                  </a:lnTo>
                  <a:lnTo>
                    <a:pt x="339242" y="0"/>
                  </a:lnTo>
                  <a:close/>
                </a:path>
                <a:path w="907415" h="268604">
                  <a:moveTo>
                    <a:pt x="605243" y="210934"/>
                  </a:moveTo>
                  <a:lnTo>
                    <a:pt x="474789" y="210934"/>
                  </a:lnTo>
                  <a:lnTo>
                    <a:pt x="474789" y="38"/>
                  </a:lnTo>
                  <a:lnTo>
                    <a:pt x="361035" y="38"/>
                  </a:lnTo>
                  <a:lnTo>
                    <a:pt x="361035" y="210934"/>
                  </a:lnTo>
                  <a:lnTo>
                    <a:pt x="361327" y="210934"/>
                  </a:lnTo>
                  <a:lnTo>
                    <a:pt x="361327" y="268109"/>
                  </a:lnTo>
                  <a:lnTo>
                    <a:pt x="605243" y="268109"/>
                  </a:lnTo>
                  <a:lnTo>
                    <a:pt x="605243" y="210934"/>
                  </a:lnTo>
                  <a:close/>
                </a:path>
                <a:path w="907415" h="268604">
                  <a:moveTo>
                    <a:pt x="907364" y="197358"/>
                  </a:moveTo>
                  <a:lnTo>
                    <a:pt x="896556" y="148602"/>
                  </a:lnTo>
                  <a:lnTo>
                    <a:pt x="852754" y="126606"/>
                  </a:lnTo>
                  <a:lnTo>
                    <a:pt x="876554" y="122643"/>
                  </a:lnTo>
                  <a:lnTo>
                    <a:pt x="893546" y="110782"/>
                  </a:lnTo>
                  <a:lnTo>
                    <a:pt x="894867" y="108191"/>
                  </a:lnTo>
                  <a:lnTo>
                    <a:pt x="903732" y="90995"/>
                  </a:lnTo>
                  <a:lnTo>
                    <a:pt x="907135" y="63296"/>
                  </a:lnTo>
                  <a:lnTo>
                    <a:pt x="907161" y="57683"/>
                  </a:lnTo>
                  <a:lnTo>
                    <a:pt x="907173" y="55562"/>
                  </a:lnTo>
                  <a:lnTo>
                    <a:pt x="881265" y="10566"/>
                  </a:lnTo>
                  <a:lnTo>
                    <a:pt x="833259" y="50"/>
                  </a:lnTo>
                  <a:lnTo>
                    <a:pt x="794105" y="50"/>
                  </a:lnTo>
                  <a:lnTo>
                    <a:pt x="794105" y="82905"/>
                  </a:lnTo>
                  <a:lnTo>
                    <a:pt x="793864" y="84023"/>
                  </a:lnTo>
                  <a:lnTo>
                    <a:pt x="793864" y="177939"/>
                  </a:lnTo>
                  <a:lnTo>
                    <a:pt x="791616" y="192278"/>
                  </a:lnTo>
                  <a:lnTo>
                    <a:pt x="784707" y="202526"/>
                  </a:lnTo>
                  <a:lnTo>
                    <a:pt x="773150" y="208673"/>
                  </a:lnTo>
                  <a:lnTo>
                    <a:pt x="756932" y="210718"/>
                  </a:lnTo>
                  <a:lnTo>
                    <a:pt x="740702" y="210718"/>
                  </a:lnTo>
                  <a:lnTo>
                    <a:pt x="740600" y="145199"/>
                  </a:lnTo>
                  <a:lnTo>
                    <a:pt x="756932" y="145199"/>
                  </a:lnTo>
                  <a:lnTo>
                    <a:pt x="792568" y="166738"/>
                  </a:lnTo>
                  <a:lnTo>
                    <a:pt x="793864" y="177939"/>
                  </a:lnTo>
                  <a:lnTo>
                    <a:pt x="793864" y="84023"/>
                  </a:lnTo>
                  <a:lnTo>
                    <a:pt x="791718" y="93954"/>
                  </a:lnTo>
                  <a:lnTo>
                    <a:pt x="784720" y="101866"/>
                  </a:lnTo>
                  <a:lnTo>
                    <a:pt x="773137" y="106603"/>
                  </a:lnTo>
                  <a:lnTo>
                    <a:pt x="756932" y="108191"/>
                  </a:lnTo>
                  <a:lnTo>
                    <a:pt x="740600" y="108191"/>
                  </a:lnTo>
                  <a:lnTo>
                    <a:pt x="740791" y="57683"/>
                  </a:lnTo>
                  <a:lnTo>
                    <a:pt x="757123" y="57683"/>
                  </a:lnTo>
                  <a:lnTo>
                    <a:pt x="793153" y="75793"/>
                  </a:lnTo>
                  <a:lnTo>
                    <a:pt x="794105" y="82905"/>
                  </a:lnTo>
                  <a:lnTo>
                    <a:pt x="794105" y="50"/>
                  </a:lnTo>
                  <a:lnTo>
                    <a:pt x="627583" y="50"/>
                  </a:lnTo>
                  <a:lnTo>
                    <a:pt x="627341" y="268160"/>
                  </a:lnTo>
                  <a:lnTo>
                    <a:pt x="833018" y="268160"/>
                  </a:lnTo>
                  <a:lnTo>
                    <a:pt x="865466" y="263728"/>
                  </a:lnTo>
                  <a:lnTo>
                    <a:pt x="888669" y="250456"/>
                  </a:lnTo>
                  <a:lnTo>
                    <a:pt x="902639" y="228333"/>
                  </a:lnTo>
                  <a:lnTo>
                    <a:pt x="905332" y="210718"/>
                  </a:lnTo>
                  <a:lnTo>
                    <a:pt x="907364" y="197358"/>
                  </a:lnTo>
                  <a:close/>
                </a:path>
              </a:pathLst>
            </a:custGeom>
            <a:solidFill>
              <a:srgbClr val="FFFFFF"/>
            </a:solidFill>
          </p:spPr>
          <p:txBody>
            <a:bodyPr wrap="square" lIns="0" tIns="0" rIns="0" bIns="0" rtlCol="0"/>
            <a:lstStyle/>
            <a:p>
              <a:endParaRPr/>
            </a:p>
          </p:txBody>
        </p:sp>
        <p:pic>
          <p:nvPicPr>
            <p:cNvPr id="19" name="object 18">
              <a:extLst>
                <a:ext uri="{FF2B5EF4-FFF2-40B4-BE49-F238E27FC236}">
                  <a16:creationId xmlns:a16="http://schemas.microsoft.com/office/drawing/2014/main" id="{F3BB16D5-72FA-44EB-B8B0-9D3754DC3A4E}"/>
                </a:ext>
              </a:extLst>
            </p:cNvPr>
            <p:cNvPicPr/>
            <p:nvPr/>
          </p:nvPicPr>
          <p:blipFill>
            <a:blip r:embed="rId7" cstate="print"/>
            <a:stretch>
              <a:fillRect/>
            </a:stretch>
          </p:blipFill>
          <p:spPr>
            <a:xfrm>
              <a:off x="10542275" y="4843763"/>
              <a:ext cx="110281" cy="76088"/>
            </a:xfrm>
            <a:prstGeom prst="rect">
              <a:avLst/>
            </a:prstGeom>
          </p:spPr>
        </p:pic>
        <p:sp>
          <p:nvSpPr>
            <p:cNvPr id="20" name="object 19">
              <a:extLst>
                <a:ext uri="{FF2B5EF4-FFF2-40B4-BE49-F238E27FC236}">
                  <a16:creationId xmlns:a16="http://schemas.microsoft.com/office/drawing/2014/main" id="{8F3CF322-79D0-437A-AC3B-C799CC7DAE42}"/>
                </a:ext>
              </a:extLst>
            </p:cNvPr>
            <p:cNvSpPr/>
            <p:nvPr/>
          </p:nvSpPr>
          <p:spPr>
            <a:xfrm>
              <a:off x="10675074" y="4842560"/>
              <a:ext cx="782955" cy="457834"/>
            </a:xfrm>
            <a:custGeom>
              <a:avLst/>
              <a:gdLst/>
              <a:ahLst/>
              <a:cxnLst/>
              <a:rect l="l" t="t" r="r" b="b"/>
              <a:pathLst>
                <a:path w="782954" h="457835">
                  <a:moveTo>
                    <a:pt x="97028" y="635"/>
                  </a:moveTo>
                  <a:lnTo>
                    <a:pt x="0" y="635"/>
                  </a:lnTo>
                  <a:lnTo>
                    <a:pt x="0" y="18427"/>
                  </a:lnTo>
                  <a:lnTo>
                    <a:pt x="0" y="29857"/>
                  </a:lnTo>
                  <a:lnTo>
                    <a:pt x="0" y="46380"/>
                  </a:lnTo>
                  <a:lnTo>
                    <a:pt x="0" y="59080"/>
                  </a:lnTo>
                  <a:lnTo>
                    <a:pt x="0" y="76860"/>
                  </a:lnTo>
                  <a:lnTo>
                    <a:pt x="97028" y="76860"/>
                  </a:lnTo>
                  <a:lnTo>
                    <a:pt x="97028" y="59080"/>
                  </a:lnTo>
                  <a:lnTo>
                    <a:pt x="38811" y="59080"/>
                  </a:lnTo>
                  <a:lnTo>
                    <a:pt x="38811" y="46380"/>
                  </a:lnTo>
                  <a:lnTo>
                    <a:pt x="85890" y="46380"/>
                  </a:lnTo>
                  <a:lnTo>
                    <a:pt x="85890" y="29857"/>
                  </a:lnTo>
                  <a:lnTo>
                    <a:pt x="38811" y="29857"/>
                  </a:lnTo>
                  <a:lnTo>
                    <a:pt x="38811" y="18427"/>
                  </a:lnTo>
                  <a:lnTo>
                    <a:pt x="97028" y="18427"/>
                  </a:lnTo>
                  <a:lnTo>
                    <a:pt x="97028" y="635"/>
                  </a:lnTo>
                  <a:close/>
                </a:path>
                <a:path w="782954" h="457835">
                  <a:moveTo>
                    <a:pt x="204089" y="1638"/>
                  </a:moveTo>
                  <a:lnTo>
                    <a:pt x="113068" y="1638"/>
                  </a:lnTo>
                  <a:lnTo>
                    <a:pt x="113068" y="19431"/>
                  </a:lnTo>
                  <a:lnTo>
                    <a:pt x="139827" y="19431"/>
                  </a:lnTo>
                  <a:lnTo>
                    <a:pt x="139827" y="77863"/>
                  </a:lnTo>
                  <a:lnTo>
                    <a:pt x="177292" y="77863"/>
                  </a:lnTo>
                  <a:lnTo>
                    <a:pt x="177292" y="19431"/>
                  </a:lnTo>
                  <a:lnTo>
                    <a:pt x="204089" y="19431"/>
                  </a:lnTo>
                  <a:lnTo>
                    <a:pt x="204089" y="1638"/>
                  </a:lnTo>
                  <a:close/>
                </a:path>
                <a:path w="782954" h="457835">
                  <a:moveTo>
                    <a:pt x="389305" y="1155"/>
                  </a:moveTo>
                  <a:lnTo>
                    <a:pt x="358990" y="1155"/>
                  </a:lnTo>
                  <a:lnTo>
                    <a:pt x="340931" y="45046"/>
                  </a:lnTo>
                  <a:lnTo>
                    <a:pt x="321767" y="1155"/>
                  </a:lnTo>
                  <a:lnTo>
                    <a:pt x="290690" y="1155"/>
                  </a:lnTo>
                  <a:lnTo>
                    <a:pt x="273075" y="44945"/>
                  </a:lnTo>
                  <a:lnTo>
                    <a:pt x="255054" y="1155"/>
                  </a:lnTo>
                  <a:lnTo>
                    <a:pt x="217779" y="1155"/>
                  </a:lnTo>
                  <a:lnTo>
                    <a:pt x="252082" y="77254"/>
                  </a:lnTo>
                  <a:lnTo>
                    <a:pt x="286753" y="77254"/>
                  </a:lnTo>
                  <a:lnTo>
                    <a:pt x="303758" y="35293"/>
                  </a:lnTo>
                  <a:lnTo>
                    <a:pt x="321818" y="77254"/>
                  </a:lnTo>
                  <a:lnTo>
                    <a:pt x="355104" y="77254"/>
                  </a:lnTo>
                  <a:lnTo>
                    <a:pt x="389305" y="1155"/>
                  </a:lnTo>
                  <a:close/>
                </a:path>
                <a:path w="782954" h="457835">
                  <a:moveTo>
                    <a:pt x="515772" y="38506"/>
                  </a:moveTo>
                  <a:lnTo>
                    <a:pt x="514718" y="30187"/>
                  </a:lnTo>
                  <a:lnTo>
                    <a:pt x="511530" y="22758"/>
                  </a:lnTo>
                  <a:lnTo>
                    <a:pt x="507123" y="17310"/>
                  </a:lnTo>
                  <a:lnTo>
                    <a:pt x="506234" y="16205"/>
                  </a:lnTo>
                  <a:lnTo>
                    <a:pt x="498817" y="10528"/>
                  </a:lnTo>
                  <a:lnTo>
                    <a:pt x="489699" y="5930"/>
                  </a:lnTo>
                  <a:lnTo>
                    <a:pt x="479348" y="2641"/>
                  </a:lnTo>
                  <a:lnTo>
                    <a:pt x="473176" y="1587"/>
                  </a:lnTo>
                  <a:lnTo>
                    <a:pt x="473176" y="37109"/>
                  </a:lnTo>
                  <a:lnTo>
                    <a:pt x="473176" y="46291"/>
                  </a:lnTo>
                  <a:lnTo>
                    <a:pt x="471678" y="52590"/>
                  </a:lnTo>
                  <a:lnTo>
                    <a:pt x="468871" y="55867"/>
                  </a:lnTo>
                  <a:lnTo>
                    <a:pt x="465823" y="59461"/>
                  </a:lnTo>
                  <a:lnTo>
                    <a:pt x="461022" y="61188"/>
                  </a:lnTo>
                  <a:lnTo>
                    <a:pt x="454342" y="61188"/>
                  </a:lnTo>
                  <a:lnTo>
                    <a:pt x="446151" y="59867"/>
                  </a:lnTo>
                  <a:lnTo>
                    <a:pt x="440321" y="55867"/>
                  </a:lnTo>
                  <a:lnTo>
                    <a:pt x="436816" y="49225"/>
                  </a:lnTo>
                  <a:lnTo>
                    <a:pt x="435660" y="39954"/>
                  </a:lnTo>
                  <a:lnTo>
                    <a:pt x="436867" y="30048"/>
                  </a:lnTo>
                  <a:lnTo>
                    <a:pt x="440524" y="22974"/>
                  </a:lnTo>
                  <a:lnTo>
                    <a:pt x="446595" y="18719"/>
                  </a:lnTo>
                  <a:lnTo>
                    <a:pt x="455104" y="17310"/>
                  </a:lnTo>
                  <a:lnTo>
                    <a:pt x="463003" y="18554"/>
                  </a:lnTo>
                  <a:lnTo>
                    <a:pt x="468642" y="22275"/>
                  </a:lnTo>
                  <a:lnTo>
                    <a:pt x="472033" y="28460"/>
                  </a:lnTo>
                  <a:lnTo>
                    <a:pt x="473176" y="37109"/>
                  </a:lnTo>
                  <a:lnTo>
                    <a:pt x="473176" y="1587"/>
                  </a:lnTo>
                  <a:lnTo>
                    <a:pt x="467766" y="660"/>
                  </a:lnTo>
                  <a:lnTo>
                    <a:pt x="454914" y="0"/>
                  </a:lnTo>
                  <a:lnTo>
                    <a:pt x="441159" y="711"/>
                  </a:lnTo>
                  <a:lnTo>
                    <a:pt x="402247" y="17081"/>
                  </a:lnTo>
                  <a:lnTo>
                    <a:pt x="393090" y="39954"/>
                  </a:lnTo>
                  <a:lnTo>
                    <a:pt x="394081" y="47802"/>
                  </a:lnTo>
                  <a:lnTo>
                    <a:pt x="429818" y="75831"/>
                  </a:lnTo>
                  <a:lnTo>
                    <a:pt x="454533" y="78498"/>
                  </a:lnTo>
                  <a:lnTo>
                    <a:pt x="467423" y="77812"/>
                  </a:lnTo>
                  <a:lnTo>
                    <a:pt x="506145" y="61633"/>
                  </a:lnTo>
                  <a:lnTo>
                    <a:pt x="514705" y="47117"/>
                  </a:lnTo>
                  <a:lnTo>
                    <a:pt x="515772" y="38506"/>
                  </a:lnTo>
                  <a:close/>
                </a:path>
                <a:path w="782954" h="457835">
                  <a:moveTo>
                    <a:pt x="581012" y="386880"/>
                  </a:moveTo>
                  <a:lnTo>
                    <a:pt x="576834" y="133578"/>
                  </a:lnTo>
                  <a:lnTo>
                    <a:pt x="349161" y="100698"/>
                  </a:lnTo>
                  <a:lnTo>
                    <a:pt x="288353" y="100660"/>
                  </a:lnTo>
                  <a:lnTo>
                    <a:pt x="288353" y="108585"/>
                  </a:lnTo>
                  <a:lnTo>
                    <a:pt x="74028" y="140258"/>
                  </a:lnTo>
                  <a:lnTo>
                    <a:pt x="92329" y="414616"/>
                  </a:lnTo>
                  <a:lnTo>
                    <a:pt x="109334" y="435432"/>
                  </a:lnTo>
                  <a:lnTo>
                    <a:pt x="121386" y="446049"/>
                  </a:lnTo>
                  <a:lnTo>
                    <a:pt x="152374" y="457441"/>
                  </a:lnTo>
                  <a:lnTo>
                    <a:pt x="510070" y="457060"/>
                  </a:lnTo>
                  <a:lnTo>
                    <a:pt x="581012" y="386880"/>
                  </a:lnTo>
                  <a:close/>
                </a:path>
                <a:path w="782954" h="457835">
                  <a:moveTo>
                    <a:pt x="647331" y="77292"/>
                  </a:moveTo>
                  <a:lnTo>
                    <a:pt x="626859" y="48221"/>
                  </a:lnTo>
                  <a:lnTo>
                    <a:pt x="623951" y="44081"/>
                  </a:lnTo>
                  <a:lnTo>
                    <a:pt x="633171" y="41579"/>
                  </a:lnTo>
                  <a:lnTo>
                    <a:pt x="639318" y="38608"/>
                  </a:lnTo>
                  <a:lnTo>
                    <a:pt x="642289" y="35242"/>
                  </a:lnTo>
                  <a:lnTo>
                    <a:pt x="645325" y="31927"/>
                  </a:lnTo>
                  <a:lnTo>
                    <a:pt x="646861" y="27940"/>
                  </a:lnTo>
                  <a:lnTo>
                    <a:pt x="646861" y="17360"/>
                  </a:lnTo>
                  <a:lnTo>
                    <a:pt x="646861" y="16878"/>
                  </a:lnTo>
                  <a:lnTo>
                    <a:pt x="610387" y="1600"/>
                  </a:lnTo>
                  <a:lnTo>
                    <a:pt x="605497" y="1422"/>
                  </a:lnTo>
                  <a:lnTo>
                    <a:pt x="605497" y="19812"/>
                  </a:lnTo>
                  <a:lnTo>
                    <a:pt x="605497" y="24663"/>
                  </a:lnTo>
                  <a:lnTo>
                    <a:pt x="601040" y="30048"/>
                  </a:lnTo>
                  <a:lnTo>
                    <a:pt x="597954" y="31292"/>
                  </a:lnTo>
                  <a:lnTo>
                    <a:pt x="593966" y="31927"/>
                  </a:lnTo>
                  <a:lnTo>
                    <a:pt x="572071" y="31927"/>
                  </a:lnTo>
                  <a:lnTo>
                    <a:pt x="572071" y="17360"/>
                  </a:lnTo>
                  <a:lnTo>
                    <a:pt x="600456" y="17360"/>
                  </a:lnTo>
                  <a:lnTo>
                    <a:pt x="605497" y="19812"/>
                  </a:lnTo>
                  <a:lnTo>
                    <a:pt x="605497" y="1422"/>
                  </a:lnTo>
                  <a:lnTo>
                    <a:pt x="599833" y="1206"/>
                  </a:lnTo>
                  <a:lnTo>
                    <a:pt x="532536" y="1206"/>
                  </a:lnTo>
                  <a:lnTo>
                    <a:pt x="532536" y="77292"/>
                  </a:lnTo>
                  <a:lnTo>
                    <a:pt x="572071" y="77292"/>
                  </a:lnTo>
                  <a:lnTo>
                    <a:pt x="572071" y="48221"/>
                  </a:lnTo>
                  <a:lnTo>
                    <a:pt x="584606" y="48221"/>
                  </a:lnTo>
                  <a:lnTo>
                    <a:pt x="603440" y="77292"/>
                  </a:lnTo>
                  <a:lnTo>
                    <a:pt x="647331" y="77292"/>
                  </a:lnTo>
                  <a:close/>
                </a:path>
                <a:path w="782954" h="457835">
                  <a:moveTo>
                    <a:pt x="782358" y="77292"/>
                  </a:moveTo>
                  <a:lnTo>
                    <a:pt x="741908" y="29032"/>
                  </a:lnTo>
                  <a:lnTo>
                    <a:pt x="774522" y="1206"/>
                  </a:lnTo>
                  <a:lnTo>
                    <a:pt x="738936" y="1206"/>
                  </a:lnTo>
                  <a:lnTo>
                    <a:pt x="703389" y="32639"/>
                  </a:lnTo>
                  <a:lnTo>
                    <a:pt x="703389" y="1206"/>
                  </a:lnTo>
                  <a:lnTo>
                    <a:pt x="666026" y="1206"/>
                  </a:lnTo>
                  <a:lnTo>
                    <a:pt x="666026" y="77292"/>
                  </a:lnTo>
                  <a:lnTo>
                    <a:pt x="703389" y="77292"/>
                  </a:lnTo>
                  <a:lnTo>
                    <a:pt x="703389" y="59753"/>
                  </a:lnTo>
                  <a:lnTo>
                    <a:pt x="716749" y="48552"/>
                  </a:lnTo>
                  <a:lnTo>
                    <a:pt x="739025" y="77292"/>
                  </a:lnTo>
                  <a:lnTo>
                    <a:pt x="782358" y="77292"/>
                  </a:lnTo>
                  <a:close/>
                </a:path>
              </a:pathLst>
            </a:custGeom>
            <a:solidFill>
              <a:srgbClr val="FFFFFF"/>
            </a:solidFill>
          </p:spPr>
          <p:txBody>
            <a:bodyPr wrap="square" lIns="0" tIns="0" rIns="0" bIns="0" rtlCol="0"/>
            <a:lstStyle/>
            <a:p>
              <a:endParaRPr/>
            </a:p>
          </p:txBody>
        </p:sp>
        <p:sp>
          <p:nvSpPr>
            <p:cNvPr id="21" name="object 20">
              <a:extLst>
                <a:ext uri="{FF2B5EF4-FFF2-40B4-BE49-F238E27FC236}">
                  <a16:creationId xmlns:a16="http://schemas.microsoft.com/office/drawing/2014/main" id="{E25A56F2-EB1F-4F79-BF56-B89F772792DC}"/>
                </a:ext>
              </a:extLst>
            </p:cNvPr>
            <p:cNvSpPr/>
            <p:nvPr/>
          </p:nvSpPr>
          <p:spPr>
            <a:xfrm>
              <a:off x="11023134" y="4943255"/>
              <a:ext cx="463550" cy="357505"/>
            </a:xfrm>
            <a:custGeom>
              <a:avLst/>
              <a:gdLst/>
              <a:ahLst/>
              <a:cxnLst/>
              <a:rect l="l" t="t" r="r" b="b"/>
              <a:pathLst>
                <a:path w="463550" h="357504">
                  <a:moveTo>
                    <a:pt x="193376" y="357320"/>
                  </a:moveTo>
                  <a:lnTo>
                    <a:pt x="96785" y="356744"/>
                  </a:lnTo>
                  <a:lnTo>
                    <a:pt x="96494" y="331844"/>
                  </a:lnTo>
                  <a:lnTo>
                    <a:pt x="157832" y="331796"/>
                  </a:lnTo>
                  <a:lnTo>
                    <a:pt x="169498" y="326394"/>
                  </a:lnTo>
                  <a:lnTo>
                    <a:pt x="180330" y="314782"/>
                  </a:lnTo>
                  <a:lnTo>
                    <a:pt x="189099" y="300395"/>
                  </a:lnTo>
                  <a:lnTo>
                    <a:pt x="194577" y="286665"/>
                  </a:lnTo>
                  <a:lnTo>
                    <a:pt x="194135" y="282291"/>
                  </a:lnTo>
                  <a:lnTo>
                    <a:pt x="190824" y="277778"/>
                  </a:lnTo>
                  <a:lnTo>
                    <a:pt x="185883" y="272409"/>
                  </a:lnTo>
                  <a:lnTo>
                    <a:pt x="180551" y="265468"/>
                  </a:lnTo>
                  <a:lnTo>
                    <a:pt x="177361" y="258858"/>
                  </a:lnTo>
                  <a:lnTo>
                    <a:pt x="174553" y="251419"/>
                  </a:lnTo>
                  <a:lnTo>
                    <a:pt x="171034" y="244756"/>
                  </a:lnTo>
                  <a:lnTo>
                    <a:pt x="165710" y="240472"/>
                  </a:lnTo>
                  <a:lnTo>
                    <a:pt x="158298" y="237436"/>
                  </a:lnTo>
                  <a:lnTo>
                    <a:pt x="153071" y="234572"/>
                  </a:lnTo>
                  <a:lnTo>
                    <a:pt x="147547" y="230211"/>
                  </a:lnTo>
                  <a:lnTo>
                    <a:pt x="139245" y="222688"/>
                  </a:lnTo>
                  <a:lnTo>
                    <a:pt x="139245" y="207116"/>
                  </a:lnTo>
                  <a:lnTo>
                    <a:pt x="132808" y="199953"/>
                  </a:lnTo>
                  <a:lnTo>
                    <a:pt x="126372" y="198801"/>
                  </a:lnTo>
                  <a:lnTo>
                    <a:pt x="126372" y="191973"/>
                  </a:lnTo>
                  <a:lnTo>
                    <a:pt x="120703" y="184045"/>
                  </a:lnTo>
                  <a:lnTo>
                    <a:pt x="114219" y="182891"/>
                  </a:lnTo>
                  <a:lnTo>
                    <a:pt x="114219" y="175679"/>
                  </a:lnTo>
                  <a:lnTo>
                    <a:pt x="108936" y="168135"/>
                  </a:lnTo>
                  <a:lnTo>
                    <a:pt x="99809" y="166980"/>
                  </a:lnTo>
                  <a:lnTo>
                    <a:pt x="0" y="0"/>
                  </a:lnTo>
                  <a:lnTo>
                    <a:pt x="463507" y="0"/>
                  </a:lnTo>
                  <a:lnTo>
                    <a:pt x="463123" y="91998"/>
                  </a:lnTo>
                  <a:lnTo>
                    <a:pt x="193376" y="357320"/>
                  </a:lnTo>
                  <a:close/>
                </a:path>
              </a:pathLst>
            </a:custGeom>
            <a:solidFill>
              <a:srgbClr val="C21E23"/>
            </a:solidFill>
          </p:spPr>
          <p:txBody>
            <a:bodyPr wrap="square" lIns="0" tIns="0" rIns="0" bIns="0" rtlCol="0"/>
            <a:lstStyle/>
            <a:p>
              <a:endParaRPr/>
            </a:p>
          </p:txBody>
        </p:sp>
        <p:sp>
          <p:nvSpPr>
            <p:cNvPr id="22" name="object 21">
              <a:extLst>
                <a:ext uri="{FF2B5EF4-FFF2-40B4-BE49-F238E27FC236}">
                  <a16:creationId xmlns:a16="http://schemas.microsoft.com/office/drawing/2014/main" id="{5AAAE01F-06DB-4084-A0EA-79617AB150B8}"/>
                </a:ext>
              </a:extLst>
            </p:cNvPr>
            <p:cNvSpPr/>
            <p:nvPr/>
          </p:nvSpPr>
          <p:spPr>
            <a:xfrm>
              <a:off x="10725531" y="4942738"/>
              <a:ext cx="612775" cy="396875"/>
            </a:xfrm>
            <a:custGeom>
              <a:avLst/>
              <a:gdLst/>
              <a:ahLst/>
              <a:cxnLst/>
              <a:rect l="l" t="t" r="r" b="b"/>
              <a:pathLst>
                <a:path w="612775" h="396875">
                  <a:moveTo>
                    <a:pt x="362585" y="161925"/>
                  </a:moveTo>
                  <a:lnTo>
                    <a:pt x="237896" y="0"/>
                  </a:lnTo>
                  <a:lnTo>
                    <a:pt x="1765" y="0"/>
                  </a:lnTo>
                  <a:lnTo>
                    <a:pt x="0" y="298869"/>
                  </a:lnTo>
                  <a:lnTo>
                    <a:pt x="49517" y="357124"/>
                  </a:lnTo>
                  <a:lnTo>
                    <a:pt x="102539" y="357124"/>
                  </a:lnTo>
                  <a:lnTo>
                    <a:pt x="86931" y="331063"/>
                  </a:lnTo>
                  <a:lnTo>
                    <a:pt x="57010" y="331114"/>
                  </a:lnTo>
                  <a:lnTo>
                    <a:pt x="61417" y="281571"/>
                  </a:lnTo>
                  <a:lnTo>
                    <a:pt x="73406" y="244436"/>
                  </a:lnTo>
                  <a:lnTo>
                    <a:pt x="91020" y="219722"/>
                  </a:lnTo>
                  <a:lnTo>
                    <a:pt x="112293" y="207492"/>
                  </a:lnTo>
                  <a:lnTo>
                    <a:pt x="114325" y="203771"/>
                  </a:lnTo>
                  <a:lnTo>
                    <a:pt x="114325" y="195846"/>
                  </a:lnTo>
                  <a:lnTo>
                    <a:pt x="112534" y="186918"/>
                  </a:lnTo>
                  <a:lnTo>
                    <a:pt x="109220" y="180200"/>
                  </a:lnTo>
                  <a:lnTo>
                    <a:pt x="91782" y="179857"/>
                  </a:lnTo>
                  <a:lnTo>
                    <a:pt x="90678" y="174955"/>
                  </a:lnTo>
                  <a:lnTo>
                    <a:pt x="104698" y="144576"/>
                  </a:lnTo>
                  <a:lnTo>
                    <a:pt x="102730" y="136220"/>
                  </a:lnTo>
                  <a:lnTo>
                    <a:pt x="50863" y="136258"/>
                  </a:lnTo>
                  <a:lnTo>
                    <a:pt x="93649" y="106311"/>
                  </a:lnTo>
                  <a:lnTo>
                    <a:pt x="108305" y="60299"/>
                  </a:lnTo>
                  <a:lnTo>
                    <a:pt x="142062" y="38354"/>
                  </a:lnTo>
                  <a:lnTo>
                    <a:pt x="184543" y="37299"/>
                  </a:lnTo>
                  <a:lnTo>
                    <a:pt x="225412" y="53924"/>
                  </a:lnTo>
                  <a:lnTo>
                    <a:pt x="242366" y="71424"/>
                  </a:lnTo>
                  <a:lnTo>
                    <a:pt x="251472" y="93091"/>
                  </a:lnTo>
                  <a:lnTo>
                    <a:pt x="254736" y="116116"/>
                  </a:lnTo>
                  <a:lnTo>
                    <a:pt x="254228" y="137706"/>
                  </a:lnTo>
                  <a:lnTo>
                    <a:pt x="246684" y="138036"/>
                  </a:lnTo>
                  <a:lnTo>
                    <a:pt x="244030" y="154736"/>
                  </a:lnTo>
                  <a:lnTo>
                    <a:pt x="243967" y="163309"/>
                  </a:lnTo>
                  <a:lnTo>
                    <a:pt x="247269" y="166458"/>
                  </a:lnTo>
                  <a:lnTo>
                    <a:pt x="254660" y="166878"/>
                  </a:lnTo>
                  <a:lnTo>
                    <a:pt x="311429" y="166878"/>
                  </a:lnTo>
                  <a:lnTo>
                    <a:pt x="328307" y="168833"/>
                  </a:lnTo>
                  <a:lnTo>
                    <a:pt x="342861" y="173926"/>
                  </a:lnTo>
                  <a:lnTo>
                    <a:pt x="353060" y="179171"/>
                  </a:lnTo>
                  <a:lnTo>
                    <a:pt x="356920" y="181584"/>
                  </a:lnTo>
                  <a:lnTo>
                    <a:pt x="362585" y="161925"/>
                  </a:lnTo>
                  <a:close/>
                </a:path>
                <a:path w="612775" h="396875">
                  <a:moveTo>
                    <a:pt x="577811" y="367792"/>
                  </a:moveTo>
                  <a:lnTo>
                    <a:pt x="556831" y="367792"/>
                  </a:lnTo>
                  <a:lnTo>
                    <a:pt x="556831" y="373468"/>
                  </a:lnTo>
                  <a:lnTo>
                    <a:pt x="564032" y="373468"/>
                  </a:lnTo>
                  <a:lnTo>
                    <a:pt x="564032" y="396341"/>
                  </a:lnTo>
                  <a:lnTo>
                    <a:pt x="570712" y="396341"/>
                  </a:lnTo>
                  <a:lnTo>
                    <a:pt x="570712" y="373468"/>
                  </a:lnTo>
                  <a:lnTo>
                    <a:pt x="577811" y="373468"/>
                  </a:lnTo>
                  <a:lnTo>
                    <a:pt x="577811" y="367792"/>
                  </a:lnTo>
                  <a:close/>
                </a:path>
                <a:path w="612775" h="396875">
                  <a:moveTo>
                    <a:pt x="612406" y="367842"/>
                  </a:moveTo>
                  <a:lnTo>
                    <a:pt x="601980" y="367842"/>
                  </a:lnTo>
                  <a:lnTo>
                    <a:pt x="596747" y="384898"/>
                  </a:lnTo>
                  <a:lnTo>
                    <a:pt x="591743" y="367842"/>
                  </a:lnTo>
                  <a:lnTo>
                    <a:pt x="581279" y="367842"/>
                  </a:lnTo>
                  <a:lnTo>
                    <a:pt x="581279" y="396341"/>
                  </a:lnTo>
                  <a:lnTo>
                    <a:pt x="586943" y="396341"/>
                  </a:lnTo>
                  <a:lnTo>
                    <a:pt x="586943" y="373075"/>
                  </a:lnTo>
                  <a:lnTo>
                    <a:pt x="593953" y="396341"/>
                  </a:lnTo>
                  <a:lnTo>
                    <a:pt x="598525" y="396341"/>
                  </a:lnTo>
                  <a:lnTo>
                    <a:pt x="605586" y="373075"/>
                  </a:lnTo>
                  <a:lnTo>
                    <a:pt x="605777" y="373075"/>
                  </a:lnTo>
                  <a:lnTo>
                    <a:pt x="605777" y="396341"/>
                  </a:lnTo>
                  <a:lnTo>
                    <a:pt x="612406" y="396341"/>
                  </a:lnTo>
                  <a:lnTo>
                    <a:pt x="612406" y="367842"/>
                  </a:lnTo>
                  <a:close/>
                </a:path>
              </a:pathLst>
            </a:custGeom>
            <a:solidFill>
              <a:srgbClr val="181C41"/>
            </a:solidFill>
          </p:spPr>
          <p:txBody>
            <a:bodyPr wrap="square" lIns="0" tIns="0" rIns="0" bIns="0" rtlCol="0"/>
            <a:lstStyle/>
            <a:p>
              <a:endParaRPr/>
            </a:p>
          </p:txBody>
        </p:sp>
      </p:grpSp>
      <p:pic>
        <p:nvPicPr>
          <p:cNvPr id="23" name="object 25">
            <a:extLst>
              <a:ext uri="{FF2B5EF4-FFF2-40B4-BE49-F238E27FC236}">
                <a16:creationId xmlns:a16="http://schemas.microsoft.com/office/drawing/2014/main" id="{CC45101C-F4D4-4D54-B785-448732911749}"/>
              </a:ext>
            </a:extLst>
          </p:cNvPr>
          <p:cNvPicPr/>
          <p:nvPr/>
        </p:nvPicPr>
        <p:blipFill>
          <a:blip r:embed="rId8" cstate="print"/>
          <a:stretch>
            <a:fillRect/>
          </a:stretch>
        </p:blipFill>
        <p:spPr>
          <a:xfrm>
            <a:off x="9990286" y="3167600"/>
            <a:ext cx="2049148" cy="834164"/>
          </a:xfrm>
          <a:prstGeom prst="rect">
            <a:avLst/>
          </a:prstGeom>
        </p:spPr>
      </p:pic>
      <p:pic>
        <p:nvPicPr>
          <p:cNvPr id="24" name="object 23">
            <a:extLst>
              <a:ext uri="{FF2B5EF4-FFF2-40B4-BE49-F238E27FC236}">
                <a16:creationId xmlns:a16="http://schemas.microsoft.com/office/drawing/2014/main" id="{F363E88E-F156-4FFF-BDB0-BF8C85061BDC}"/>
              </a:ext>
            </a:extLst>
          </p:cNvPr>
          <p:cNvPicPr/>
          <p:nvPr/>
        </p:nvPicPr>
        <p:blipFill>
          <a:blip r:embed="rId9" cstate="print"/>
          <a:stretch>
            <a:fillRect/>
          </a:stretch>
        </p:blipFill>
        <p:spPr>
          <a:xfrm>
            <a:off x="10061657" y="1283936"/>
            <a:ext cx="1610526" cy="724041"/>
          </a:xfrm>
          <a:prstGeom prst="rect">
            <a:avLst/>
          </a:prstGeom>
        </p:spPr>
      </p:pic>
    </p:spTree>
    <p:extLst>
      <p:ext uri="{BB962C8B-B14F-4D97-AF65-F5344CB8AC3E}">
        <p14:creationId xmlns:p14="http://schemas.microsoft.com/office/powerpoint/2010/main" val="30006185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452AA-AF58-C07D-8FE6-380444899A09}"/>
              </a:ext>
            </a:extLst>
          </p:cNvPr>
          <p:cNvSpPr>
            <a:spLocks noGrp="1"/>
          </p:cNvSpPr>
          <p:nvPr>
            <p:ph type="title"/>
          </p:nvPr>
        </p:nvSpPr>
        <p:spPr>
          <a:xfrm>
            <a:off x="756954" y="0"/>
            <a:ext cx="11115721" cy="1065229"/>
          </a:xfrm>
        </p:spPr>
        <p:txBody>
          <a:bodyPr>
            <a:noAutofit/>
          </a:bodyPr>
          <a:lstStyle/>
          <a:p>
            <a:r>
              <a:rPr lang="en-US">
                <a:latin typeface="Montserrat" panose="00000500000000000000" pitchFamily="2" charset="0"/>
              </a:rPr>
              <a:t>Start Over &amp; Catch Up</a:t>
            </a:r>
          </a:p>
        </p:txBody>
      </p:sp>
      <p:sp>
        <p:nvSpPr>
          <p:cNvPr id="16" name="Content Placeholder 4">
            <a:extLst>
              <a:ext uri="{FF2B5EF4-FFF2-40B4-BE49-F238E27FC236}">
                <a16:creationId xmlns:a16="http://schemas.microsoft.com/office/drawing/2014/main" id="{326749B5-C546-46EE-9569-6341FA016180}"/>
              </a:ext>
            </a:extLst>
          </p:cNvPr>
          <p:cNvSpPr>
            <a:spLocks noGrp="1"/>
          </p:cNvSpPr>
          <p:nvPr>
            <p:ph idx="1"/>
          </p:nvPr>
        </p:nvSpPr>
        <p:spPr>
          <a:xfrm>
            <a:off x="756954" y="1965811"/>
            <a:ext cx="6624234" cy="3441451"/>
          </a:xfrm>
        </p:spPr>
        <p:txBody>
          <a:bodyPr vert="horz" lIns="91440" tIns="45720" rIns="91440" bIns="45720" rtlCol="0" anchor="t">
            <a:normAutofit fontScale="92500" lnSpcReduction="20000"/>
          </a:bodyPr>
          <a:lstStyle/>
          <a:p>
            <a:pPr marL="297815" marR="1666875" indent="-285115">
              <a:lnSpc>
                <a:spcPct val="100000"/>
              </a:lnSpc>
              <a:buClr>
                <a:srgbClr val="3EB1C8"/>
              </a:buClr>
              <a:buChar char="•"/>
              <a:tabLst>
                <a:tab pos="297815" algn="l"/>
                <a:tab pos="298450" algn="l"/>
              </a:tabLst>
            </a:pPr>
            <a:r>
              <a:rPr lang="en-US" sz="2800" spc="-30">
                <a:solidFill>
                  <a:schemeClr val="tx2"/>
                </a:solidFill>
                <a:latin typeface="Montserrat" panose="00000500000000000000" pitchFamily="2" charset="0"/>
                <a:cs typeface="Arial"/>
              </a:rPr>
              <a:t>Start</a:t>
            </a:r>
            <a:r>
              <a:rPr lang="en-US" sz="2800" spc="-110">
                <a:solidFill>
                  <a:schemeClr val="tx2"/>
                </a:solidFill>
                <a:latin typeface="Montserrat" panose="00000500000000000000" pitchFamily="2" charset="0"/>
                <a:cs typeface="Arial"/>
              </a:rPr>
              <a:t> </a:t>
            </a:r>
            <a:r>
              <a:rPr lang="en-US" sz="2800" spc="-30">
                <a:solidFill>
                  <a:schemeClr val="tx2"/>
                </a:solidFill>
                <a:latin typeface="Montserrat" panose="00000500000000000000" pitchFamily="2" charset="0"/>
                <a:cs typeface="Arial"/>
              </a:rPr>
              <a:t>Over:</a:t>
            </a:r>
            <a:r>
              <a:rPr lang="en-US" sz="2800" spc="-11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If</a:t>
            </a:r>
            <a:r>
              <a:rPr lang="en-US" sz="2800" spc="-10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you</a:t>
            </a:r>
            <a:r>
              <a:rPr lang="en-US" sz="2800" spc="-90">
                <a:solidFill>
                  <a:schemeClr val="tx2"/>
                </a:solidFill>
                <a:latin typeface="Montserrat" panose="00000500000000000000" pitchFamily="2" charset="0"/>
                <a:cs typeface="Arial"/>
              </a:rPr>
              <a:t> </a:t>
            </a:r>
            <a:r>
              <a:rPr lang="en-US" sz="2800" spc="-10">
                <a:solidFill>
                  <a:schemeClr val="tx2"/>
                </a:solidFill>
                <a:latin typeface="Montserrat" panose="00000500000000000000" pitchFamily="2" charset="0"/>
                <a:cs typeface="Arial"/>
              </a:rPr>
              <a:t>start</a:t>
            </a:r>
            <a:r>
              <a:rPr lang="en-US" sz="2800" spc="-80">
                <a:solidFill>
                  <a:schemeClr val="tx2"/>
                </a:solidFill>
                <a:latin typeface="Montserrat" panose="00000500000000000000" pitchFamily="2" charset="0"/>
                <a:cs typeface="Arial"/>
              </a:rPr>
              <a:t> </a:t>
            </a:r>
            <a:r>
              <a:rPr lang="en-US" sz="2800" spc="-10">
                <a:solidFill>
                  <a:schemeClr val="tx2"/>
                </a:solidFill>
                <a:latin typeface="Montserrat" panose="00000500000000000000" pitchFamily="2" charset="0"/>
                <a:cs typeface="Arial"/>
              </a:rPr>
              <a:t>watching</a:t>
            </a:r>
            <a:r>
              <a:rPr lang="en-US" sz="2800" spc="-7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a</a:t>
            </a:r>
            <a:r>
              <a:rPr lang="en-US" sz="2800" spc="-135">
                <a:solidFill>
                  <a:schemeClr val="tx2"/>
                </a:solidFill>
                <a:latin typeface="Montserrat" panose="00000500000000000000" pitchFamily="2" charset="0"/>
                <a:cs typeface="Arial"/>
              </a:rPr>
              <a:t> </a:t>
            </a:r>
            <a:r>
              <a:rPr lang="en-US" sz="2800" spc="-20">
                <a:solidFill>
                  <a:schemeClr val="tx2"/>
                </a:solidFill>
                <a:latin typeface="Montserrat" panose="00000500000000000000" pitchFamily="2" charset="0"/>
                <a:cs typeface="Arial"/>
              </a:rPr>
              <a:t>live </a:t>
            </a:r>
            <a:r>
              <a:rPr lang="en-US" sz="2800">
                <a:solidFill>
                  <a:schemeClr val="tx2"/>
                </a:solidFill>
                <a:latin typeface="Montserrat" panose="00000500000000000000" pitchFamily="2" charset="0"/>
                <a:cs typeface="Arial"/>
              </a:rPr>
              <a:t>show</a:t>
            </a:r>
            <a:r>
              <a:rPr lang="en-US" sz="2800" spc="-6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when</a:t>
            </a:r>
            <a:r>
              <a:rPr lang="en-US" sz="2800" spc="-7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it</a:t>
            </a:r>
            <a:r>
              <a:rPr lang="en-US" sz="2800" spc="-6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is</a:t>
            </a:r>
            <a:r>
              <a:rPr lang="en-US" sz="2800" spc="-125">
                <a:solidFill>
                  <a:schemeClr val="tx2"/>
                </a:solidFill>
                <a:latin typeface="Montserrat" panose="00000500000000000000" pitchFamily="2" charset="0"/>
                <a:cs typeface="Arial"/>
              </a:rPr>
              <a:t> </a:t>
            </a:r>
            <a:r>
              <a:rPr lang="en-US" sz="2800" spc="-20">
                <a:solidFill>
                  <a:schemeClr val="tx2"/>
                </a:solidFill>
                <a:latin typeface="Montserrat" panose="00000500000000000000" pitchFamily="2" charset="0"/>
                <a:cs typeface="Arial"/>
              </a:rPr>
              <a:t>already</a:t>
            </a:r>
            <a:r>
              <a:rPr lang="en-US" sz="2800" spc="-9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in</a:t>
            </a:r>
            <a:r>
              <a:rPr lang="en-US" sz="2800" spc="-90">
                <a:solidFill>
                  <a:schemeClr val="tx2"/>
                </a:solidFill>
                <a:latin typeface="Montserrat" panose="00000500000000000000" pitchFamily="2" charset="0"/>
                <a:cs typeface="Arial"/>
              </a:rPr>
              <a:t> </a:t>
            </a:r>
            <a:r>
              <a:rPr lang="en-US" sz="2800" spc="-10">
                <a:solidFill>
                  <a:schemeClr val="tx2"/>
                </a:solidFill>
                <a:latin typeface="Montserrat" panose="00000500000000000000" pitchFamily="2" charset="0"/>
                <a:cs typeface="Arial"/>
              </a:rPr>
              <a:t>progress, </a:t>
            </a:r>
            <a:r>
              <a:rPr lang="en-US" sz="2800">
                <a:solidFill>
                  <a:schemeClr val="tx2"/>
                </a:solidFill>
                <a:latin typeface="Montserrat" panose="00000500000000000000" pitchFamily="2" charset="0"/>
                <a:cs typeface="Arial"/>
              </a:rPr>
              <a:t>you</a:t>
            </a:r>
            <a:r>
              <a:rPr lang="en-US" sz="2800" spc="-90">
                <a:solidFill>
                  <a:schemeClr val="tx2"/>
                </a:solidFill>
                <a:latin typeface="Montserrat" panose="00000500000000000000" pitchFamily="2" charset="0"/>
                <a:cs typeface="Arial"/>
              </a:rPr>
              <a:t> </a:t>
            </a:r>
            <a:r>
              <a:rPr lang="en-US" sz="2800" spc="-20">
                <a:solidFill>
                  <a:schemeClr val="tx2"/>
                </a:solidFill>
                <a:latin typeface="Montserrat" panose="00000500000000000000" pitchFamily="2" charset="0"/>
                <a:cs typeface="Arial"/>
              </a:rPr>
              <a:t>can</a:t>
            </a:r>
            <a:r>
              <a:rPr lang="en-US" sz="2800" spc="-120">
                <a:solidFill>
                  <a:schemeClr val="tx2"/>
                </a:solidFill>
                <a:latin typeface="Montserrat" panose="00000500000000000000" pitchFamily="2" charset="0"/>
                <a:cs typeface="Arial"/>
              </a:rPr>
              <a:t> </a:t>
            </a:r>
            <a:r>
              <a:rPr lang="en-US" sz="2800" spc="-10">
                <a:solidFill>
                  <a:schemeClr val="tx2"/>
                </a:solidFill>
                <a:latin typeface="Montserrat" panose="00000500000000000000" pitchFamily="2" charset="0"/>
                <a:cs typeface="Arial"/>
              </a:rPr>
              <a:t>start</a:t>
            </a:r>
            <a:r>
              <a:rPr lang="en-US" sz="2800" spc="-7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over</a:t>
            </a:r>
            <a:r>
              <a:rPr lang="en-US" sz="2800" spc="-7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from</a:t>
            </a:r>
            <a:r>
              <a:rPr lang="en-US" sz="2800" spc="-10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the</a:t>
            </a:r>
            <a:r>
              <a:rPr lang="en-US" sz="2800" spc="-60">
                <a:solidFill>
                  <a:schemeClr val="tx2"/>
                </a:solidFill>
                <a:latin typeface="Montserrat" panose="00000500000000000000" pitchFamily="2" charset="0"/>
                <a:cs typeface="Arial"/>
              </a:rPr>
              <a:t> </a:t>
            </a:r>
            <a:r>
              <a:rPr lang="en-US" sz="2800" spc="-10">
                <a:solidFill>
                  <a:schemeClr val="tx2"/>
                </a:solidFill>
                <a:latin typeface="Montserrat" panose="00000500000000000000" pitchFamily="2" charset="0"/>
                <a:cs typeface="Arial"/>
              </a:rPr>
              <a:t>beginning.</a:t>
            </a:r>
            <a:endParaRPr lang="en-US" sz="2800">
              <a:solidFill>
                <a:schemeClr val="tx2"/>
              </a:solidFill>
              <a:latin typeface="Montserrat" panose="00000500000000000000" pitchFamily="2" charset="0"/>
              <a:cs typeface="Arial"/>
            </a:endParaRPr>
          </a:p>
          <a:p>
            <a:pPr>
              <a:lnSpc>
                <a:spcPct val="100000"/>
              </a:lnSpc>
              <a:spcBef>
                <a:spcPts val="45"/>
              </a:spcBef>
              <a:buClr>
                <a:srgbClr val="3EB1C8"/>
              </a:buClr>
              <a:buFont typeface="Arial"/>
              <a:buChar char="•"/>
            </a:pPr>
            <a:endParaRPr lang="en-US" sz="3200">
              <a:solidFill>
                <a:schemeClr val="tx2"/>
              </a:solidFill>
              <a:latin typeface="Montserrat" panose="00000500000000000000" pitchFamily="2" charset="0"/>
              <a:cs typeface="Arial"/>
            </a:endParaRPr>
          </a:p>
          <a:p>
            <a:pPr marL="297815" marR="1639570" indent="-285115">
              <a:lnSpc>
                <a:spcPct val="100000"/>
              </a:lnSpc>
              <a:buClr>
                <a:srgbClr val="3EB1C8"/>
              </a:buClr>
              <a:buChar char="•"/>
              <a:tabLst>
                <a:tab pos="297815" algn="l"/>
                <a:tab pos="298450" algn="l"/>
              </a:tabLst>
            </a:pPr>
            <a:r>
              <a:rPr lang="en-US" sz="2800" spc="-30">
                <a:solidFill>
                  <a:schemeClr val="tx2"/>
                </a:solidFill>
                <a:latin typeface="Montserrat" panose="00000500000000000000" pitchFamily="2" charset="0"/>
                <a:cs typeface="Arial"/>
              </a:rPr>
              <a:t>Catch</a:t>
            </a:r>
            <a:r>
              <a:rPr lang="en-US" sz="2800" spc="-110">
                <a:solidFill>
                  <a:schemeClr val="tx2"/>
                </a:solidFill>
                <a:latin typeface="Montserrat" panose="00000500000000000000" pitchFamily="2" charset="0"/>
                <a:cs typeface="Arial"/>
              </a:rPr>
              <a:t> </a:t>
            </a:r>
            <a:r>
              <a:rPr lang="en-US" sz="2800" spc="-30">
                <a:solidFill>
                  <a:schemeClr val="tx2"/>
                </a:solidFill>
                <a:latin typeface="Montserrat" panose="00000500000000000000" pitchFamily="2" charset="0"/>
                <a:cs typeface="Arial"/>
              </a:rPr>
              <a:t>Up:</a:t>
            </a:r>
            <a:r>
              <a:rPr lang="en-US" sz="2800" spc="-11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If</a:t>
            </a:r>
            <a:r>
              <a:rPr lang="en-US" sz="2800" spc="-12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you</a:t>
            </a:r>
            <a:r>
              <a:rPr lang="en-US" sz="2800" spc="-80">
                <a:solidFill>
                  <a:schemeClr val="tx2"/>
                </a:solidFill>
                <a:latin typeface="Montserrat" panose="00000500000000000000" pitchFamily="2" charset="0"/>
                <a:cs typeface="Arial"/>
              </a:rPr>
              <a:t> </a:t>
            </a:r>
            <a:r>
              <a:rPr lang="en-US" sz="2800" spc="-30">
                <a:solidFill>
                  <a:schemeClr val="tx2"/>
                </a:solidFill>
                <a:latin typeface="Montserrat" panose="00000500000000000000" pitchFamily="2" charset="0"/>
                <a:cs typeface="Arial"/>
              </a:rPr>
              <a:t>missed</a:t>
            </a:r>
            <a:r>
              <a:rPr lang="en-US" sz="2800" spc="-6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the</a:t>
            </a:r>
            <a:r>
              <a:rPr lang="en-US" sz="2800" spc="-60">
                <a:solidFill>
                  <a:schemeClr val="tx2"/>
                </a:solidFill>
                <a:latin typeface="Montserrat" panose="00000500000000000000" pitchFamily="2" charset="0"/>
                <a:cs typeface="Arial"/>
              </a:rPr>
              <a:t> </a:t>
            </a:r>
            <a:r>
              <a:rPr lang="en-US" sz="2800" spc="-10">
                <a:solidFill>
                  <a:schemeClr val="tx2"/>
                </a:solidFill>
                <a:latin typeface="Montserrat" panose="00000500000000000000" pitchFamily="2" charset="0"/>
                <a:cs typeface="Arial"/>
              </a:rPr>
              <a:t>episode </a:t>
            </a:r>
            <a:r>
              <a:rPr lang="en-US" sz="2800">
                <a:solidFill>
                  <a:schemeClr val="tx2"/>
                </a:solidFill>
                <a:latin typeface="Montserrat" panose="00000500000000000000" pitchFamily="2" charset="0"/>
                <a:cs typeface="Arial"/>
              </a:rPr>
              <a:t>when</a:t>
            </a:r>
            <a:r>
              <a:rPr lang="en-US" sz="2800" spc="-7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it</a:t>
            </a:r>
            <a:r>
              <a:rPr lang="en-US" sz="2800" spc="-55">
                <a:solidFill>
                  <a:schemeClr val="tx2"/>
                </a:solidFill>
                <a:latin typeface="Montserrat" panose="00000500000000000000" pitchFamily="2" charset="0"/>
                <a:cs typeface="Arial"/>
              </a:rPr>
              <a:t> </a:t>
            </a:r>
            <a:r>
              <a:rPr lang="en-US" sz="2800" spc="-20">
                <a:solidFill>
                  <a:schemeClr val="tx2"/>
                </a:solidFill>
                <a:latin typeface="Montserrat" panose="00000500000000000000" pitchFamily="2" charset="0"/>
                <a:cs typeface="Arial"/>
              </a:rPr>
              <a:t>aired,</a:t>
            </a:r>
            <a:r>
              <a:rPr lang="en-US" sz="2800" spc="-120">
                <a:solidFill>
                  <a:schemeClr val="tx2"/>
                </a:solidFill>
                <a:latin typeface="Montserrat" panose="00000500000000000000" pitchFamily="2" charset="0"/>
                <a:cs typeface="Arial"/>
              </a:rPr>
              <a:t> </a:t>
            </a:r>
            <a:r>
              <a:rPr lang="en-US" sz="2800" spc="-30">
                <a:solidFill>
                  <a:schemeClr val="tx2"/>
                </a:solidFill>
                <a:latin typeface="Montserrat" panose="00000500000000000000" pitchFamily="2" charset="0"/>
                <a:cs typeface="Arial"/>
              </a:rPr>
              <a:t>Catch</a:t>
            </a:r>
            <a:r>
              <a:rPr lang="en-US" sz="2800" spc="-95">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Up</a:t>
            </a:r>
            <a:r>
              <a:rPr lang="en-US" sz="2800" spc="-6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lets</a:t>
            </a:r>
            <a:r>
              <a:rPr lang="en-US" sz="2800" spc="-10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you</a:t>
            </a:r>
            <a:r>
              <a:rPr lang="en-US" sz="2800" spc="-75">
                <a:solidFill>
                  <a:schemeClr val="tx2"/>
                </a:solidFill>
                <a:latin typeface="Montserrat" panose="00000500000000000000" pitchFamily="2" charset="0"/>
                <a:cs typeface="Arial"/>
              </a:rPr>
              <a:t> </a:t>
            </a:r>
            <a:r>
              <a:rPr lang="en-US" sz="2800" spc="-10">
                <a:solidFill>
                  <a:schemeClr val="tx2"/>
                </a:solidFill>
                <a:latin typeface="Montserrat" panose="00000500000000000000" pitchFamily="2" charset="0"/>
                <a:cs typeface="Arial"/>
              </a:rPr>
              <a:t>watch </a:t>
            </a:r>
            <a:r>
              <a:rPr lang="en-US" sz="2800">
                <a:solidFill>
                  <a:schemeClr val="tx2"/>
                </a:solidFill>
                <a:latin typeface="Montserrat" panose="00000500000000000000" pitchFamily="2" charset="0"/>
                <a:cs typeface="Arial"/>
              </a:rPr>
              <a:t>it</a:t>
            </a:r>
            <a:r>
              <a:rPr lang="en-US" sz="2800" spc="-7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after</a:t>
            </a:r>
            <a:r>
              <a:rPr lang="en-US" sz="2800" spc="-60">
                <a:solidFill>
                  <a:schemeClr val="tx2"/>
                </a:solidFill>
                <a:latin typeface="Montserrat" panose="00000500000000000000" pitchFamily="2" charset="0"/>
                <a:cs typeface="Arial"/>
              </a:rPr>
              <a:t> </a:t>
            </a:r>
            <a:r>
              <a:rPr lang="en-US" sz="2800">
                <a:solidFill>
                  <a:schemeClr val="tx2"/>
                </a:solidFill>
                <a:latin typeface="Montserrat" panose="00000500000000000000" pitchFamily="2" charset="0"/>
                <a:cs typeface="Arial"/>
              </a:rPr>
              <a:t>the</a:t>
            </a:r>
            <a:r>
              <a:rPr lang="en-US" sz="2800" spc="-50">
                <a:solidFill>
                  <a:schemeClr val="tx2"/>
                </a:solidFill>
                <a:latin typeface="Montserrat" panose="00000500000000000000" pitchFamily="2" charset="0"/>
                <a:cs typeface="Arial"/>
              </a:rPr>
              <a:t> </a:t>
            </a:r>
            <a:r>
              <a:rPr lang="en-US" sz="2800" spc="-20">
                <a:solidFill>
                  <a:schemeClr val="tx2"/>
                </a:solidFill>
                <a:latin typeface="Montserrat" panose="00000500000000000000" pitchFamily="2" charset="0"/>
                <a:cs typeface="Arial"/>
              </a:rPr>
              <a:t>fact.</a:t>
            </a:r>
            <a:endParaRPr lang="en-US" sz="2800">
              <a:solidFill>
                <a:schemeClr val="tx2"/>
              </a:solidFill>
              <a:latin typeface="Montserrat" panose="00000500000000000000" pitchFamily="2" charset="0"/>
              <a:cs typeface="Arial"/>
            </a:endParaRPr>
          </a:p>
          <a:p>
            <a:pPr marL="241300" indent="-228600">
              <a:lnSpc>
                <a:spcPct val="150000"/>
              </a:lnSpc>
              <a:spcBef>
                <a:spcPts val="1560"/>
              </a:spcBef>
              <a:buClr>
                <a:srgbClr val="46A8B8"/>
              </a:buClr>
              <a:buChar char="•"/>
              <a:tabLst>
                <a:tab pos="241300" algn="l"/>
              </a:tabLst>
            </a:pPr>
            <a:endParaRPr lang="en-US" sz="2800">
              <a:latin typeface="Proxima Nova"/>
              <a:cs typeface="Arial"/>
            </a:endParaRPr>
          </a:p>
        </p:txBody>
      </p:sp>
      <p:grpSp>
        <p:nvGrpSpPr>
          <p:cNvPr id="7" name="object 10">
            <a:extLst>
              <a:ext uri="{FF2B5EF4-FFF2-40B4-BE49-F238E27FC236}">
                <a16:creationId xmlns:a16="http://schemas.microsoft.com/office/drawing/2014/main" id="{6C2EAFDF-F177-4DA1-80A1-D404760ADC59}"/>
              </a:ext>
            </a:extLst>
          </p:cNvPr>
          <p:cNvGrpSpPr/>
          <p:nvPr/>
        </p:nvGrpSpPr>
        <p:grpSpPr>
          <a:xfrm>
            <a:off x="6027413" y="1297834"/>
            <a:ext cx="5942330" cy="3592829"/>
            <a:chOff x="5791200" y="2427732"/>
            <a:chExt cx="5942330" cy="3592829"/>
          </a:xfrm>
        </p:grpSpPr>
        <p:pic>
          <p:nvPicPr>
            <p:cNvPr id="8" name="object 11">
              <a:extLst>
                <a:ext uri="{FF2B5EF4-FFF2-40B4-BE49-F238E27FC236}">
                  <a16:creationId xmlns:a16="http://schemas.microsoft.com/office/drawing/2014/main" id="{D445C361-5AB1-4CBF-BE33-93FA73E7C354}"/>
                </a:ext>
              </a:extLst>
            </p:cNvPr>
            <p:cNvPicPr/>
            <p:nvPr/>
          </p:nvPicPr>
          <p:blipFill>
            <a:blip r:embed="rId2" cstate="print"/>
            <a:stretch>
              <a:fillRect/>
            </a:stretch>
          </p:blipFill>
          <p:spPr>
            <a:xfrm>
              <a:off x="5791200" y="3535680"/>
              <a:ext cx="5643371" cy="2484856"/>
            </a:xfrm>
            <a:prstGeom prst="rect">
              <a:avLst/>
            </a:prstGeom>
          </p:spPr>
        </p:pic>
        <p:pic>
          <p:nvPicPr>
            <p:cNvPr id="9" name="object 12">
              <a:extLst>
                <a:ext uri="{FF2B5EF4-FFF2-40B4-BE49-F238E27FC236}">
                  <a16:creationId xmlns:a16="http://schemas.microsoft.com/office/drawing/2014/main" id="{7324E4F1-9CED-4F21-B657-586EB04FE5B2}"/>
                </a:ext>
              </a:extLst>
            </p:cNvPr>
            <p:cNvPicPr/>
            <p:nvPr/>
          </p:nvPicPr>
          <p:blipFill>
            <a:blip r:embed="rId3" cstate="print"/>
            <a:stretch>
              <a:fillRect/>
            </a:stretch>
          </p:blipFill>
          <p:spPr>
            <a:xfrm>
              <a:off x="9223972" y="2681478"/>
              <a:ext cx="652328" cy="762749"/>
            </a:xfrm>
            <a:prstGeom prst="rect">
              <a:avLst/>
            </a:prstGeom>
          </p:spPr>
        </p:pic>
        <p:pic>
          <p:nvPicPr>
            <p:cNvPr id="10" name="object 13">
              <a:extLst>
                <a:ext uri="{FF2B5EF4-FFF2-40B4-BE49-F238E27FC236}">
                  <a16:creationId xmlns:a16="http://schemas.microsoft.com/office/drawing/2014/main" id="{A7AC9E61-E554-447B-AAF1-2E92B3D4F683}"/>
                </a:ext>
              </a:extLst>
            </p:cNvPr>
            <p:cNvPicPr/>
            <p:nvPr/>
          </p:nvPicPr>
          <p:blipFill>
            <a:blip r:embed="rId4" cstate="print"/>
            <a:stretch>
              <a:fillRect/>
            </a:stretch>
          </p:blipFill>
          <p:spPr>
            <a:xfrm>
              <a:off x="9631681" y="2427732"/>
              <a:ext cx="2101582" cy="1268729"/>
            </a:xfrm>
            <a:prstGeom prst="rect">
              <a:avLst/>
            </a:prstGeom>
          </p:spPr>
        </p:pic>
      </p:grpSp>
      <p:sp>
        <p:nvSpPr>
          <p:cNvPr id="5" name="TextBox 4">
            <a:extLst>
              <a:ext uri="{FF2B5EF4-FFF2-40B4-BE49-F238E27FC236}">
                <a16:creationId xmlns:a16="http://schemas.microsoft.com/office/drawing/2014/main" id="{64651777-BD87-4732-8092-CD162A81A0E8}"/>
              </a:ext>
            </a:extLst>
          </p:cNvPr>
          <p:cNvSpPr txBox="1"/>
          <p:nvPr/>
        </p:nvSpPr>
        <p:spPr>
          <a:xfrm>
            <a:off x="6027413" y="4983254"/>
            <a:ext cx="6133801" cy="584775"/>
          </a:xfrm>
          <a:prstGeom prst="rect">
            <a:avLst/>
          </a:prstGeom>
          <a:noFill/>
        </p:spPr>
        <p:txBody>
          <a:bodyPr wrap="square" lIns="91440" tIns="45720" rIns="91440" bIns="45720" rtlCol="0" anchor="t">
            <a:spAutoFit/>
          </a:bodyPr>
          <a:lstStyle/>
          <a:p>
            <a:r>
              <a:rPr lang="en-US" sz="1600" i="1">
                <a:solidFill>
                  <a:srgbClr val="004160"/>
                </a:solidFill>
                <a:latin typeface="Montserrat" panose="00000500000000000000" pitchFamily="2" charset="0"/>
                <a:cs typeface="Calibri"/>
              </a:rPr>
              <a:t>*Availability</a:t>
            </a:r>
            <a:r>
              <a:rPr lang="en-US" sz="1600" i="1" spc="-30">
                <a:solidFill>
                  <a:srgbClr val="004160"/>
                </a:solidFill>
                <a:latin typeface="Montserrat" panose="00000500000000000000" pitchFamily="2" charset="0"/>
                <a:cs typeface="Calibri"/>
              </a:rPr>
              <a:t> </a:t>
            </a:r>
            <a:r>
              <a:rPr lang="en-US" sz="1600" i="1">
                <a:solidFill>
                  <a:srgbClr val="004160"/>
                </a:solidFill>
                <a:latin typeface="Montserrat" panose="00000500000000000000" pitchFamily="2" charset="0"/>
                <a:cs typeface="Calibri"/>
              </a:rPr>
              <a:t>depends</a:t>
            </a:r>
            <a:r>
              <a:rPr lang="en-US" sz="1600" i="1" spc="-25">
                <a:solidFill>
                  <a:srgbClr val="004160"/>
                </a:solidFill>
                <a:latin typeface="Montserrat" panose="00000500000000000000" pitchFamily="2" charset="0"/>
                <a:cs typeface="Calibri"/>
              </a:rPr>
              <a:t> </a:t>
            </a:r>
            <a:r>
              <a:rPr lang="en-US" sz="1600" i="1">
                <a:solidFill>
                  <a:srgbClr val="004160"/>
                </a:solidFill>
                <a:latin typeface="Montserrat" panose="00000500000000000000" pitchFamily="2" charset="0"/>
                <a:cs typeface="Calibri"/>
              </a:rPr>
              <a:t>on</a:t>
            </a:r>
            <a:r>
              <a:rPr lang="en-US" sz="1600" i="1" spc="-30">
                <a:solidFill>
                  <a:srgbClr val="004160"/>
                </a:solidFill>
                <a:latin typeface="Montserrat" panose="00000500000000000000" pitchFamily="2" charset="0"/>
                <a:cs typeface="Calibri"/>
              </a:rPr>
              <a:t> </a:t>
            </a:r>
            <a:r>
              <a:rPr lang="en-US" sz="1600" i="1">
                <a:solidFill>
                  <a:srgbClr val="004160"/>
                </a:solidFill>
                <a:latin typeface="Montserrat" panose="00000500000000000000" pitchFamily="2" charset="0"/>
                <a:cs typeface="Calibri"/>
              </a:rPr>
              <a:t>show</a:t>
            </a:r>
            <a:r>
              <a:rPr lang="en-US" sz="1600" i="1" spc="-25">
                <a:solidFill>
                  <a:srgbClr val="004160"/>
                </a:solidFill>
                <a:latin typeface="Montserrat" panose="00000500000000000000" pitchFamily="2" charset="0"/>
                <a:cs typeface="Calibri"/>
              </a:rPr>
              <a:t> </a:t>
            </a:r>
            <a:r>
              <a:rPr lang="en-US" sz="1600" i="1">
                <a:solidFill>
                  <a:srgbClr val="004160"/>
                </a:solidFill>
                <a:latin typeface="Montserrat" panose="00000500000000000000" pitchFamily="2" charset="0"/>
                <a:cs typeface="Calibri"/>
              </a:rPr>
              <a:t>and</a:t>
            </a:r>
            <a:r>
              <a:rPr lang="en-US" sz="1600" i="1" spc="-30">
                <a:solidFill>
                  <a:srgbClr val="004160"/>
                </a:solidFill>
                <a:latin typeface="Montserrat" panose="00000500000000000000" pitchFamily="2" charset="0"/>
                <a:cs typeface="Calibri"/>
              </a:rPr>
              <a:t> </a:t>
            </a:r>
            <a:r>
              <a:rPr lang="en-US" sz="1600" i="1">
                <a:solidFill>
                  <a:srgbClr val="004160"/>
                </a:solidFill>
                <a:latin typeface="Montserrat" panose="00000500000000000000" pitchFamily="2" charset="0"/>
                <a:cs typeface="Calibri"/>
              </a:rPr>
              <a:t>programming</a:t>
            </a:r>
            <a:r>
              <a:rPr lang="en-US" sz="1600" i="1" spc="-25">
                <a:solidFill>
                  <a:srgbClr val="004160"/>
                </a:solidFill>
                <a:latin typeface="Montserrat" panose="00000500000000000000" pitchFamily="2" charset="0"/>
                <a:cs typeface="Calibri"/>
              </a:rPr>
              <a:t> </a:t>
            </a:r>
            <a:r>
              <a:rPr lang="en-US" sz="1600" i="1" spc="-10">
                <a:solidFill>
                  <a:srgbClr val="004160"/>
                </a:solidFill>
                <a:latin typeface="Montserrat" panose="00000500000000000000" pitchFamily="2" charset="0"/>
                <a:cs typeface="Calibri"/>
              </a:rPr>
              <a:t>rights</a:t>
            </a:r>
            <a:endParaRPr lang="en-US" sz="1600">
              <a:latin typeface="Montserrat" panose="00000500000000000000" pitchFamily="2" charset="0"/>
              <a:cs typeface="Calibri"/>
            </a:endParaRPr>
          </a:p>
          <a:p>
            <a:endParaRPr lang="en-US" sz="1600"/>
          </a:p>
        </p:txBody>
      </p:sp>
      <p:sp>
        <p:nvSpPr>
          <p:cNvPr id="4" name="TextBox 3">
            <a:extLst>
              <a:ext uri="{FF2B5EF4-FFF2-40B4-BE49-F238E27FC236}">
                <a16:creationId xmlns:a16="http://schemas.microsoft.com/office/drawing/2014/main" id="{EBF53A83-7ACE-DE5F-3F17-5BC862652EE9}"/>
              </a:ext>
            </a:extLst>
          </p:cNvPr>
          <p:cNvSpPr txBox="1"/>
          <p:nvPr/>
        </p:nvSpPr>
        <p:spPr>
          <a:xfrm>
            <a:off x="803480" y="1064648"/>
            <a:ext cx="6921909"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solidFill>
                  <a:srgbClr val="3EB1C8"/>
                </a:solidFill>
                <a:latin typeface="Montserrat"/>
                <a:cs typeface="Calibri"/>
              </a:rPr>
              <a:t>Never miss what's important to you</a:t>
            </a:r>
            <a:endParaRPr lang="en-US" sz="2800" b="1">
              <a:solidFill>
                <a:srgbClr val="3EB1C8"/>
              </a:solidFill>
              <a:latin typeface="Montserrat"/>
            </a:endParaRPr>
          </a:p>
        </p:txBody>
      </p:sp>
    </p:spTree>
    <p:extLst>
      <p:ext uri="{BB962C8B-B14F-4D97-AF65-F5344CB8AC3E}">
        <p14:creationId xmlns:p14="http://schemas.microsoft.com/office/powerpoint/2010/main" val="17884245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59FDB-8B42-E66F-195B-08C73022813D}"/>
              </a:ext>
            </a:extLst>
          </p:cNvPr>
          <p:cNvSpPr>
            <a:spLocks noGrp="1"/>
          </p:cNvSpPr>
          <p:nvPr>
            <p:ph type="ctrTitle"/>
          </p:nvPr>
        </p:nvSpPr>
        <p:spPr>
          <a:xfrm>
            <a:off x="271874" y="0"/>
            <a:ext cx="11767726" cy="963038"/>
          </a:xfrm>
        </p:spPr>
        <p:txBody>
          <a:bodyPr/>
          <a:lstStyle/>
          <a:p>
            <a:pPr algn="l"/>
            <a:r>
              <a:rPr lang="en-US">
                <a:latin typeface="Montserrat" panose="00000500000000000000" pitchFamily="2" charset="0"/>
              </a:rPr>
              <a:t>Google Assistant</a:t>
            </a:r>
            <a:endParaRPr lang="en-US"/>
          </a:p>
        </p:txBody>
      </p:sp>
      <p:sp>
        <p:nvSpPr>
          <p:cNvPr id="3" name="Subtitle 2">
            <a:extLst>
              <a:ext uri="{FF2B5EF4-FFF2-40B4-BE49-F238E27FC236}">
                <a16:creationId xmlns:a16="http://schemas.microsoft.com/office/drawing/2014/main" id="{099F326A-C18D-55B7-0287-A3A2392D9445}"/>
              </a:ext>
            </a:extLst>
          </p:cNvPr>
          <p:cNvSpPr>
            <a:spLocks noGrp="1"/>
          </p:cNvSpPr>
          <p:nvPr>
            <p:ph type="subTitle" idx="1"/>
          </p:nvPr>
        </p:nvSpPr>
        <p:spPr>
          <a:xfrm>
            <a:off x="432935" y="995499"/>
            <a:ext cx="10642796" cy="1864307"/>
          </a:xfrm>
        </p:spPr>
        <p:txBody>
          <a:bodyPr vert="horz" lIns="91440" tIns="45720" rIns="91440" bIns="45720" rtlCol="0" anchor="t">
            <a:normAutofit fontScale="77500" lnSpcReduction="20000"/>
          </a:bodyPr>
          <a:lstStyle/>
          <a:p>
            <a:pPr marL="12700" algn="l">
              <a:lnSpc>
                <a:spcPct val="100000"/>
              </a:lnSpc>
              <a:spcBef>
                <a:spcPts val="100"/>
              </a:spcBef>
            </a:pPr>
            <a:r>
              <a:rPr lang="en-US" sz="3300" b="1" spc="-55">
                <a:solidFill>
                  <a:srgbClr val="067AAB"/>
                </a:solidFill>
                <a:latin typeface="Montserrat"/>
                <a:cs typeface="Arial"/>
              </a:rPr>
              <a:t>Use</a:t>
            </a:r>
            <a:r>
              <a:rPr lang="en-US" sz="3300" b="1" spc="-145">
                <a:solidFill>
                  <a:srgbClr val="067AAB"/>
                </a:solidFill>
                <a:latin typeface="Montserrat"/>
                <a:cs typeface="Arial"/>
              </a:rPr>
              <a:t> </a:t>
            </a:r>
            <a:r>
              <a:rPr lang="en-US" sz="3300" b="1" spc="-75">
                <a:solidFill>
                  <a:srgbClr val="067AAB"/>
                </a:solidFill>
                <a:latin typeface="Montserrat"/>
                <a:cs typeface="Arial"/>
              </a:rPr>
              <a:t>your</a:t>
            </a:r>
            <a:r>
              <a:rPr lang="en-US" sz="3300" b="1" spc="-175">
                <a:solidFill>
                  <a:srgbClr val="067AAB"/>
                </a:solidFill>
                <a:latin typeface="Montserrat"/>
                <a:cs typeface="Arial"/>
              </a:rPr>
              <a:t> </a:t>
            </a:r>
            <a:r>
              <a:rPr lang="en-US" sz="3300" b="1" spc="-85">
                <a:solidFill>
                  <a:srgbClr val="067AAB"/>
                </a:solidFill>
                <a:latin typeface="Montserrat"/>
                <a:cs typeface="Arial"/>
              </a:rPr>
              <a:t>voice</a:t>
            </a:r>
            <a:r>
              <a:rPr lang="en-US" sz="3300" b="1" spc="-105">
                <a:solidFill>
                  <a:srgbClr val="067AAB"/>
                </a:solidFill>
                <a:latin typeface="Montserrat"/>
                <a:cs typeface="Arial"/>
              </a:rPr>
              <a:t> </a:t>
            </a:r>
            <a:r>
              <a:rPr lang="en-US" sz="3300" b="1">
                <a:solidFill>
                  <a:srgbClr val="067AAB"/>
                </a:solidFill>
                <a:latin typeface="Montserrat"/>
                <a:cs typeface="Arial"/>
              </a:rPr>
              <a:t>to</a:t>
            </a:r>
            <a:r>
              <a:rPr lang="en-US" sz="3300" b="1" spc="-125">
                <a:solidFill>
                  <a:srgbClr val="067AAB"/>
                </a:solidFill>
                <a:latin typeface="Montserrat"/>
                <a:cs typeface="Arial"/>
              </a:rPr>
              <a:t> </a:t>
            </a:r>
            <a:r>
              <a:rPr lang="en-US" sz="3300" b="1" spc="-45">
                <a:solidFill>
                  <a:srgbClr val="067AAB"/>
                </a:solidFill>
                <a:latin typeface="Montserrat"/>
                <a:cs typeface="Arial"/>
              </a:rPr>
              <a:t>do</a:t>
            </a:r>
            <a:r>
              <a:rPr lang="en-US" sz="3300" b="1" spc="-165">
                <a:solidFill>
                  <a:srgbClr val="067AAB"/>
                </a:solidFill>
                <a:latin typeface="Montserrat"/>
                <a:cs typeface="Arial"/>
              </a:rPr>
              <a:t> </a:t>
            </a:r>
            <a:r>
              <a:rPr lang="en-US" sz="3300" b="1" spc="-10">
                <a:solidFill>
                  <a:srgbClr val="067AAB"/>
                </a:solidFill>
                <a:latin typeface="Montserrat"/>
                <a:cs typeface="Arial"/>
              </a:rPr>
              <a:t>more!</a:t>
            </a:r>
            <a:endParaRPr lang="en-US" sz="3300">
              <a:latin typeface="Montserrat"/>
              <a:cs typeface="Arial"/>
            </a:endParaRPr>
          </a:p>
          <a:p>
            <a:pPr marL="12700" marR="5080" algn="l">
              <a:lnSpc>
                <a:spcPct val="170000"/>
              </a:lnSpc>
              <a:spcBef>
                <a:spcPts val="25"/>
              </a:spcBef>
            </a:pPr>
            <a:r>
              <a:rPr lang="en-US" sz="2600" spc="-45">
                <a:solidFill>
                  <a:schemeClr val="bg1"/>
                </a:solidFill>
                <a:latin typeface="Montserrat"/>
                <a:cs typeface="Arial"/>
              </a:rPr>
              <a:t>Press</a:t>
            </a:r>
            <a:r>
              <a:rPr lang="en-US" sz="2600" spc="-114">
                <a:solidFill>
                  <a:schemeClr val="bg1"/>
                </a:solidFill>
                <a:latin typeface="Montserrat"/>
                <a:cs typeface="Arial"/>
              </a:rPr>
              <a:t> and release </a:t>
            </a:r>
            <a:r>
              <a:rPr lang="en-US" sz="2600">
                <a:solidFill>
                  <a:schemeClr val="bg1"/>
                </a:solidFill>
                <a:latin typeface="Montserrat"/>
                <a:cs typeface="Arial"/>
              </a:rPr>
              <a:t>the</a:t>
            </a:r>
            <a:r>
              <a:rPr lang="en-US" sz="2600" spc="-65">
                <a:solidFill>
                  <a:schemeClr val="bg1"/>
                </a:solidFill>
                <a:latin typeface="Montserrat"/>
                <a:cs typeface="Arial"/>
              </a:rPr>
              <a:t> </a:t>
            </a:r>
            <a:r>
              <a:rPr lang="en-US" sz="2600">
                <a:solidFill>
                  <a:schemeClr val="bg1"/>
                </a:solidFill>
                <a:latin typeface="Montserrat"/>
                <a:cs typeface="Arial"/>
              </a:rPr>
              <a:t>Google</a:t>
            </a:r>
            <a:r>
              <a:rPr lang="en-US" sz="2600" spc="-15">
                <a:solidFill>
                  <a:schemeClr val="bg1"/>
                </a:solidFill>
                <a:latin typeface="Montserrat"/>
                <a:cs typeface="Arial"/>
              </a:rPr>
              <a:t> </a:t>
            </a:r>
            <a:r>
              <a:rPr lang="en-US" sz="2600" spc="-25">
                <a:solidFill>
                  <a:schemeClr val="bg1"/>
                </a:solidFill>
                <a:latin typeface="Montserrat"/>
                <a:cs typeface="Arial"/>
              </a:rPr>
              <a:t>Assistant</a:t>
            </a:r>
            <a:r>
              <a:rPr lang="en-US" sz="2600" spc="-30">
                <a:solidFill>
                  <a:schemeClr val="bg1"/>
                </a:solidFill>
                <a:latin typeface="Montserrat"/>
                <a:cs typeface="Arial"/>
              </a:rPr>
              <a:t> </a:t>
            </a:r>
            <a:r>
              <a:rPr lang="en-US" sz="2600">
                <a:solidFill>
                  <a:schemeClr val="bg1"/>
                </a:solidFill>
                <a:latin typeface="Montserrat"/>
                <a:cs typeface="Arial"/>
              </a:rPr>
              <a:t>button</a:t>
            </a:r>
            <a:r>
              <a:rPr lang="en-US" sz="2600" spc="-35">
                <a:solidFill>
                  <a:schemeClr val="bg1"/>
                </a:solidFill>
                <a:latin typeface="Montserrat"/>
                <a:cs typeface="Arial"/>
              </a:rPr>
              <a:t> </a:t>
            </a:r>
            <a:r>
              <a:rPr lang="en-US" sz="2600">
                <a:solidFill>
                  <a:schemeClr val="bg1"/>
                </a:solidFill>
                <a:latin typeface="Montserrat"/>
                <a:cs typeface="Arial"/>
              </a:rPr>
              <a:t>&amp;</a:t>
            </a:r>
            <a:r>
              <a:rPr lang="en-US" sz="2600" spc="-90">
                <a:solidFill>
                  <a:schemeClr val="bg1"/>
                </a:solidFill>
                <a:latin typeface="Montserrat"/>
                <a:cs typeface="Arial"/>
              </a:rPr>
              <a:t> </a:t>
            </a:r>
            <a:r>
              <a:rPr lang="en-US" sz="2600" spc="-20">
                <a:solidFill>
                  <a:schemeClr val="bg1"/>
                </a:solidFill>
                <a:latin typeface="Montserrat"/>
                <a:cs typeface="Arial"/>
              </a:rPr>
              <a:t>ask</a:t>
            </a:r>
            <a:r>
              <a:rPr lang="en-US" sz="2600" spc="-70">
                <a:solidFill>
                  <a:schemeClr val="bg1"/>
                </a:solidFill>
                <a:latin typeface="Montserrat"/>
                <a:cs typeface="Arial"/>
              </a:rPr>
              <a:t> </a:t>
            </a:r>
            <a:r>
              <a:rPr lang="en-US" sz="2600">
                <a:solidFill>
                  <a:schemeClr val="bg1"/>
                </a:solidFill>
                <a:latin typeface="Montserrat"/>
                <a:cs typeface="Arial"/>
              </a:rPr>
              <a:t>Google</a:t>
            </a:r>
            <a:r>
              <a:rPr lang="en-US" sz="2600" spc="-15">
                <a:solidFill>
                  <a:schemeClr val="bg1"/>
                </a:solidFill>
                <a:latin typeface="Montserrat"/>
                <a:cs typeface="Arial"/>
              </a:rPr>
              <a:t> </a:t>
            </a:r>
            <a:r>
              <a:rPr lang="en-US" sz="2600">
                <a:solidFill>
                  <a:schemeClr val="bg1"/>
                </a:solidFill>
                <a:latin typeface="Montserrat"/>
                <a:cs typeface="Arial"/>
              </a:rPr>
              <a:t>to give</a:t>
            </a:r>
            <a:r>
              <a:rPr lang="en-US" sz="2600" spc="-20">
                <a:solidFill>
                  <a:schemeClr val="bg1"/>
                </a:solidFill>
                <a:latin typeface="Montserrat"/>
                <a:cs typeface="Arial"/>
              </a:rPr>
              <a:t> </a:t>
            </a:r>
            <a:r>
              <a:rPr lang="en-US" sz="2600">
                <a:solidFill>
                  <a:schemeClr val="bg1"/>
                </a:solidFill>
                <a:latin typeface="Montserrat"/>
                <a:cs typeface="Arial"/>
              </a:rPr>
              <a:t>you</a:t>
            </a:r>
            <a:r>
              <a:rPr lang="en-US" sz="2600" spc="-45">
                <a:solidFill>
                  <a:schemeClr val="bg1"/>
                </a:solidFill>
                <a:latin typeface="Montserrat"/>
                <a:cs typeface="Arial"/>
              </a:rPr>
              <a:t> </a:t>
            </a:r>
            <a:r>
              <a:rPr lang="en-US" sz="2600">
                <a:solidFill>
                  <a:schemeClr val="bg1"/>
                </a:solidFill>
                <a:latin typeface="Montserrat"/>
                <a:cs typeface="Arial"/>
              </a:rPr>
              <a:t>the</a:t>
            </a:r>
            <a:r>
              <a:rPr lang="en-US" sz="2600" spc="-25">
                <a:solidFill>
                  <a:schemeClr val="bg1"/>
                </a:solidFill>
                <a:latin typeface="Montserrat"/>
                <a:cs typeface="Arial"/>
              </a:rPr>
              <a:t> </a:t>
            </a:r>
            <a:r>
              <a:rPr lang="en-US" sz="2600">
                <a:solidFill>
                  <a:schemeClr val="bg1"/>
                </a:solidFill>
                <a:latin typeface="Montserrat"/>
                <a:cs typeface="Arial"/>
              </a:rPr>
              <a:t>weather</a:t>
            </a:r>
            <a:r>
              <a:rPr lang="en-US" sz="2600" spc="-40">
                <a:solidFill>
                  <a:schemeClr val="bg1"/>
                </a:solidFill>
                <a:latin typeface="Montserrat"/>
                <a:cs typeface="Arial"/>
              </a:rPr>
              <a:t> </a:t>
            </a:r>
            <a:r>
              <a:rPr lang="en-US" sz="2600">
                <a:solidFill>
                  <a:schemeClr val="bg1"/>
                </a:solidFill>
                <a:latin typeface="Montserrat"/>
                <a:cs typeface="Arial"/>
              </a:rPr>
              <a:t>or</a:t>
            </a:r>
            <a:r>
              <a:rPr lang="en-US" sz="2600" spc="-30">
                <a:solidFill>
                  <a:schemeClr val="bg1"/>
                </a:solidFill>
                <a:latin typeface="Montserrat"/>
                <a:cs typeface="Arial"/>
              </a:rPr>
              <a:t> </a:t>
            </a:r>
            <a:r>
              <a:rPr lang="en-US" sz="2600">
                <a:solidFill>
                  <a:schemeClr val="bg1"/>
                </a:solidFill>
                <a:latin typeface="Montserrat"/>
                <a:cs typeface="Arial"/>
              </a:rPr>
              <a:t>check</a:t>
            </a:r>
            <a:r>
              <a:rPr lang="en-US" sz="2600" spc="-40">
                <a:solidFill>
                  <a:schemeClr val="bg1"/>
                </a:solidFill>
                <a:latin typeface="Montserrat"/>
                <a:cs typeface="Arial"/>
              </a:rPr>
              <a:t> </a:t>
            </a:r>
            <a:r>
              <a:rPr lang="en-US" sz="2600">
                <a:solidFill>
                  <a:schemeClr val="bg1"/>
                </a:solidFill>
                <a:latin typeface="Montserrat"/>
                <a:cs typeface="Arial"/>
              </a:rPr>
              <a:t>the</a:t>
            </a:r>
            <a:r>
              <a:rPr lang="en-US" sz="2600" spc="-45">
                <a:solidFill>
                  <a:schemeClr val="bg1"/>
                </a:solidFill>
                <a:latin typeface="Montserrat"/>
                <a:cs typeface="Arial"/>
              </a:rPr>
              <a:t> </a:t>
            </a:r>
            <a:r>
              <a:rPr lang="en-US" sz="2600">
                <a:solidFill>
                  <a:schemeClr val="bg1"/>
                </a:solidFill>
                <a:latin typeface="Montserrat"/>
                <a:cs typeface="Arial"/>
              </a:rPr>
              <a:t>score</a:t>
            </a:r>
            <a:r>
              <a:rPr lang="en-US" sz="2600" spc="-25">
                <a:solidFill>
                  <a:schemeClr val="bg1"/>
                </a:solidFill>
                <a:latin typeface="Montserrat"/>
                <a:cs typeface="Arial"/>
              </a:rPr>
              <a:t> </a:t>
            </a:r>
            <a:r>
              <a:rPr lang="en-US" sz="2600">
                <a:solidFill>
                  <a:schemeClr val="bg1"/>
                </a:solidFill>
                <a:latin typeface="Montserrat"/>
                <a:cs typeface="Arial"/>
              </a:rPr>
              <a:t>of</a:t>
            </a:r>
            <a:r>
              <a:rPr lang="en-US" sz="2600" spc="-25">
                <a:solidFill>
                  <a:schemeClr val="bg1"/>
                </a:solidFill>
                <a:latin typeface="Montserrat"/>
                <a:cs typeface="Arial"/>
              </a:rPr>
              <a:t> </a:t>
            </a:r>
            <a:r>
              <a:rPr lang="en-US" sz="2600">
                <a:solidFill>
                  <a:schemeClr val="bg1"/>
                </a:solidFill>
                <a:latin typeface="Montserrat"/>
                <a:cs typeface="Arial"/>
              </a:rPr>
              <a:t>the</a:t>
            </a:r>
            <a:r>
              <a:rPr lang="en-US" sz="2600" spc="-15">
                <a:solidFill>
                  <a:schemeClr val="bg1"/>
                </a:solidFill>
                <a:latin typeface="Montserrat"/>
                <a:cs typeface="Arial"/>
              </a:rPr>
              <a:t> </a:t>
            </a:r>
            <a:r>
              <a:rPr lang="en-US" sz="2600" spc="-10">
                <a:solidFill>
                  <a:schemeClr val="bg1"/>
                </a:solidFill>
                <a:latin typeface="Montserrat"/>
                <a:cs typeface="Arial"/>
              </a:rPr>
              <a:t>game. </a:t>
            </a:r>
            <a:r>
              <a:rPr lang="en-US" sz="2600">
                <a:solidFill>
                  <a:schemeClr val="bg1"/>
                </a:solidFill>
                <a:latin typeface="Montserrat"/>
                <a:cs typeface="Arial"/>
              </a:rPr>
              <a:t>You</a:t>
            </a:r>
            <a:r>
              <a:rPr lang="en-US" sz="2600" spc="-75">
                <a:solidFill>
                  <a:schemeClr val="bg1"/>
                </a:solidFill>
                <a:latin typeface="Montserrat"/>
                <a:cs typeface="Arial"/>
              </a:rPr>
              <a:t> </a:t>
            </a:r>
            <a:r>
              <a:rPr lang="en-US" sz="2600">
                <a:solidFill>
                  <a:schemeClr val="bg1"/>
                </a:solidFill>
                <a:latin typeface="Montserrat"/>
                <a:cs typeface="Arial"/>
              </a:rPr>
              <a:t>can</a:t>
            </a:r>
            <a:r>
              <a:rPr lang="en-US" sz="2600" spc="-90">
                <a:solidFill>
                  <a:schemeClr val="bg1"/>
                </a:solidFill>
                <a:latin typeface="Montserrat"/>
                <a:cs typeface="Arial"/>
              </a:rPr>
              <a:t> </a:t>
            </a:r>
            <a:r>
              <a:rPr lang="en-US" sz="2600">
                <a:solidFill>
                  <a:schemeClr val="bg1"/>
                </a:solidFill>
                <a:latin typeface="Montserrat"/>
                <a:cs typeface="Arial"/>
              </a:rPr>
              <a:t>even</a:t>
            </a:r>
            <a:r>
              <a:rPr lang="en-US" sz="2600" spc="-70">
                <a:solidFill>
                  <a:schemeClr val="bg1"/>
                </a:solidFill>
                <a:latin typeface="Montserrat"/>
                <a:cs typeface="Arial"/>
              </a:rPr>
              <a:t> </a:t>
            </a:r>
            <a:r>
              <a:rPr lang="en-US" sz="2600">
                <a:solidFill>
                  <a:schemeClr val="bg1"/>
                </a:solidFill>
                <a:latin typeface="Montserrat"/>
                <a:cs typeface="Arial"/>
              </a:rPr>
              <a:t>connect</a:t>
            </a:r>
            <a:r>
              <a:rPr lang="en-US" sz="2600" spc="-60">
                <a:solidFill>
                  <a:schemeClr val="bg1"/>
                </a:solidFill>
                <a:latin typeface="Montserrat"/>
                <a:cs typeface="Arial"/>
              </a:rPr>
              <a:t> </a:t>
            </a:r>
            <a:r>
              <a:rPr lang="en-US" sz="2600">
                <a:solidFill>
                  <a:schemeClr val="bg1"/>
                </a:solidFill>
                <a:latin typeface="Montserrat"/>
                <a:cs typeface="Arial"/>
              </a:rPr>
              <a:t>to</a:t>
            </a:r>
            <a:r>
              <a:rPr lang="en-US" sz="2600" spc="-15">
                <a:solidFill>
                  <a:schemeClr val="bg1"/>
                </a:solidFill>
                <a:latin typeface="Montserrat"/>
                <a:cs typeface="Arial"/>
              </a:rPr>
              <a:t> </a:t>
            </a:r>
            <a:r>
              <a:rPr lang="en-US" sz="2600">
                <a:solidFill>
                  <a:schemeClr val="bg1"/>
                </a:solidFill>
                <a:latin typeface="Montserrat"/>
                <a:cs typeface="Arial"/>
              </a:rPr>
              <a:t>your</a:t>
            </a:r>
            <a:r>
              <a:rPr lang="en-US" sz="2600" spc="-90">
                <a:solidFill>
                  <a:schemeClr val="bg1"/>
                </a:solidFill>
                <a:latin typeface="Montserrat"/>
                <a:cs typeface="Arial"/>
              </a:rPr>
              <a:t> </a:t>
            </a:r>
            <a:r>
              <a:rPr lang="en-US" sz="2600">
                <a:solidFill>
                  <a:schemeClr val="bg1"/>
                </a:solidFill>
                <a:latin typeface="Montserrat"/>
                <a:cs typeface="Arial"/>
              </a:rPr>
              <a:t>Google</a:t>
            </a:r>
            <a:r>
              <a:rPr lang="en-US" sz="2600" spc="-85">
                <a:solidFill>
                  <a:schemeClr val="bg1"/>
                </a:solidFill>
                <a:latin typeface="Montserrat"/>
                <a:cs typeface="Arial"/>
              </a:rPr>
              <a:t> </a:t>
            </a:r>
            <a:r>
              <a:rPr lang="en-US" sz="2600" spc="-25">
                <a:solidFill>
                  <a:schemeClr val="bg1"/>
                </a:solidFill>
                <a:latin typeface="Montserrat"/>
                <a:cs typeface="Arial"/>
              </a:rPr>
              <a:t>Smart</a:t>
            </a:r>
            <a:r>
              <a:rPr lang="en-US" sz="2600" spc="-60">
                <a:solidFill>
                  <a:schemeClr val="bg1"/>
                </a:solidFill>
                <a:latin typeface="Montserrat"/>
                <a:cs typeface="Arial"/>
              </a:rPr>
              <a:t> </a:t>
            </a:r>
            <a:r>
              <a:rPr lang="en-US" sz="2600">
                <a:solidFill>
                  <a:schemeClr val="bg1"/>
                </a:solidFill>
                <a:latin typeface="Montserrat"/>
                <a:cs typeface="Arial"/>
              </a:rPr>
              <a:t>Home</a:t>
            </a:r>
            <a:r>
              <a:rPr lang="en-US" sz="2600" spc="-65">
                <a:solidFill>
                  <a:schemeClr val="bg1"/>
                </a:solidFill>
                <a:latin typeface="Montserrat"/>
                <a:cs typeface="Arial"/>
              </a:rPr>
              <a:t> </a:t>
            </a:r>
            <a:r>
              <a:rPr lang="en-US" sz="2600">
                <a:solidFill>
                  <a:schemeClr val="bg1"/>
                </a:solidFill>
                <a:latin typeface="Montserrat"/>
                <a:cs typeface="Arial"/>
              </a:rPr>
              <a:t>devices</a:t>
            </a:r>
            <a:r>
              <a:rPr lang="en-US" sz="2600" spc="-95">
                <a:solidFill>
                  <a:schemeClr val="bg1"/>
                </a:solidFill>
                <a:latin typeface="Montserrat"/>
                <a:cs typeface="Arial"/>
              </a:rPr>
              <a:t> </a:t>
            </a:r>
            <a:r>
              <a:rPr lang="en-US" sz="2600">
                <a:solidFill>
                  <a:schemeClr val="bg1"/>
                </a:solidFill>
                <a:latin typeface="Montserrat"/>
                <a:cs typeface="Arial"/>
              </a:rPr>
              <a:t>and</a:t>
            </a:r>
            <a:r>
              <a:rPr lang="en-US" sz="2600" spc="-40">
                <a:solidFill>
                  <a:schemeClr val="bg1"/>
                </a:solidFill>
                <a:latin typeface="Montserrat"/>
                <a:cs typeface="Arial"/>
              </a:rPr>
              <a:t> </a:t>
            </a:r>
            <a:r>
              <a:rPr lang="en-US" sz="2600">
                <a:solidFill>
                  <a:schemeClr val="bg1"/>
                </a:solidFill>
                <a:latin typeface="Montserrat"/>
                <a:cs typeface="Arial"/>
              </a:rPr>
              <a:t>dim</a:t>
            </a:r>
            <a:r>
              <a:rPr lang="en-US" sz="2600" spc="-85">
                <a:solidFill>
                  <a:schemeClr val="bg1"/>
                </a:solidFill>
                <a:latin typeface="Montserrat"/>
                <a:cs typeface="Arial"/>
              </a:rPr>
              <a:t> </a:t>
            </a:r>
            <a:r>
              <a:rPr lang="en-US" sz="2600">
                <a:solidFill>
                  <a:schemeClr val="bg1"/>
                </a:solidFill>
                <a:latin typeface="Montserrat"/>
                <a:cs typeface="Arial"/>
              </a:rPr>
              <a:t>the</a:t>
            </a:r>
            <a:r>
              <a:rPr lang="en-US" sz="2600" spc="-40">
                <a:solidFill>
                  <a:schemeClr val="bg1"/>
                </a:solidFill>
                <a:latin typeface="Montserrat"/>
                <a:cs typeface="Arial"/>
              </a:rPr>
              <a:t> </a:t>
            </a:r>
            <a:r>
              <a:rPr lang="en-US" sz="2600">
                <a:solidFill>
                  <a:schemeClr val="bg1"/>
                </a:solidFill>
                <a:latin typeface="Montserrat"/>
                <a:cs typeface="Arial"/>
              </a:rPr>
              <a:t>lights</a:t>
            </a:r>
            <a:r>
              <a:rPr lang="en-US" sz="2600" spc="-85">
                <a:solidFill>
                  <a:schemeClr val="bg1"/>
                </a:solidFill>
                <a:latin typeface="Montserrat"/>
                <a:cs typeface="Arial"/>
              </a:rPr>
              <a:t> </a:t>
            </a:r>
            <a:r>
              <a:rPr lang="en-US" sz="2600">
                <a:solidFill>
                  <a:schemeClr val="bg1"/>
                </a:solidFill>
                <a:latin typeface="Montserrat"/>
                <a:cs typeface="Arial"/>
              </a:rPr>
              <a:t>or</a:t>
            </a:r>
            <a:r>
              <a:rPr lang="en-US" sz="2600" spc="-55">
                <a:solidFill>
                  <a:schemeClr val="bg1"/>
                </a:solidFill>
                <a:latin typeface="Montserrat"/>
                <a:cs typeface="Arial"/>
              </a:rPr>
              <a:t> </a:t>
            </a:r>
            <a:r>
              <a:rPr lang="en-US" sz="2600">
                <a:solidFill>
                  <a:schemeClr val="bg1"/>
                </a:solidFill>
                <a:latin typeface="Montserrat"/>
                <a:cs typeface="Arial"/>
              </a:rPr>
              <a:t>adjust</a:t>
            </a:r>
            <a:r>
              <a:rPr lang="en-US" sz="2600" spc="-55">
                <a:solidFill>
                  <a:schemeClr val="bg1"/>
                </a:solidFill>
                <a:latin typeface="Montserrat"/>
                <a:cs typeface="Arial"/>
              </a:rPr>
              <a:t> </a:t>
            </a:r>
            <a:r>
              <a:rPr lang="en-US" sz="2600">
                <a:solidFill>
                  <a:schemeClr val="bg1"/>
                </a:solidFill>
                <a:latin typeface="Montserrat"/>
                <a:cs typeface="Arial"/>
              </a:rPr>
              <a:t>the</a:t>
            </a:r>
            <a:r>
              <a:rPr lang="en-US" sz="2600" spc="-40">
                <a:solidFill>
                  <a:schemeClr val="bg1"/>
                </a:solidFill>
                <a:latin typeface="Montserrat"/>
                <a:cs typeface="Arial"/>
              </a:rPr>
              <a:t> </a:t>
            </a:r>
            <a:r>
              <a:rPr lang="en-US" sz="2600" spc="-10">
                <a:solidFill>
                  <a:schemeClr val="bg1"/>
                </a:solidFill>
                <a:latin typeface="Montserrat"/>
                <a:cs typeface="Arial"/>
              </a:rPr>
              <a:t>thermostat!</a:t>
            </a:r>
            <a:endParaRPr lang="en-US" sz="2600">
              <a:solidFill>
                <a:schemeClr val="bg1"/>
              </a:solidFill>
              <a:latin typeface="Montserrat"/>
              <a:cs typeface="Arial"/>
            </a:endParaRPr>
          </a:p>
          <a:p>
            <a:endParaRPr lang="en-US"/>
          </a:p>
        </p:txBody>
      </p:sp>
      <p:sp>
        <p:nvSpPr>
          <p:cNvPr id="8" name="TextBox 7">
            <a:extLst>
              <a:ext uri="{FF2B5EF4-FFF2-40B4-BE49-F238E27FC236}">
                <a16:creationId xmlns:a16="http://schemas.microsoft.com/office/drawing/2014/main" id="{8639A33F-4556-4B8D-9321-60EA3878FCDE}"/>
              </a:ext>
            </a:extLst>
          </p:cNvPr>
          <p:cNvSpPr txBox="1"/>
          <p:nvPr/>
        </p:nvSpPr>
        <p:spPr>
          <a:xfrm>
            <a:off x="282400" y="3879081"/>
            <a:ext cx="5749006" cy="1046440"/>
          </a:xfrm>
          <a:prstGeom prst="rect">
            <a:avLst/>
          </a:prstGeom>
          <a:noFill/>
        </p:spPr>
        <p:txBody>
          <a:bodyPr wrap="square">
            <a:spAutoFit/>
          </a:bodyPr>
          <a:lstStyle/>
          <a:p>
            <a:pPr marL="12700">
              <a:lnSpc>
                <a:spcPct val="100000"/>
              </a:lnSpc>
              <a:spcBef>
                <a:spcPts val="100"/>
              </a:spcBef>
            </a:pPr>
            <a:r>
              <a:rPr lang="en-US" sz="2200" b="1" spc="-50">
                <a:solidFill>
                  <a:srgbClr val="067AAB"/>
                </a:solidFill>
                <a:latin typeface="Montserrat" panose="00000500000000000000" pitchFamily="2" charset="0"/>
                <a:cs typeface="Arial"/>
              </a:rPr>
              <a:t>Plan</a:t>
            </a:r>
            <a:r>
              <a:rPr lang="en-US" sz="2200" b="1" spc="-140">
                <a:solidFill>
                  <a:srgbClr val="067AAB"/>
                </a:solidFill>
                <a:latin typeface="Montserrat" panose="00000500000000000000" pitchFamily="2" charset="0"/>
                <a:cs typeface="Arial"/>
              </a:rPr>
              <a:t> </a:t>
            </a:r>
            <a:r>
              <a:rPr lang="en-US" sz="2200" b="1" spc="-55">
                <a:solidFill>
                  <a:srgbClr val="067AAB"/>
                </a:solidFill>
                <a:latin typeface="Montserrat" panose="00000500000000000000" pitchFamily="2" charset="0"/>
                <a:cs typeface="Arial"/>
              </a:rPr>
              <a:t>Your</a:t>
            </a:r>
            <a:r>
              <a:rPr lang="en-US" sz="2200" b="1" spc="-135">
                <a:solidFill>
                  <a:srgbClr val="067AAB"/>
                </a:solidFill>
                <a:latin typeface="Montserrat" panose="00000500000000000000" pitchFamily="2" charset="0"/>
                <a:cs typeface="Arial"/>
              </a:rPr>
              <a:t> </a:t>
            </a:r>
            <a:r>
              <a:rPr lang="en-US" sz="2200" b="1" spc="-25">
                <a:solidFill>
                  <a:srgbClr val="067AAB"/>
                </a:solidFill>
                <a:latin typeface="Montserrat" panose="00000500000000000000" pitchFamily="2" charset="0"/>
                <a:cs typeface="Arial"/>
              </a:rPr>
              <a:t>Day</a:t>
            </a:r>
            <a:endParaRPr lang="en-US" sz="2200">
              <a:latin typeface="Montserrat" panose="00000500000000000000" pitchFamily="2" charset="0"/>
              <a:cs typeface="Arial"/>
            </a:endParaRPr>
          </a:p>
          <a:p>
            <a:pPr marL="12700">
              <a:lnSpc>
                <a:spcPct val="100000"/>
              </a:lnSpc>
              <a:spcBef>
                <a:spcPts val="10"/>
              </a:spcBef>
            </a:pPr>
            <a:r>
              <a:rPr lang="en-US" sz="1800" spc="-10">
                <a:solidFill>
                  <a:srgbClr val="004160"/>
                </a:solidFill>
                <a:latin typeface="Montserrat" panose="00000500000000000000" pitchFamily="2" charset="0"/>
                <a:cs typeface="Arial"/>
              </a:rPr>
              <a:t>“</a:t>
            </a:r>
            <a:r>
              <a:rPr lang="en-US" sz="2000" spc="-10">
                <a:solidFill>
                  <a:schemeClr val="bg1"/>
                </a:solidFill>
                <a:latin typeface="Montserrat" panose="00000500000000000000" pitchFamily="2" charset="0"/>
                <a:cs typeface="Arial"/>
              </a:rPr>
              <a:t>Hey</a:t>
            </a:r>
            <a:r>
              <a:rPr lang="en-US" sz="2000" spc="-110">
                <a:solidFill>
                  <a:schemeClr val="bg1"/>
                </a:solidFill>
                <a:latin typeface="Montserrat" panose="00000500000000000000" pitchFamily="2" charset="0"/>
                <a:cs typeface="Arial"/>
              </a:rPr>
              <a:t> </a:t>
            </a:r>
            <a:r>
              <a:rPr lang="en-US" sz="2000" spc="-10">
                <a:solidFill>
                  <a:schemeClr val="bg1"/>
                </a:solidFill>
                <a:latin typeface="Montserrat" panose="00000500000000000000" pitchFamily="2" charset="0"/>
                <a:cs typeface="Arial"/>
              </a:rPr>
              <a:t>Google,</a:t>
            </a:r>
            <a:r>
              <a:rPr lang="en-US" sz="2000" spc="-105">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will</a:t>
            </a:r>
            <a:r>
              <a:rPr lang="en-US" sz="2000" spc="-50">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it</a:t>
            </a:r>
            <a:r>
              <a:rPr lang="en-US" sz="2000" spc="-40">
                <a:solidFill>
                  <a:schemeClr val="bg1"/>
                </a:solidFill>
                <a:latin typeface="Montserrat" panose="00000500000000000000" pitchFamily="2" charset="0"/>
                <a:cs typeface="Arial"/>
              </a:rPr>
              <a:t> </a:t>
            </a:r>
            <a:r>
              <a:rPr lang="en-US" sz="2000" spc="-10">
                <a:solidFill>
                  <a:schemeClr val="bg1"/>
                </a:solidFill>
                <a:latin typeface="Montserrat" panose="00000500000000000000" pitchFamily="2" charset="0"/>
                <a:cs typeface="Arial"/>
              </a:rPr>
              <a:t>rain</a:t>
            </a:r>
            <a:r>
              <a:rPr lang="en-US" sz="2000" spc="-95">
                <a:solidFill>
                  <a:schemeClr val="bg1"/>
                </a:solidFill>
                <a:latin typeface="Montserrat" panose="00000500000000000000" pitchFamily="2" charset="0"/>
                <a:cs typeface="Arial"/>
              </a:rPr>
              <a:t> </a:t>
            </a:r>
            <a:r>
              <a:rPr lang="en-US" sz="2000" spc="-10">
                <a:solidFill>
                  <a:schemeClr val="bg1"/>
                </a:solidFill>
                <a:latin typeface="Montserrat" panose="00000500000000000000" pitchFamily="2" charset="0"/>
                <a:cs typeface="Arial"/>
              </a:rPr>
              <a:t>today?”</a:t>
            </a:r>
            <a:endParaRPr lang="en-US" sz="2000">
              <a:solidFill>
                <a:schemeClr val="bg1"/>
              </a:solidFill>
              <a:latin typeface="Montserrat" panose="00000500000000000000" pitchFamily="2" charset="0"/>
              <a:cs typeface="Arial"/>
            </a:endParaRPr>
          </a:p>
          <a:p>
            <a:pPr marL="12700">
              <a:lnSpc>
                <a:spcPct val="100000"/>
              </a:lnSpc>
            </a:pPr>
            <a:r>
              <a:rPr lang="en-US" sz="2000">
                <a:solidFill>
                  <a:schemeClr val="bg1"/>
                </a:solidFill>
                <a:latin typeface="Montserrat" panose="00000500000000000000" pitchFamily="2" charset="0"/>
                <a:cs typeface="Arial"/>
              </a:rPr>
              <a:t>“How</a:t>
            </a:r>
            <a:r>
              <a:rPr lang="en-US" sz="2000" spc="-45">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long</a:t>
            </a:r>
            <a:r>
              <a:rPr lang="en-US" sz="2000" spc="-25">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will</a:t>
            </a:r>
            <a:r>
              <a:rPr lang="en-US" sz="2000" spc="-50">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it</a:t>
            </a:r>
            <a:r>
              <a:rPr lang="en-US" sz="2000" spc="-50">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take</a:t>
            </a:r>
            <a:r>
              <a:rPr lang="en-US" sz="2000" spc="-55">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to</a:t>
            </a:r>
            <a:r>
              <a:rPr lang="en-US" sz="2000" spc="-15">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get</a:t>
            </a:r>
            <a:r>
              <a:rPr lang="en-US" sz="2000" spc="-20">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to</a:t>
            </a:r>
            <a:r>
              <a:rPr lang="en-US" sz="2000" spc="-55">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Fort</a:t>
            </a:r>
            <a:r>
              <a:rPr lang="en-US" sz="2000" spc="-45">
                <a:solidFill>
                  <a:schemeClr val="bg1"/>
                </a:solidFill>
                <a:latin typeface="Montserrat" panose="00000500000000000000" pitchFamily="2" charset="0"/>
                <a:cs typeface="Arial"/>
              </a:rPr>
              <a:t> </a:t>
            </a:r>
            <a:r>
              <a:rPr lang="en-US" sz="2000" spc="-10">
                <a:solidFill>
                  <a:schemeClr val="bg1"/>
                </a:solidFill>
                <a:latin typeface="Montserrat" panose="00000500000000000000" pitchFamily="2" charset="0"/>
                <a:cs typeface="Arial"/>
              </a:rPr>
              <a:t>Myers?”</a:t>
            </a:r>
            <a:endParaRPr lang="en-US" sz="2000">
              <a:solidFill>
                <a:schemeClr val="bg1"/>
              </a:solidFill>
              <a:latin typeface="Montserrat" panose="00000500000000000000" pitchFamily="2" charset="0"/>
              <a:cs typeface="Arial"/>
            </a:endParaRPr>
          </a:p>
        </p:txBody>
      </p:sp>
      <p:sp>
        <p:nvSpPr>
          <p:cNvPr id="10" name="TextBox 9">
            <a:extLst>
              <a:ext uri="{FF2B5EF4-FFF2-40B4-BE49-F238E27FC236}">
                <a16:creationId xmlns:a16="http://schemas.microsoft.com/office/drawing/2014/main" id="{D019229F-7518-46E8-9DC3-D2A9A67523A8}"/>
              </a:ext>
            </a:extLst>
          </p:cNvPr>
          <p:cNvSpPr txBox="1"/>
          <p:nvPr/>
        </p:nvSpPr>
        <p:spPr>
          <a:xfrm>
            <a:off x="810858" y="5111182"/>
            <a:ext cx="4692090" cy="1046440"/>
          </a:xfrm>
          <a:prstGeom prst="rect">
            <a:avLst/>
          </a:prstGeom>
          <a:noFill/>
        </p:spPr>
        <p:txBody>
          <a:bodyPr wrap="square">
            <a:spAutoFit/>
          </a:bodyPr>
          <a:lstStyle/>
          <a:p>
            <a:pPr marL="12700">
              <a:lnSpc>
                <a:spcPct val="100000"/>
              </a:lnSpc>
              <a:spcBef>
                <a:spcPts val="100"/>
              </a:spcBef>
            </a:pPr>
            <a:r>
              <a:rPr lang="en-US" sz="2200" b="1" spc="-30">
                <a:solidFill>
                  <a:srgbClr val="067AAB"/>
                </a:solidFill>
                <a:latin typeface="Montserrat" panose="00000500000000000000" pitchFamily="2" charset="0"/>
                <a:cs typeface="Arial"/>
              </a:rPr>
              <a:t>Get</a:t>
            </a:r>
            <a:r>
              <a:rPr lang="en-US" sz="2200" b="1" spc="-120">
                <a:solidFill>
                  <a:srgbClr val="067AAB"/>
                </a:solidFill>
                <a:latin typeface="Montserrat" panose="00000500000000000000" pitchFamily="2" charset="0"/>
                <a:cs typeface="Arial"/>
              </a:rPr>
              <a:t> </a:t>
            </a:r>
            <a:r>
              <a:rPr lang="en-US" sz="2200" b="1" spc="-10">
                <a:solidFill>
                  <a:srgbClr val="067AAB"/>
                </a:solidFill>
                <a:latin typeface="Montserrat" panose="00000500000000000000" pitchFamily="2" charset="0"/>
                <a:cs typeface="Arial"/>
              </a:rPr>
              <a:t>Answers</a:t>
            </a:r>
            <a:endParaRPr lang="en-US" sz="2200">
              <a:latin typeface="Montserrat" panose="00000500000000000000" pitchFamily="2" charset="0"/>
              <a:cs typeface="Arial"/>
            </a:endParaRPr>
          </a:p>
          <a:p>
            <a:pPr marL="12700" marR="5080">
              <a:lnSpc>
                <a:spcPct val="100000"/>
              </a:lnSpc>
              <a:spcBef>
                <a:spcPts val="10"/>
              </a:spcBef>
            </a:pPr>
            <a:r>
              <a:rPr lang="en-US" sz="2000" spc="-20">
                <a:solidFill>
                  <a:schemeClr val="bg1"/>
                </a:solidFill>
                <a:latin typeface="Montserrat" panose="00000500000000000000" pitchFamily="2" charset="0"/>
                <a:cs typeface="Arial"/>
              </a:rPr>
              <a:t>“Who</a:t>
            </a:r>
            <a:r>
              <a:rPr lang="en-US" sz="2000" spc="-105">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won</a:t>
            </a:r>
            <a:r>
              <a:rPr lang="en-US" sz="2000" spc="-75">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the</a:t>
            </a:r>
            <a:r>
              <a:rPr lang="en-US" sz="2000" spc="-120">
                <a:solidFill>
                  <a:schemeClr val="bg1"/>
                </a:solidFill>
                <a:latin typeface="Montserrat" panose="00000500000000000000" pitchFamily="2" charset="0"/>
                <a:cs typeface="Arial"/>
              </a:rPr>
              <a:t> </a:t>
            </a:r>
            <a:r>
              <a:rPr lang="en-US" sz="2000" spc="-20">
                <a:solidFill>
                  <a:schemeClr val="bg1"/>
                </a:solidFill>
                <a:latin typeface="Montserrat" panose="00000500000000000000" pitchFamily="2" charset="0"/>
                <a:cs typeface="Arial"/>
              </a:rPr>
              <a:t>Super</a:t>
            </a:r>
            <a:r>
              <a:rPr lang="en-US" sz="2000" spc="-80">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Bowl</a:t>
            </a:r>
            <a:r>
              <a:rPr lang="en-US" sz="2000" spc="-65">
                <a:solidFill>
                  <a:schemeClr val="bg1"/>
                </a:solidFill>
                <a:latin typeface="Montserrat" panose="00000500000000000000" pitchFamily="2" charset="0"/>
                <a:cs typeface="Arial"/>
              </a:rPr>
              <a:t> </a:t>
            </a:r>
            <a:r>
              <a:rPr lang="en-US" sz="2000" spc="-10">
                <a:solidFill>
                  <a:schemeClr val="bg1"/>
                </a:solidFill>
                <a:latin typeface="Montserrat" panose="00000500000000000000" pitchFamily="2" charset="0"/>
                <a:cs typeface="Arial"/>
              </a:rPr>
              <a:t>in</a:t>
            </a:r>
            <a:r>
              <a:rPr lang="en-US" sz="2000" spc="-229">
                <a:solidFill>
                  <a:schemeClr val="bg1"/>
                </a:solidFill>
                <a:latin typeface="Montserrat" panose="00000500000000000000" pitchFamily="2" charset="0"/>
                <a:cs typeface="Arial"/>
              </a:rPr>
              <a:t> </a:t>
            </a:r>
            <a:r>
              <a:rPr lang="en-US" sz="2000" spc="-10">
                <a:solidFill>
                  <a:schemeClr val="bg1"/>
                </a:solidFill>
                <a:latin typeface="Montserrat" panose="00000500000000000000" pitchFamily="2" charset="0"/>
                <a:cs typeface="Arial"/>
              </a:rPr>
              <a:t>1995?” </a:t>
            </a:r>
          </a:p>
          <a:p>
            <a:pPr marL="12700" marR="5080">
              <a:lnSpc>
                <a:spcPct val="100000"/>
              </a:lnSpc>
              <a:spcBef>
                <a:spcPts val="10"/>
              </a:spcBef>
            </a:pPr>
            <a:r>
              <a:rPr lang="en-US" sz="2000" spc="-35">
                <a:solidFill>
                  <a:schemeClr val="bg1"/>
                </a:solidFill>
                <a:latin typeface="Montserrat" panose="00000500000000000000" pitchFamily="2" charset="0"/>
                <a:cs typeface="Arial"/>
              </a:rPr>
              <a:t>“What</a:t>
            </a:r>
            <a:r>
              <a:rPr lang="en-US" sz="2000" spc="-80">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is</a:t>
            </a:r>
            <a:r>
              <a:rPr lang="en-US" sz="2000" spc="-130">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the</a:t>
            </a:r>
            <a:r>
              <a:rPr lang="en-US" sz="2000" spc="-45">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date</a:t>
            </a:r>
            <a:r>
              <a:rPr lang="en-US" sz="2000" spc="-60">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of</a:t>
            </a:r>
            <a:r>
              <a:rPr lang="en-US" sz="2000" spc="-130">
                <a:solidFill>
                  <a:schemeClr val="bg1"/>
                </a:solidFill>
                <a:latin typeface="Montserrat" panose="00000500000000000000" pitchFamily="2" charset="0"/>
                <a:cs typeface="Arial"/>
              </a:rPr>
              <a:t> </a:t>
            </a:r>
            <a:r>
              <a:rPr lang="en-US" sz="2000" spc="-40">
                <a:solidFill>
                  <a:schemeClr val="bg1"/>
                </a:solidFill>
                <a:latin typeface="Montserrat" panose="00000500000000000000" pitchFamily="2" charset="0"/>
                <a:cs typeface="Arial"/>
              </a:rPr>
              <a:t>Easter</a:t>
            </a:r>
            <a:r>
              <a:rPr lang="en-US" sz="2000" spc="-65">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in</a:t>
            </a:r>
            <a:r>
              <a:rPr lang="en-US" sz="2000" spc="-85">
                <a:solidFill>
                  <a:schemeClr val="bg1"/>
                </a:solidFill>
                <a:latin typeface="Montserrat" panose="00000500000000000000" pitchFamily="2" charset="0"/>
                <a:cs typeface="Arial"/>
              </a:rPr>
              <a:t> </a:t>
            </a:r>
            <a:r>
              <a:rPr lang="en-US" sz="2000" spc="-30">
                <a:solidFill>
                  <a:schemeClr val="bg1"/>
                </a:solidFill>
                <a:latin typeface="Montserrat" panose="00000500000000000000" pitchFamily="2" charset="0"/>
                <a:cs typeface="Arial"/>
              </a:rPr>
              <a:t>2021?”</a:t>
            </a:r>
            <a:endParaRPr lang="en-US" sz="2000">
              <a:solidFill>
                <a:schemeClr val="bg1"/>
              </a:solidFill>
              <a:latin typeface="Montserrat" panose="00000500000000000000" pitchFamily="2" charset="0"/>
              <a:cs typeface="Arial"/>
            </a:endParaRPr>
          </a:p>
        </p:txBody>
      </p:sp>
      <p:sp>
        <p:nvSpPr>
          <p:cNvPr id="12" name="TextBox 11">
            <a:extLst>
              <a:ext uri="{FF2B5EF4-FFF2-40B4-BE49-F238E27FC236}">
                <a16:creationId xmlns:a16="http://schemas.microsoft.com/office/drawing/2014/main" id="{7FA5ECB3-37CC-4781-A9CE-0593BB3C5951}"/>
              </a:ext>
            </a:extLst>
          </p:cNvPr>
          <p:cNvSpPr txBox="1"/>
          <p:nvPr/>
        </p:nvSpPr>
        <p:spPr>
          <a:xfrm>
            <a:off x="6327490" y="3983829"/>
            <a:ext cx="5582110" cy="1046440"/>
          </a:xfrm>
          <a:prstGeom prst="rect">
            <a:avLst/>
          </a:prstGeom>
          <a:noFill/>
        </p:spPr>
        <p:txBody>
          <a:bodyPr wrap="square">
            <a:spAutoFit/>
          </a:bodyPr>
          <a:lstStyle/>
          <a:p>
            <a:pPr marL="12700">
              <a:lnSpc>
                <a:spcPct val="100000"/>
              </a:lnSpc>
              <a:spcBef>
                <a:spcPts val="100"/>
              </a:spcBef>
            </a:pPr>
            <a:r>
              <a:rPr lang="en-US" sz="2200" b="1" spc="-60">
                <a:solidFill>
                  <a:srgbClr val="067AAB"/>
                </a:solidFill>
                <a:latin typeface="Montserrat" panose="00000500000000000000" pitchFamily="2" charset="0"/>
                <a:cs typeface="Arial"/>
              </a:rPr>
              <a:t>Play</a:t>
            </a:r>
            <a:r>
              <a:rPr lang="en-US" sz="2200" b="1" spc="-195">
                <a:solidFill>
                  <a:srgbClr val="067AAB"/>
                </a:solidFill>
                <a:latin typeface="Montserrat" panose="00000500000000000000" pitchFamily="2" charset="0"/>
                <a:cs typeface="Arial"/>
              </a:rPr>
              <a:t> </a:t>
            </a:r>
            <a:r>
              <a:rPr lang="en-US" sz="2200" b="1">
                <a:solidFill>
                  <a:srgbClr val="067AAB"/>
                </a:solidFill>
                <a:latin typeface="Montserrat" panose="00000500000000000000" pitchFamily="2" charset="0"/>
                <a:cs typeface="Arial"/>
              </a:rPr>
              <a:t>&amp;</a:t>
            </a:r>
            <a:r>
              <a:rPr lang="en-US" sz="2200" b="1" spc="-180">
                <a:solidFill>
                  <a:srgbClr val="067AAB"/>
                </a:solidFill>
                <a:latin typeface="Montserrat" panose="00000500000000000000" pitchFamily="2" charset="0"/>
                <a:cs typeface="Arial"/>
              </a:rPr>
              <a:t> </a:t>
            </a:r>
            <a:r>
              <a:rPr lang="en-US" sz="2200" b="1" spc="-80">
                <a:solidFill>
                  <a:srgbClr val="067AAB"/>
                </a:solidFill>
                <a:latin typeface="Montserrat" panose="00000500000000000000" pitchFamily="2" charset="0"/>
                <a:cs typeface="Arial"/>
              </a:rPr>
              <a:t>Discover</a:t>
            </a:r>
            <a:r>
              <a:rPr lang="en-US" sz="2200" b="1" spc="-90">
                <a:solidFill>
                  <a:srgbClr val="067AAB"/>
                </a:solidFill>
                <a:latin typeface="Montserrat" panose="00000500000000000000" pitchFamily="2" charset="0"/>
                <a:cs typeface="Arial"/>
              </a:rPr>
              <a:t> </a:t>
            </a:r>
            <a:r>
              <a:rPr lang="en-US" sz="2200" b="1" spc="-10">
                <a:solidFill>
                  <a:srgbClr val="067AAB"/>
                </a:solidFill>
                <a:latin typeface="Montserrat" panose="00000500000000000000" pitchFamily="2" charset="0"/>
                <a:cs typeface="Arial"/>
              </a:rPr>
              <a:t>Content</a:t>
            </a:r>
            <a:endParaRPr lang="en-US" sz="2200">
              <a:latin typeface="Montserrat" panose="00000500000000000000" pitchFamily="2" charset="0"/>
              <a:cs typeface="Arial"/>
            </a:endParaRPr>
          </a:p>
          <a:p>
            <a:pPr marL="12700">
              <a:lnSpc>
                <a:spcPct val="100000"/>
              </a:lnSpc>
              <a:spcBef>
                <a:spcPts val="10"/>
              </a:spcBef>
            </a:pPr>
            <a:r>
              <a:rPr lang="en-US" sz="2000" spc="-60">
                <a:solidFill>
                  <a:schemeClr val="bg1"/>
                </a:solidFill>
                <a:latin typeface="Montserrat" panose="00000500000000000000" pitchFamily="2" charset="0"/>
                <a:cs typeface="Arial"/>
              </a:rPr>
              <a:t>“Play</a:t>
            </a:r>
            <a:r>
              <a:rPr lang="en-US" sz="2000" spc="-90">
                <a:solidFill>
                  <a:schemeClr val="bg1"/>
                </a:solidFill>
                <a:latin typeface="Montserrat" panose="00000500000000000000" pitchFamily="2" charset="0"/>
                <a:cs typeface="Arial"/>
              </a:rPr>
              <a:t> </a:t>
            </a:r>
            <a:r>
              <a:rPr lang="en-US" sz="2000" spc="-25">
                <a:solidFill>
                  <a:schemeClr val="bg1"/>
                </a:solidFill>
                <a:latin typeface="Montserrat" panose="00000500000000000000" pitchFamily="2" charset="0"/>
                <a:cs typeface="Arial"/>
              </a:rPr>
              <a:t>Chicago</a:t>
            </a:r>
            <a:r>
              <a:rPr lang="en-US" sz="2000" spc="-50">
                <a:solidFill>
                  <a:schemeClr val="bg1"/>
                </a:solidFill>
                <a:latin typeface="Montserrat" panose="00000500000000000000" pitchFamily="2" charset="0"/>
                <a:cs typeface="Arial"/>
              </a:rPr>
              <a:t> </a:t>
            </a:r>
            <a:r>
              <a:rPr lang="en-US" sz="2000" spc="-10">
                <a:solidFill>
                  <a:schemeClr val="bg1"/>
                </a:solidFill>
                <a:latin typeface="Montserrat" panose="00000500000000000000" pitchFamily="2" charset="0"/>
                <a:cs typeface="Arial"/>
              </a:rPr>
              <a:t>Fire”</a:t>
            </a:r>
            <a:endParaRPr lang="en-US" sz="2000">
              <a:solidFill>
                <a:schemeClr val="bg1"/>
              </a:solidFill>
              <a:latin typeface="Montserrat" panose="00000500000000000000" pitchFamily="2" charset="0"/>
              <a:cs typeface="Arial"/>
            </a:endParaRPr>
          </a:p>
          <a:p>
            <a:pPr marL="12700">
              <a:lnSpc>
                <a:spcPct val="100000"/>
              </a:lnSpc>
            </a:pPr>
            <a:r>
              <a:rPr lang="en-US" sz="2000" spc="-25">
                <a:solidFill>
                  <a:schemeClr val="bg1"/>
                </a:solidFill>
                <a:latin typeface="Montserrat" panose="00000500000000000000" pitchFamily="2" charset="0"/>
                <a:cs typeface="Arial"/>
              </a:rPr>
              <a:t>“Show</a:t>
            </a:r>
            <a:r>
              <a:rPr lang="en-US" sz="2000" spc="-70">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me</a:t>
            </a:r>
            <a:r>
              <a:rPr lang="en-US" sz="2000" spc="-90">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Action</a:t>
            </a:r>
            <a:r>
              <a:rPr lang="en-US" sz="2000" spc="-70">
                <a:solidFill>
                  <a:schemeClr val="bg1"/>
                </a:solidFill>
                <a:latin typeface="Montserrat" panose="00000500000000000000" pitchFamily="2" charset="0"/>
                <a:cs typeface="Arial"/>
              </a:rPr>
              <a:t> </a:t>
            </a:r>
            <a:r>
              <a:rPr lang="en-US" sz="2000" spc="-20">
                <a:solidFill>
                  <a:schemeClr val="bg1"/>
                </a:solidFill>
                <a:latin typeface="Montserrat" panose="00000500000000000000" pitchFamily="2" charset="0"/>
                <a:cs typeface="Arial"/>
              </a:rPr>
              <a:t>Movies</a:t>
            </a:r>
            <a:r>
              <a:rPr lang="en-US" sz="2000" spc="-120">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with</a:t>
            </a:r>
            <a:r>
              <a:rPr lang="en-US" sz="2000" spc="-80">
                <a:solidFill>
                  <a:schemeClr val="bg1"/>
                </a:solidFill>
                <a:latin typeface="Montserrat" panose="00000500000000000000" pitchFamily="2" charset="0"/>
                <a:cs typeface="Arial"/>
              </a:rPr>
              <a:t> </a:t>
            </a:r>
            <a:r>
              <a:rPr lang="en-US" sz="2000" spc="-20">
                <a:solidFill>
                  <a:schemeClr val="bg1"/>
                </a:solidFill>
                <a:latin typeface="Montserrat" panose="00000500000000000000" pitchFamily="2" charset="0"/>
                <a:cs typeface="Arial"/>
              </a:rPr>
              <a:t>Bruce</a:t>
            </a:r>
            <a:r>
              <a:rPr lang="en-US" sz="2000" spc="-114">
                <a:solidFill>
                  <a:schemeClr val="bg1"/>
                </a:solidFill>
                <a:latin typeface="Montserrat" panose="00000500000000000000" pitchFamily="2" charset="0"/>
                <a:cs typeface="Arial"/>
              </a:rPr>
              <a:t> </a:t>
            </a:r>
            <a:r>
              <a:rPr lang="en-US" sz="2000" spc="-10">
                <a:solidFill>
                  <a:schemeClr val="bg1"/>
                </a:solidFill>
                <a:latin typeface="Montserrat" panose="00000500000000000000" pitchFamily="2" charset="0"/>
                <a:cs typeface="Arial"/>
              </a:rPr>
              <a:t>Willis”</a:t>
            </a:r>
            <a:endParaRPr lang="en-US" sz="2000">
              <a:solidFill>
                <a:schemeClr val="bg1"/>
              </a:solidFill>
              <a:latin typeface="Montserrat" panose="00000500000000000000" pitchFamily="2" charset="0"/>
              <a:cs typeface="Arial"/>
            </a:endParaRPr>
          </a:p>
        </p:txBody>
      </p:sp>
      <p:sp>
        <p:nvSpPr>
          <p:cNvPr id="14" name="TextBox 13">
            <a:extLst>
              <a:ext uri="{FF2B5EF4-FFF2-40B4-BE49-F238E27FC236}">
                <a16:creationId xmlns:a16="http://schemas.microsoft.com/office/drawing/2014/main" id="{58A76D3E-6A4B-4F03-95A1-E44AD8858145}"/>
              </a:ext>
            </a:extLst>
          </p:cNvPr>
          <p:cNvSpPr txBox="1"/>
          <p:nvPr/>
        </p:nvSpPr>
        <p:spPr>
          <a:xfrm>
            <a:off x="6889370" y="5309826"/>
            <a:ext cx="5150177" cy="1059264"/>
          </a:xfrm>
          <a:prstGeom prst="rect">
            <a:avLst/>
          </a:prstGeom>
          <a:noFill/>
        </p:spPr>
        <p:txBody>
          <a:bodyPr wrap="square">
            <a:spAutoFit/>
          </a:bodyPr>
          <a:lstStyle/>
          <a:p>
            <a:pPr marL="12700">
              <a:lnSpc>
                <a:spcPct val="100000"/>
              </a:lnSpc>
              <a:spcBef>
                <a:spcPts val="100"/>
              </a:spcBef>
            </a:pPr>
            <a:r>
              <a:rPr lang="en-US" sz="2200" b="1" spc="-60">
                <a:solidFill>
                  <a:srgbClr val="067AAB"/>
                </a:solidFill>
                <a:latin typeface="Montserrat" panose="00000500000000000000" pitchFamily="2" charset="0"/>
                <a:cs typeface="Arial"/>
              </a:rPr>
              <a:t>Control</a:t>
            </a:r>
            <a:r>
              <a:rPr lang="en-US" sz="2200" b="1" spc="-155">
                <a:solidFill>
                  <a:srgbClr val="067AAB"/>
                </a:solidFill>
                <a:latin typeface="Montserrat" panose="00000500000000000000" pitchFamily="2" charset="0"/>
                <a:cs typeface="Arial"/>
              </a:rPr>
              <a:t> </a:t>
            </a:r>
            <a:r>
              <a:rPr lang="en-US" sz="2200" b="1" spc="-75">
                <a:solidFill>
                  <a:srgbClr val="067AAB"/>
                </a:solidFill>
                <a:latin typeface="Montserrat" panose="00000500000000000000" pitchFamily="2" charset="0"/>
                <a:cs typeface="Arial"/>
              </a:rPr>
              <a:t>Google</a:t>
            </a:r>
            <a:r>
              <a:rPr lang="en-US" sz="2200" b="1" spc="-80">
                <a:solidFill>
                  <a:srgbClr val="067AAB"/>
                </a:solidFill>
                <a:latin typeface="Montserrat" panose="00000500000000000000" pitchFamily="2" charset="0"/>
                <a:cs typeface="Arial"/>
              </a:rPr>
              <a:t> </a:t>
            </a:r>
            <a:r>
              <a:rPr lang="en-US" sz="2200" b="1" spc="-25">
                <a:solidFill>
                  <a:srgbClr val="067AAB"/>
                </a:solidFill>
                <a:latin typeface="Montserrat" panose="00000500000000000000" pitchFamily="2" charset="0"/>
                <a:cs typeface="Arial"/>
              </a:rPr>
              <a:t>Home</a:t>
            </a:r>
            <a:r>
              <a:rPr lang="en-US" sz="2200" b="1" spc="-75">
                <a:solidFill>
                  <a:srgbClr val="067AAB"/>
                </a:solidFill>
                <a:latin typeface="Montserrat" panose="00000500000000000000" pitchFamily="2" charset="0"/>
                <a:cs typeface="Arial"/>
              </a:rPr>
              <a:t> </a:t>
            </a:r>
            <a:r>
              <a:rPr lang="en-US" sz="2200" b="1" spc="-50">
                <a:solidFill>
                  <a:srgbClr val="067AAB"/>
                </a:solidFill>
                <a:latin typeface="Montserrat" panose="00000500000000000000" pitchFamily="2" charset="0"/>
                <a:cs typeface="Arial"/>
              </a:rPr>
              <a:t>Devices</a:t>
            </a:r>
            <a:endParaRPr lang="en-US" sz="2200" b="1">
              <a:latin typeface="Montserrat" panose="00000500000000000000" pitchFamily="2" charset="0"/>
              <a:cs typeface="Arial"/>
            </a:endParaRPr>
          </a:p>
          <a:p>
            <a:pPr marL="12700">
              <a:lnSpc>
                <a:spcPct val="100000"/>
              </a:lnSpc>
              <a:spcBef>
                <a:spcPts val="100"/>
              </a:spcBef>
            </a:pPr>
            <a:r>
              <a:rPr lang="en-US" sz="2000" spc="-20">
                <a:solidFill>
                  <a:schemeClr val="bg1"/>
                </a:solidFill>
                <a:latin typeface="Montserrat" panose="00000500000000000000" pitchFamily="2" charset="0"/>
                <a:cs typeface="Arial"/>
              </a:rPr>
              <a:t>“Dim</a:t>
            </a:r>
            <a:r>
              <a:rPr lang="en-US" sz="2000" spc="-105">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the</a:t>
            </a:r>
            <a:r>
              <a:rPr lang="en-US" sz="2000" spc="-20">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bedroom</a:t>
            </a:r>
            <a:r>
              <a:rPr lang="en-US" sz="2000" spc="-55">
                <a:solidFill>
                  <a:schemeClr val="bg1"/>
                </a:solidFill>
                <a:latin typeface="Montserrat" panose="00000500000000000000" pitchFamily="2" charset="0"/>
                <a:cs typeface="Arial"/>
              </a:rPr>
              <a:t> </a:t>
            </a:r>
            <a:r>
              <a:rPr lang="en-US" sz="2000" spc="-10">
                <a:solidFill>
                  <a:schemeClr val="bg1"/>
                </a:solidFill>
                <a:latin typeface="Montserrat" panose="00000500000000000000" pitchFamily="2" charset="0"/>
                <a:cs typeface="Arial"/>
              </a:rPr>
              <a:t>lights”</a:t>
            </a:r>
            <a:endParaRPr lang="en-US" sz="2000">
              <a:solidFill>
                <a:schemeClr val="bg1"/>
              </a:solidFill>
              <a:latin typeface="Montserrat" panose="00000500000000000000" pitchFamily="2" charset="0"/>
              <a:cs typeface="Arial"/>
            </a:endParaRPr>
          </a:p>
          <a:p>
            <a:pPr marL="12700">
              <a:lnSpc>
                <a:spcPct val="100000"/>
              </a:lnSpc>
            </a:pPr>
            <a:r>
              <a:rPr lang="en-US" sz="2000" spc="-25">
                <a:solidFill>
                  <a:schemeClr val="bg1"/>
                </a:solidFill>
                <a:latin typeface="Montserrat" panose="00000500000000000000" pitchFamily="2" charset="0"/>
                <a:cs typeface="Arial"/>
              </a:rPr>
              <a:t>“Set</a:t>
            </a:r>
            <a:r>
              <a:rPr lang="en-US" sz="2000" spc="-65">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the</a:t>
            </a:r>
            <a:r>
              <a:rPr lang="en-US" sz="2000" spc="-65">
                <a:solidFill>
                  <a:schemeClr val="bg1"/>
                </a:solidFill>
                <a:latin typeface="Montserrat" panose="00000500000000000000" pitchFamily="2" charset="0"/>
                <a:cs typeface="Arial"/>
              </a:rPr>
              <a:t> </a:t>
            </a:r>
            <a:r>
              <a:rPr lang="en-US" sz="2000" spc="-10">
                <a:solidFill>
                  <a:schemeClr val="bg1"/>
                </a:solidFill>
                <a:latin typeface="Montserrat" panose="00000500000000000000" pitchFamily="2" charset="0"/>
                <a:cs typeface="Arial"/>
              </a:rPr>
              <a:t>temperature</a:t>
            </a:r>
            <a:r>
              <a:rPr lang="en-US" sz="2000" spc="-75">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to</a:t>
            </a:r>
            <a:r>
              <a:rPr lang="en-US" sz="2000" spc="-60">
                <a:solidFill>
                  <a:schemeClr val="bg1"/>
                </a:solidFill>
                <a:latin typeface="Montserrat" panose="00000500000000000000" pitchFamily="2" charset="0"/>
                <a:cs typeface="Arial"/>
              </a:rPr>
              <a:t> </a:t>
            </a:r>
            <a:r>
              <a:rPr lang="en-US" sz="2000">
                <a:solidFill>
                  <a:schemeClr val="bg1"/>
                </a:solidFill>
                <a:latin typeface="Montserrat" panose="00000500000000000000" pitchFamily="2" charset="0"/>
                <a:cs typeface="Arial"/>
              </a:rPr>
              <a:t>73</a:t>
            </a:r>
            <a:r>
              <a:rPr lang="en-US" sz="2000" spc="-100">
                <a:solidFill>
                  <a:schemeClr val="bg1"/>
                </a:solidFill>
                <a:latin typeface="Montserrat" panose="00000500000000000000" pitchFamily="2" charset="0"/>
                <a:cs typeface="Arial"/>
              </a:rPr>
              <a:t> </a:t>
            </a:r>
            <a:r>
              <a:rPr lang="en-US" sz="2000" spc="-10">
                <a:solidFill>
                  <a:schemeClr val="bg1"/>
                </a:solidFill>
                <a:latin typeface="Montserrat" panose="00000500000000000000" pitchFamily="2" charset="0"/>
                <a:cs typeface="Arial"/>
              </a:rPr>
              <a:t>degrees”</a:t>
            </a:r>
            <a:endParaRPr lang="en-US" sz="2000">
              <a:solidFill>
                <a:schemeClr val="bg1"/>
              </a:solidFill>
              <a:latin typeface="Montserrat" panose="00000500000000000000" pitchFamily="2" charset="0"/>
              <a:cs typeface="Arial"/>
            </a:endParaRPr>
          </a:p>
        </p:txBody>
      </p:sp>
      <p:pic>
        <p:nvPicPr>
          <p:cNvPr id="15" name="object 15">
            <a:extLst>
              <a:ext uri="{FF2B5EF4-FFF2-40B4-BE49-F238E27FC236}">
                <a16:creationId xmlns:a16="http://schemas.microsoft.com/office/drawing/2014/main" id="{DCC4E450-F8A5-4551-8602-B61DC86F33E6}"/>
              </a:ext>
            </a:extLst>
          </p:cNvPr>
          <p:cNvPicPr/>
          <p:nvPr/>
        </p:nvPicPr>
        <p:blipFill>
          <a:blip r:embed="rId3" cstate="print"/>
          <a:stretch>
            <a:fillRect/>
          </a:stretch>
        </p:blipFill>
        <p:spPr>
          <a:xfrm>
            <a:off x="3003555" y="2813212"/>
            <a:ext cx="4850142" cy="1207575"/>
          </a:xfrm>
          <a:prstGeom prst="rect">
            <a:avLst/>
          </a:prstGeom>
        </p:spPr>
      </p:pic>
    </p:spTree>
    <p:extLst>
      <p:ext uri="{BB962C8B-B14F-4D97-AF65-F5344CB8AC3E}">
        <p14:creationId xmlns:p14="http://schemas.microsoft.com/office/powerpoint/2010/main" val="33657205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7916D-588D-1FC1-315D-DD91326F4718}"/>
              </a:ext>
            </a:extLst>
          </p:cNvPr>
          <p:cNvSpPr>
            <a:spLocks noGrp="1"/>
          </p:cNvSpPr>
          <p:nvPr>
            <p:ph type="title"/>
          </p:nvPr>
        </p:nvSpPr>
        <p:spPr>
          <a:xfrm>
            <a:off x="240679" y="190254"/>
            <a:ext cx="10404087" cy="1325563"/>
          </a:xfrm>
        </p:spPr>
        <p:txBody>
          <a:bodyPr/>
          <a:lstStyle/>
          <a:p>
            <a:r>
              <a:rPr lang="en-US">
                <a:latin typeface="Montserrat"/>
              </a:rPr>
              <a:t>Our TV Service Works With</a:t>
            </a:r>
            <a:br>
              <a:rPr lang="en-US">
                <a:latin typeface="Montserrat"/>
              </a:rPr>
            </a:br>
            <a:r>
              <a:rPr lang="en-US">
                <a:latin typeface="Montserrat"/>
              </a:rPr>
              <a:t>Your Devices</a:t>
            </a:r>
            <a:endParaRPr lang="en-US"/>
          </a:p>
        </p:txBody>
      </p:sp>
      <p:grpSp>
        <p:nvGrpSpPr>
          <p:cNvPr id="4" name="object 7">
            <a:extLst>
              <a:ext uri="{FF2B5EF4-FFF2-40B4-BE49-F238E27FC236}">
                <a16:creationId xmlns:a16="http://schemas.microsoft.com/office/drawing/2014/main" id="{52E7EEC4-A254-4A24-97F7-5496AA7109E0}"/>
              </a:ext>
            </a:extLst>
          </p:cNvPr>
          <p:cNvGrpSpPr/>
          <p:nvPr/>
        </p:nvGrpSpPr>
        <p:grpSpPr>
          <a:xfrm>
            <a:off x="839564" y="1670443"/>
            <a:ext cx="10401300" cy="2988310"/>
            <a:chOff x="358902" y="1851660"/>
            <a:chExt cx="10401300" cy="2988310"/>
          </a:xfrm>
        </p:grpSpPr>
        <p:pic>
          <p:nvPicPr>
            <p:cNvPr id="5" name="object 8">
              <a:extLst>
                <a:ext uri="{FF2B5EF4-FFF2-40B4-BE49-F238E27FC236}">
                  <a16:creationId xmlns:a16="http://schemas.microsoft.com/office/drawing/2014/main" id="{46F4FDE4-5BE4-4387-B98A-72E206E2F0A9}"/>
                </a:ext>
              </a:extLst>
            </p:cNvPr>
            <p:cNvPicPr/>
            <p:nvPr/>
          </p:nvPicPr>
          <p:blipFill>
            <a:blip r:embed="rId3" cstate="print"/>
            <a:stretch>
              <a:fillRect/>
            </a:stretch>
          </p:blipFill>
          <p:spPr>
            <a:xfrm>
              <a:off x="4419599" y="3089148"/>
              <a:ext cx="2368295" cy="1047749"/>
            </a:xfrm>
            <a:prstGeom prst="rect">
              <a:avLst/>
            </a:prstGeom>
          </p:spPr>
        </p:pic>
        <p:pic>
          <p:nvPicPr>
            <p:cNvPr id="6" name="object 9">
              <a:extLst>
                <a:ext uri="{FF2B5EF4-FFF2-40B4-BE49-F238E27FC236}">
                  <a16:creationId xmlns:a16="http://schemas.microsoft.com/office/drawing/2014/main" id="{2EC3F915-B34B-4EF1-AC2E-EFA4A2423D15}"/>
                </a:ext>
              </a:extLst>
            </p:cNvPr>
            <p:cNvPicPr/>
            <p:nvPr/>
          </p:nvPicPr>
          <p:blipFill>
            <a:blip r:embed="rId4" cstate="print"/>
            <a:stretch>
              <a:fillRect/>
            </a:stretch>
          </p:blipFill>
          <p:spPr>
            <a:xfrm>
              <a:off x="7817358" y="1851660"/>
              <a:ext cx="2882645" cy="567689"/>
            </a:xfrm>
            <a:prstGeom prst="rect">
              <a:avLst/>
            </a:prstGeom>
          </p:spPr>
        </p:pic>
        <p:pic>
          <p:nvPicPr>
            <p:cNvPr id="7" name="object 10">
              <a:extLst>
                <a:ext uri="{FF2B5EF4-FFF2-40B4-BE49-F238E27FC236}">
                  <a16:creationId xmlns:a16="http://schemas.microsoft.com/office/drawing/2014/main" id="{BBA0253F-1F12-402C-83A9-600BB51F8B73}"/>
                </a:ext>
              </a:extLst>
            </p:cNvPr>
            <p:cNvPicPr/>
            <p:nvPr/>
          </p:nvPicPr>
          <p:blipFill>
            <a:blip r:embed="rId5" cstate="print"/>
            <a:stretch>
              <a:fillRect/>
            </a:stretch>
          </p:blipFill>
          <p:spPr>
            <a:xfrm>
              <a:off x="358902" y="2706624"/>
              <a:ext cx="2848355" cy="2132837"/>
            </a:xfrm>
            <a:prstGeom prst="rect">
              <a:avLst/>
            </a:prstGeom>
          </p:spPr>
        </p:pic>
        <p:pic>
          <p:nvPicPr>
            <p:cNvPr id="8" name="object 11">
              <a:extLst>
                <a:ext uri="{FF2B5EF4-FFF2-40B4-BE49-F238E27FC236}">
                  <a16:creationId xmlns:a16="http://schemas.microsoft.com/office/drawing/2014/main" id="{06BB0BE0-2F8E-43FB-A499-41ADEF3C5E7D}"/>
                </a:ext>
              </a:extLst>
            </p:cNvPr>
            <p:cNvPicPr/>
            <p:nvPr/>
          </p:nvPicPr>
          <p:blipFill>
            <a:blip r:embed="rId6" cstate="print"/>
            <a:stretch>
              <a:fillRect/>
            </a:stretch>
          </p:blipFill>
          <p:spPr>
            <a:xfrm>
              <a:off x="8017002" y="2803398"/>
              <a:ext cx="2743199" cy="1624583"/>
            </a:xfrm>
            <a:prstGeom prst="rect">
              <a:avLst/>
            </a:prstGeom>
          </p:spPr>
        </p:pic>
      </p:grpSp>
      <p:sp>
        <p:nvSpPr>
          <p:cNvPr id="9" name="TextBox 8">
            <a:extLst>
              <a:ext uri="{FF2B5EF4-FFF2-40B4-BE49-F238E27FC236}">
                <a16:creationId xmlns:a16="http://schemas.microsoft.com/office/drawing/2014/main" id="{A6AEC0D2-575E-43F6-8309-AE5C341420C3}"/>
              </a:ext>
            </a:extLst>
          </p:cNvPr>
          <p:cNvSpPr txBox="1"/>
          <p:nvPr/>
        </p:nvSpPr>
        <p:spPr>
          <a:xfrm>
            <a:off x="1116404" y="4833355"/>
            <a:ext cx="2705493" cy="677108"/>
          </a:xfrm>
          <a:prstGeom prst="rect">
            <a:avLst/>
          </a:prstGeom>
          <a:noFill/>
        </p:spPr>
        <p:txBody>
          <a:bodyPr wrap="square" lIns="91440" tIns="45720" rIns="91440" bIns="45720" rtlCol="0" anchor="t">
            <a:spAutoFit/>
          </a:bodyPr>
          <a:lstStyle/>
          <a:p>
            <a:r>
              <a:rPr lang="en-US" sz="2000" b="1" spc="-80">
                <a:solidFill>
                  <a:srgbClr val="22B990"/>
                </a:solidFill>
                <a:latin typeface="Montserrat"/>
                <a:cs typeface="Arial"/>
              </a:rPr>
              <a:t>Phones</a:t>
            </a:r>
            <a:r>
              <a:rPr lang="en-US" sz="2000" b="1" spc="-160">
                <a:solidFill>
                  <a:srgbClr val="22B990"/>
                </a:solidFill>
                <a:latin typeface="Montserrat"/>
                <a:cs typeface="Arial"/>
              </a:rPr>
              <a:t> </a:t>
            </a:r>
            <a:r>
              <a:rPr lang="en-US" sz="2000" b="1" spc="-20">
                <a:solidFill>
                  <a:srgbClr val="22B990"/>
                </a:solidFill>
                <a:latin typeface="Montserrat"/>
                <a:cs typeface="Arial"/>
              </a:rPr>
              <a:t>&amp;</a:t>
            </a:r>
            <a:r>
              <a:rPr lang="en-US" sz="2000" b="1" spc="-135">
                <a:solidFill>
                  <a:srgbClr val="22B990"/>
                </a:solidFill>
                <a:latin typeface="Montserrat"/>
                <a:cs typeface="Arial"/>
              </a:rPr>
              <a:t> </a:t>
            </a:r>
            <a:r>
              <a:rPr lang="en-US" sz="2000" b="1" spc="-20">
                <a:solidFill>
                  <a:srgbClr val="22B990"/>
                </a:solidFill>
                <a:latin typeface="Montserrat"/>
                <a:cs typeface="Arial"/>
              </a:rPr>
              <a:t>Tablets</a:t>
            </a:r>
            <a:endParaRPr lang="en-US" sz="2000">
              <a:solidFill>
                <a:srgbClr val="22B990"/>
              </a:solidFill>
              <a:latin typeface="Montserrat"/>
              <a:cs typeface="Arial"/>
            </a:endParaRPr>
          </a:p>
          <a:p>
            <a:endParaRPr lang="en-US"/>
          </a:p>
        </p:txBody>
      </p:sp>
      <p:sp>
        <p:nvSpPr>
          <p:cNvPr id="10" name="TextBox 9">
            <a:extLst>
              <a:ext uri="{FF2B5EF4-FFF2-40B4-BE49-F238E27FC236}">
                <a16:creationId xmlns:a16="http://schemas.microsoft.com/office/drawing/2014/main" id="{9479AE8C-04B1-4C09-A65A-B18966411099}"/>
              </a:ext>
            </a:extLst>
          </p:cNvPr>
          <p:cNvSpPr txBox="1"/>
          <p:nvPr/>
        </p:nvSpPr>
        <p:spPr>
          <a:xfrm>
            <a:off x="4869526" y="4839272"/>
            <a:ext cx="6881567" cy="400110"/>
          </a:xfrm>
          <a:prstGeom prst="rect">
            <a:avLst/>
          </a:prstGeom>
          <a:noFill/>
        </p:spPr>
        <p:txBody>
          <a:bodyPr wrap="square" lIns="91440" tIns="45720" rIns="91440" bIns="45720" rtlCol="0" anchor="t">
            <a:spAutoFit/>
          </a:bodyPr>
          <a:lstStyle/>
          <a:p>
            <a:r>
              <a:rPr lang="en-US" sz="2000" b="1" spc="-65">
                <a:solidFill>
                  <a:srgbClr val="22B990"/>
                </a:solidFill>
                <a:latin typeface="Montserrat"/>
                <a:cs typeface="Arial"/>
              </a:rPr>
              <a:t>Amazon</a:t>
            </a:r>
            <a:r>
              <a:rPr lang="en-US" sz="2000" b="1" spc="-135">
                <a:solidFill>
                  <a:srgbClr val="22B990"/>
                </a:solidFill>
                <a:latin typeface="Montserrat"/>
                <a:cs typeface="Arial"/>
              </a:rPr>
              <a:t> </a:t>
            </a:r>
            <a:r>
              <a:rPr lang="en-US" sz="2000" b="1" spc="-55">
                <a:solidFill>
                  <a:srgbClr val="22B990"/>
                </a:solidFill>
                <a:latin typeface="Montserrat"/>
                <a:cs typeface="Arial"/>
              </a:rPr>
              <a:t>Fire</a:t>
            </a:r>
            <a:r>
              <a:rPr lang="en-US" sz="2000" b="1" spc="-85">
                <a:solidFill>
                  <a:srgbClr val="22B990"/>
                </a:solidFill>
                <a:latin typeface="Montserrat"/>
                <a:cs typeface="Arial"/>
              </a:rPr>
              <a:t> </a:t>
            </a:r>
            <a:r>
              <a:rPr lang="en-US" sz="2000" b="1" spc="-10">
                <a:solidFill>
                  <a:srgbClr val="22B990"/>
                </a:solidFill>
                <a:latin typeface="Montserrat"/>
                <a:cs typeface="Arial"/>
              </a:rPr>
              <a:t>TV</a:t>
            </a:r>
            <a:r>
              <a:rPr lang="en-US" sz="2000" b="1" spc="-85">
                <a:solidFill>
                  <a:srgbClr val="22B990"/>
                </a:solidFill>
                <a:latin typeface="Montserrat"/>
                <a:cs typeface="Arial"/>
              </a:rPr>
              <a:t> </a:t>
            </a:r>
            <a:r>
              <a:rPr lang="en-US" sz="2000" b="1" spc="-10">
                <a:solidFill>
                  <a:srgbClr val="22B990"/>
                </a:solidFill>
                <a:latin typeface="Montserrat"/>
                <a:cs typeface="Arial"/>
              </a:rPr>
              <a:t>Sticks  </a:t>
            </a:r>
            <a:r>
              <a:rPr lang="en-US" sz="2000" b="1" spc="-10">
                <a:solidFill>
                  <a:srgbClr val="40AC47"/>
                </a:solidFill>
                <a:latin typeface="Montserrat"/>
                <a:cs typeface="Arial"/>
              </a:rPr>
              <a:t>                   </a:t>
            </a:r>
            <a:r>
              <a:rPr lang="en-US" sz="2000" b="1" spc="-10">
                <a:solidFill>
                  <a:srgbClr val="22B990"/>
                </a:solidFill>
                <a:latin typeface="Montserrat"/>
                <a:cs typeface="Arial"/>
              </a:rPr>
              <a:t> </a:t>
            </a:r>
            <a:r>
              <a:rPr lang="en-US" sz="2000" b="1" spc="-60">
                <a:solidFill>
                  <a:srgbClr val="22B990"/>
                </a:solidFill>
                <a:latin typeface="Montserrat"/>
                <a:cs typeface="Arial"/>
              </a:rPr>
              <a:t>Apple </a:t>
            </a:r>
            <a:r>
              <a:rPr lang="en-US" sz="2000" b="1" spc="-25">
                <a:solidFill>
                  <a:srgbClr val="22B990"/>
                </a:solidFill>
                <a:latin typeface="Montserrat"/>
                <a:cs typeface="Arial"/>
              </a:rPr>
              <a:t>TV</a:t>
            </a:r>
            <a:endParaRPr lang="en-US" sz="2000">
              <a:solidFill>
                <a:srgbClr val="22B990"/>
              </a:solidFill>
              <a:latin typeface="Montserrat"/>
              <a:cs typeface="Arial"/>
            </a:endParaRPr>
          </a:p>
        </p:txBody>
      </p:sp>
      <p:sp>
        <p:nvSpPr>
          <p:cNvPr id="11" name="TextBox 10">
            <a:extLst>
              <a:ext uri="{FF2B5EF4-FFF2-40B4-BE49-F238E27FC236}">
                <a16:creationId xmlns:a16="http://schemas.microsoft.com/office/drawing/2014/main" id="{E367B0E6-2FD2-4E2B-A4A9-41868004E9A2}"/>
              </a:ext>
            </a:extLst>
          </p:cNvPr>
          <p:cNvSpPr txBox="1"/>
          <p:nvPr/>
        </p:nvSpPr>
        <p:spPr>
          <a:xfrm>
            <a:off x="1238864" y="5771026"/>
            <a:ext cx="10002000" cy="769441"/>
          </a:xfrm>
          <a:prstGeom prst="rect">
            <a:avLst/>
          </a:prstGeom>
          <a:noFill/>
        </p:spPr>
        <p:txBody>
          <a:bodyPr wrap="square" rtlCol="0">
            <a:spAutoFit/>
          </a:bodyPr>
          <a:lstStyle/>
          <a:p>
            <a:r>
              <a:rPr lang="en-US" sz="2600" b="1" spc="-65">
                <a:solidFill>
                  <a:srgbClr val="067AAB"/>
                </a:solidFill>
                <a:latin typeface="Montserrat" panose="00000500000000000000" pitchFamily="2" charset="0"/>
                <a:cs typeface="Arial"/>
              </a:rPr>
              <a:t>Watch</a:t>
            </a:r>
            <a:r>
              <a:rPr lang="en-US" sz="2600" b="1" spc="-204">
                <a:solidFill>
                  <a:srgbClr val="067AAB"/>
                </a:solidFill>
                <a:latin typeface="Montserrat" panose="00000500000000000000" pitchFamily="2" charset="0"/>
                <a:cs typeface="Arial"/>
              </a:rPr>
              <a:t> </a:t>
            </a:r>
            <a:r>
              <a:rPr lang="en-US" sz="2600" b="1" spc="-95">
                <a:solidFill>
                  <a:srgbClr val="067AAB"/>
                </a:solidFill>
                <a:latin typeface="Montserrat" panose="00000500000000000000" pitchFamily="2" charset="0"/>
                <a:cs typeface="Arial"/>
              </a:rPr>
              <a:t>Live</a:t>
            </a:r>
            <a:r>
              <a:rPr lang="en-US" sz="2600" b="1" spc="-75">
                <a:solidFill>
                  <a:srgbClr val="067AAB"/>
                </a:solidFill>
                <a:latin typeface="Montserrat" panose="00000500000000000000" pitchFamily="2" charset="0"/>
                <a:cs typeface="Arial"/>
              </a:rPr>
              <a:t> </a:t>
            </a:r>
            <a:r>
              <a:rPr lang="en-US" sz="2600" b="1" spc="-10">
                <a:solidFill>
                  <a:srgbClr val="067AAB"/>
                </a:solidFill>
                <a:latin typeface="Montserrat" panose="00000500000000000000" pitchFamily="2" charset="0"/>
                <a:cs typeface="Arial"/>
              </a:rPr>
              <a:t>TV,</a:t>
            </a:r>
            <a:r>
              <a:rPr lang="en-US" sz="2600" b="1" spc="-70">
                <a:solidFill>
                  <a:srgbClr val="067AAB"/>
                </a:solidFill>
                <a:latin typeface="Montserrat" panose="00000500000000000000" pitchFamily="2" charset="0"/>
                <a:cs typeface="Arial"/>
              </a:rPr>
              <a:t> </a:t>
            </a:r>
            <a:r>
              <a:rPr lang="en-US" sz="2600" b="1" spc="-50">
                <a:solidFill>
                  <a:srgbClr val="067AAB"/>
                </a:solidFill>
                <a:latin typeface="Montserrat" panose="00000500000000000000" pitchFamily="2" charset="0"/>
                <a:cs typeface="Arial"/>
              </a:rPr>
              <a:t>On</a:t>
            </a:r>
            <a:r>
              <a:rPr lang="en-US" sz="2600" b="1" spc="-120">
                <a:solidFill>
                  <a:srgbClr val="067AAB"/>
                </a:solidFill>
                <a:latin typeface="Montserrat" panose="00000500000000000000" pitchFamily="2" charset="0"/>
                <a:cs typeface="Arial"/>
              </a:rPr>
              <a:t> </a:t>
            </a:r>
            <a:r>
              <a:rPr lang="en-US" sz="2600" b="1" spc="-65">
                <a:solidFill>
                  <a:srgbClr val="067AAB"/>
                </a:solidFill>
                <a:latin typeface="Montserrat" panose="00000500000000000000" pitchFamily="2" charset="0"/>
                <a:cs typeface="Arial"/>
              </a:rPr>
              <a:t>Demand</a:t>
            </a:r>
            <a:r>
              <a:rPr lang="en-US" sz="2600" b="1" spc="-125">
                <a:solidFill>
                  <a:srgbClr val="067AAB"/>
                </a:solidFill>
                <a:latin typeface="Montserrat" panose="00000500000000000000" pitchFamily="2" charset="0"/>
                <a:cs typeface="Arial"/>
              </a:rPr>
              <a:t> </a:t>
            </a:r>
            <a:r>
              <a:rPr lang="en-US" sz="2600" b="1" spc="-60">
                <a:solidFill>
                  <a:srgbClr val="067AAB"/>
                </a:solidFill>
                <a:latin typeface="Montserrat" panose="00000500000000000000" pitchFamily="2" charset="0"/>
                <a:cs typeface="Arial"/>
              </a:rPr>
              <a:t>and</a:t>
            </a:r>
            <a:r>
              <a:rPr lang="en-US" sz="2600" b="1" spc="-180">
                <a:solidFill>
                  <a:srgbClr val="067AAB"/>
                </a:solidFill>
                <a:latin typeface="Montserrat" panose="00000500000000000000" pitchFamily="2" charset="0"/>
                <a:cs typeface="Arial"/>
              </a:rPr>
              <a:t> </a:t>
            </a:r>
            <a:r>
              <a:rPr lang="en-US" sz="2600" b="1" spc="-105">
                <a:solidFill>
                  <a:srgbClr val="067AAB"/>
                </a:solidFill>
                <a:latin typeface="Montserrat" panose="00000500000000000000" pitchFamily="2" charset="0"/>
                <a:cs typeface="Arial"/>
              </a:rPr>
              <a:t>Recordings</a:t>
            </a:r>
            <a:r>
              <a:rPr lang="en-US" sz="2600" b="1" spc="-200">
                <a:solidFill>
                  <a:srgbClr val="067AAB"/>
                </a:solidFill>
                <a:latin typeface="Montserrat" panose="00000500000000000000" pitchFamily="2" charset="0"/>
                <a:cs typeface="Arial"/>
              </a:rPr>
              <a:t> </a:t>
            </a:r>
            <a:r>
              <a:rPr lang="en-US" sz="2600" b="1" spc="-45">
                <a:solidFill>
                  <a:srgbClr val="067AAB"/>
                </a:solidFill>
                <a:latin typeface="Montserrat" panose="00000500000000000000" pitchFamily="2" charset="0"/>
                <a:cs typeface="Arial"/>
              </a:rPr>
              <a:t>in</a:t>
            </a:r>
            <a:r>
              <a:rPr lang="en-US" sz="2600" b="1" spc="-125">
                <a:solidFill>
                  <a:srgbClr val="067AAB"/>
                </a:solidFill>
                <a:latin typeface="Montserrat" panose="00000500000000000000" pitchFamily="2" charset="0"/>
                <a:cs typeface="Arial"/>
              </a:rPr>
              <a:t> </a:t>
            </a:r>
            <a:r>
              <a:rPr lang="en-US" sz="2600" b="1" spc="-75">
                <a:solidFill>
                  <a:srgbClr val="067AAB"/>
                </a:solidFill>
                <a:latin typeface="Montserrat" panose="00000500000000000000" pitchFamily="2" charset="0"/>
                <a:cs typeface="Arial"/>
              </a:rPr>
              <a:t>Your</a:t>
            </a:r>
            <a:r>
              <a:rPr lang="en-US" sz="2600" b="1" spc="-135">
                <a:solidFill>
                  <a:srgbClr val="067AAB"/>
                </a:solidFill>
                <a:latin typeface="Montserrat" panose="00000500000000000000" pitchFamily="2" charset="0"/>
                <a:cs typeface="Arial"/>
              </a:rPr>
              <a:t> </a:t>
            </a:r>
            <a:r>
              <a:rPr lang="en-US" sz="2600" b="1" spc="-20">
                <a:solidFill>
                  <a:srgbClr val="067AAB"/>
                </a:solidFill>
                <a:latin typeface="Montserrat" panose="00000500000000000000" pitchFamily="2" charset="0"/>
                <a:cs typeface="Arial"/>
              </a:rPr>
              <a:t>Home</a:t>
            </a:r>
            <a:endParaRPr lang="en-US" sz="2600">
              <a:latin typeface="Montserrat" panose="00000500000000000000" pitchFamily="2" charset="0"/>
              <a:cs typeface="Arial"/>
            </a:endParaRPr>
          </a:p>
          <a:p>
            <a:endParaRPr lang="en-US"/>
          </a:p>
        </p:txBody>
      </p:sp>
    </p:spTree>
    <p:extLst>
      <p:ext uri="{BB962C8B-B14F-4D97-AF65-F5344CB8AC3E}">
        <p14:creationId xmlns:p14="http://schemas.microsoft.com/office/powerpoint/2010/main" val="16592691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FE4D36-FA9D-AA97-BD04-A49D32B3ADCD}"/>
              </a:ext>
            </a:extLst>
          </p:cNvPr>
          <p:cNvSpPr>
            <a:spLocks noGrp="1"/>
          </p:cNvSpPr>
          <p:nvPr>
            <p:ph type="title"/>
          </p:nvPr>
        </p:nvSpPr>
        <p:spPr>
          <a:xfrm>
            <a:off x="432490" y="0"/>
            <a:ext cx="11684096" cy="848412"/>
          </a:xfrm>
        </p:spPr>
        <p:txBody>
          <a:bodyPr/>
          <a:lstStyle/>
          <a:p>
            <a:r>
              <a:rPr lang="en-US">
                <a:latin typeface="Montserrat" panose="00000500000000000000" pitchFamily="2" charset="0"/>
              </a:rPr>
              <a:t>Blue Stream Fiber TV App</a:t>
            </a:r>
            <a:endParaRPr lang="en-US"/>
          </a:p>
        </p:txBody>
      </p:sp>
      <p:sp>
        <p:nvSpPr>
          <p:cNvPr id="12" name="TextBox 11">
            <a:extLst>
              <a:ext uri="{FF2B5EF4-FFF2-40B4-BE49-F238E27FC236}">
                <a16:creationId xmlns:a16="http://schemas.microsoft.com/office/drawing/2014/main" id="{592CAD2B-D8B0-4955-981F-9C278527AF5B}"/>
              </a:ext>
            </a:extLst>
          </p:cNvPr>
          <p:cNvSpPr txBox="1"/>
          <p:nvPr/>
        </p:nvSpPr>
        <p:spPr>
          <a:xfrm>
            <a:off x="1791092" y="1106346"/>
            <a:ext cx="4213575" cy="1292662"/>
          </a:xfrm>
          <a:prstGeom prst="rect">
            <a:avLst/>
          </a:prstGeom>
          <a:noFill/>
        </p:spPr>
        <p:txBody>
          <a:bodyPr wrap="square" lIns="91440" tIns="45720" rIns="91440" bIns="45720" rtlCol="0" anchor="t">
            <a:spAutoFit/>
          </a:bodyPr>
          <a:lstStyle/>
          <a:p>
            <a:r>
              <a:rPr lang="en-US" sz="3000" b="1" spc="-80">
                <a:solidFill>
                  <a:schemeClr val="bg1"/>
                </a:solidFill>
                <a:latin typeface="Montserrat"/>
                <a:cs typeface="Arial"/>
              </a:rPr>
              <a:t>Watching</a:t>
            </a:r>
            <a:r>
              <a:rPr lang="en-US" sz="3000" b="1" spc="-200">
                <a:solidFill>
                  <a:schemeClr val="bg1"/>
                </a:solidFill>
                <a:latin typeface="Montserrat"/>
                <a:cs typeface="Arial"/>
              </a:rPr>
              <a:t> </a:t>
            </a:r>
            <a:r>
              <a:rPr lang="en-US" sz="3000" b="1" spc="-95">
                <a:solidFill>
                  <a:schemeClr val="bg1"/>
                </a:solidFill>
                <a:latin typeface="Montserrat"/>
                <a:cs typeface="Arial"/>
              </a:rPr>
              <a:t>Live</a:t>
            </a:r>
            <a:r>
              <a:rPr lang="en-US" sz="3000" b="1" spc="-90">
                <a:solidFill>
                  <a:schemeClr val="bg1"/>
                </a:solidFill>
                <a:latin typeface="Montserrat"/>
                <a:cs typeface="Arial"/>
              </a:rPr>
              <a:t> </a:t>
            </a:r>
            <a:r>
              <a:rPr lang="en-US" sz="3000" b="1">
                <a:solidFill>
                  <a:schemeClr val="bg1"/>
                </a:solidFill>
                <a:latin typeface="Montserrat"/>
                <a:cs typeface="Arial"/>
              </a:rPr>
              <a:t>TV</a:t>
            </a:r>
            <a:r>
              <a:rPr lang="en-US" sz="3000" b="1" spc="-50">
                <a:solidFill>
                  <a:schemeClr val="bg1"/>
                </a:solidFill>
                <a:latin typeface="Montserrat"/>
                <a:cs typeface="Arial"/>
              </a:rPr>
              <a:t> </a:t>
            </a:r>
            <a:r>
              <a:rPr lang="en-US" sz="3000" b="1" spc="-25">
                <a:solidFill>
                  <a:schemeClr val="bg1"/>
                </a:solidFill>
                <a:latin typeface="Montserrat"/>
                <a:cs typeface="Arial"/>
              </a:rPr>
              <a:t>and </a:t>
            </a:r>
            <a:r>
              <a:rPr lang="en-US" sz="3000" b="1" spc="-80">
                <a:solidFill>
                  <a:schemeClr val="bg1"/>
                </a:solidFill>
                <a:latin typeface="Montserrat"/>
                <a:cs typeface="Arial"/>
              </a:rPr>
              <a:t>more</a:t>
            </a:r>
            <a:r>
              <a:rPr lang="en-US" sz="3000" b="1" spc="-35">
                <a:solidFill>
                  <a:schemeClr val="bg1"/>
                </a:solidFill>
                <a:latin typeface="Montserrat"/>
                <a:cs typeface="Arial"/>
              </a:rPr>
              <a:t> </a:t>
            </a:r>
            <a:r>
              <a:rPr lang="en-US" sz="3000" b="1" spc="-110">
                <a:solidFill>
                  <a:schemeClr val="bg1"/>
                </a:solidFill>
                <a:latin typeface="Montserrat"/>
                <a:cs typeface="Arial"/>
              </a:rPr>
              <a:t>on-</a:t>
            </a:r>
            <a:r>
              <a:rPr lang="en-US" sz="3000" b="1" spc="-65">
                <a:solidFill>
                  <a:schemeClr val="bg1"/>
                </a:solidFill>
                <a:latin typeface="Montserrat"/>
                <a:cs typeface="Arial"/>
              </a:rPr>
              <a:t>the-</a:t>
            </a:r>
            <a:r>
              <a:rPr lang="en-US" sz="3000" b="1" spc="-25">
                <a:solidFill>
                  <a:schemeClr val="bg1"/>
                </a:solidFill>
                <a:latin typeface="Montserrat"/>
                <a:cs typeface="Arial"/>
              </a:rPr>
              <a:t>go</a:t>
            </a:r>
            <a:endParaRPr lang="en-US" sz="3000" b="1">
              <a:solidFill>
                <a:schemeClr val="bg1"/>
              </a:solidFill>
              <a:latin typeface="Montserrat"/>
              <a:cs typeface="Arial"/>
            </a:endParaRPr>
          </a:p>
          <a:p>
            <a:endParaRPr lang="en-US" b="1">
              <a:latin typeface="Montserrat" panose="00000500000000000000" pitchFamily="2" charset="0"/>
            </a:endParaRPr>
          </a:p>
        </p:txBody>
      </p:sp>
      <p:pic>
        <p:nvPicPr>
          <p:cNvPr id="13" name="object 13">
            <a:extLst>
              <a:ext uri="{FF2B5EF4-FFF2-40B4-BE49-F238E27FC236}">
                <a16:creationId xmlns:a16="http://schemas.microsoft.com/office/drawing/2014/main" id="{D2C399E7-7F3C-4A60-B98C-CD92AC0300AB}"/>
              </a:ext>
            </a:extLst>
          </p:cNvPr>
          <p:cNvPicPr/>
          <p:nvPr/>
        </p:nvPicPr>
        <p:blipFill>
          <a:blip r:embed="rId3" cstate="print"/>
          <a:stretch>
            <a:fillRect/>
          </a:stretch>
        </p:blipFill>
        <p:spPr>
          <a:xfrm>
            <a:off x="556713" y="971776"/>
            <a:ext cx="1085025" cy="1072330"/>
          </a:xfrm>
          <a:prstGeom prst="rect">
            <a:avLst/>
          </a:prstGeom>
          <a:noFill/>
          <a:ln w="38100">
            <a:solidFill>
              <a:schemeClr val="bg1"/>
            </a:solidFill>
          </a:ln>
        </p:spPr>
      </p:pic>
      <p:sp>
        <p:nvSpPr>
          <p:cNvPr id="14" name="TextBox 13">
            <a:extLst>
              <a:ext uri="{FF2B5EF4-FFF2-40B4-BE49-F238E27FC236}">
                <a16:creationId xmlns:a16="http://schemas.microsoft.com/office/drawing/2014/main" id="{522C3168-85E3-4CAB-BB87-FB233032D94C}"/>
              </a:ext>
            </a:extLst>
          </p:cNvPr>
          <p:cNvSpPr txBox="1"/>
          <p:nvPr/>
        </p:nvSpPr>
        <p:spPr>
          <a:xfrm>
            <a:off x="432490" y="2533831"/>
            <a:ext cx="7339910" cy="2062103"/>
          </a:xfrm>
          <a:prstGeom prst="rect">
            <a:avLst/>
          </a:prstGeom>
          <a:noFill/>
        </p:spPr>
        <p:txBody>
          <a:bodyPr wrap="square" lIns="91440" tIns="45720" rIns="91440" bIns="45720" rtlCol="0" anchor="t">
            <a:spAutoFit/>
          </a:bodyPr>
          <a:lstStyle/>
          <a:p>
            <a:r>
              <a:rPr lang="en-US" sz="2200" spc="-20">
                <a:solidFill>
                  <a:schemeClr val="bg1"/>
                </a:solidFill>
                <a:latin typeface="Montserrat"/>
                <a:cs typeface="Arial"/>
              </a:rPr>
              <a:t>With</a:t>
            </a:r>
            <a:r>
              <a:rPr lang="en-US" sz="2200" spc="-100">
                <a:solidFill>
                  <a:schemeClr val="bg1"/>
                </a:solidFill>
                <a:latin typeface="Montserrat"/>
                <a:cs typeface="Arial"/>
              </a:rPr>
              <a:t> </a:t>
            </a:r>
            <a:r>
              <a:rPr lang="en-US" sz="2200">
                <a:solidFill>
                  <a:schemeClr val="bg1"/>
                </a:solidFill>
                <a:latin typeface="Montserrat"/>
                <a:cs typeface="Arial"/>
              </a:rPr>
              <a:t>new</a:t>
            </a:r>
            <a:r>
              <a:rPr lang="en-US" sz="2200" spc="-65">
                <a:solidFill>
                  <a:schemeClr val="bg1"/>
                </a:solidFill>
                <a:latin typeface="Montserrat"/>
                <a:cs typeface="Arial"/>
              </a:rPr>
              <a:t> </a:t>
            </a:r>
            <a:r>
              <a:rPr lang="en-US" sz="2200" spc="-20">
                <a:solidFill>
                  <a:schemeClr val="bg1"/>
                </a:solidFill>
                <a:latin typeface="Montserrat"/>
                <a:cs typeface="Arial"/>
              </a:rPr>
              <a:t>Blue</a:t>
            </a:r>
            <a:r>
              <a:rPr lang="en-US" sz="2200" spc="-114">
                <a:solidFill>
                  <a:schemeClr val="bg1"/>
                </a:solidFill>
                <a:latin typeface="Montserrat"/>
                <a:cs typeface="Arial"/>
              </a:rPr>
              <a:t> </a:t>
            </a:r>
            <a:r>
              <a:rPr lang="en-US" sz="2200" spc="-40">
                <a:solidFill>
                  <a:schemeClr val="bg1"/>
                </a:solidFill>
                <a:latin typeface="Montserrat"/>
                <a:cs typeface="Arial"/>
              </a:rPr>
              <a:t>Stream</a:t>
            </a:r>
            <a:r>
              <a:rPr lang="en-US" sz="2200" spc="-114">
                <a:solidFill>
                  <a:schemeClr val="bg1"/>
                </a:solidFill>
                <a:latin typeface="Montserrat"/>
                <a:cs typeface="Arial"/>
              </a:rPr>
              <a:t> </a:t>
            </a:r>
            <a:r>
              <a:rPr lang="en-US" sz="2200" spc="-10">
                <a:solidFill>
                  <a:schemeClr val="bg1"/>
                </a:solidFill>
                <a:latin typeface="Montserrat"/>
                <a:cs typeface="Arial"/>
              </a:rPr>
              <a:t>Fiber</a:t>
            </a:r>
            <a:r>
              <a:rPr lang="en-US" sz="2200" spc="-65">
                <a:solidFill>
                  <a:schemeClr val="bg1"/>
                </a:solidFill>
                <a:latin typeface="Montserrat"/>
                <a:cs typeface="Arial"/>
              </a:rPr>
              <a:t> </a:t>
            </a:r>
            <a:r>
              <a:rPr lang="en-US" sz="2200" spc="-20">
                <a:solidFill>
                  <a:schemeClr val="bg1"/>
                </a:solidFill>
                <a:latin typeface="Montserrat"/>
                <a:cs typeface="Arial"/>
              </a:rPr>
              <a:t>TV</a:t>
            </a:r>
            <a:r>
              <a:rPr lang="en-US" sz="2200" spc="-110">
                <a:solidFill>
                  <a:schemeClr val="bg1"/>
                </a:solidFill>
                <a:latin typeface="Montserrat"/>
                <a:cs typeface="Arial"/>
              </a:rPr>
              <a:t> </a:t>
            </a:r>
            <a:r>
              <a:rPr lang="en-US" sz="2200" spc="-20">
                <a:solidFill>
                  <a:schemeClr val="bg1"/>
                </a:solidFill>
                <a:latin typeface="Montserrat"/>
                <a:cs typeface="Arial"/>
              </a:rPr>
              <a:t>app,</a:t>
            </a:r>
            <a:r>
              <a:rPr lang="en-US" sz="2200" spc="-95">
                <a:solidFill>
                  <a:schemeClr val="bg1"/>
                </a:solidFill>
                <a:latin typeface="Montserrat"/>
                <a:cs typeface="Arial"/>
              </a:rPr>
              <a:t> </a:t>
            </a:r>
            <a:r>
              <a:rPr lang="en-US" sz="2200" spc="-25">
                <a:solidFill>
                  <a:schemeClr val="bg1"/>
                </a:solidFill>
                <a:latin typeface="Montserrat"/>
                <a:cs typeface="Arial"/>
              </a:rPr>
              <a:t>customers</a:t>
            </a:r>
            <a:r>
              <a:rPr lang="en-US" sz="2200" spc="-114">
                <a:solidFill>
                  <a:schemeClr val="bg1"/>
                </a:solidFill>
                <a:latin typeface="Montserrat"/>
                <a:cs typeface="Arial"/>
              </a:rPr>
              <a:t> </a:t>
            </a:r>
            <a:r>
              <a:rPr lang="en-US" sz="2200" spc="-25">
                <a:solidFill>
                  <a:schemeClr val="bg1"/>
                </a:solidFill>
                <a:latin typeface="Montserrat"/>
                <a:cs typeface="Arial"/>
              </a:rPr>
              <a:t>can </a:t>
            </a:r>
            <a:r>
              <a:rPr lang="en-US" sz="2200" spc="-10">
                <a:solidFill>
                  <a:schemeClr val="bg1"/>
                </a:solidFill>
                <a:latin typeface="Montserrat"/>
                <a:cs typeface="Arial"/>
              </a:rPr>
              <a:t>watch</a:t>
            </a:r>
            <a:r>
              <a:rPr lang="en-US" sz="2200" spc="-130">
                <a:solidFill>
                  <a:schemeClr val="bg1"/>
                </a:solidFill>
                <a:latin typeface="Montserrat"/>
                <a:cs typeface="Arial"/>
              </a:rPr>
              <a:t> </a:t>
            </a:r>
            <a:r>
              <a:rPr lang="en-US" sz="2200">
                <a:solidFill>
                  <a:schemeClr val="bg1"/>
                </a:solidFill>
                <a:latin typeface="Montserrat"/>
                <a:cs typeface="Arial"/>
              </a:rPr>
              <a:t>live</a:t>
            </a:r>
            <a:r>
              <a:rPr lang="en-US" sz="2200" spc="-120">
                <a:solidFill>
                  <a:schemeClr val="bg1"/>
                </a:solidFill>
                <a:latin typeface="Montserrat"/>
                <a:cs typeface="Arial"/>
              </a:rPr>
              <a:t> </a:t>
            </a:r>
            <a:r>
              <a:rPr lang="en-US" sz="2200" spc="-50">
                <a:solidFill>
                  <a:schemeClr val="bg1"/>
                </a:solidFill>
                <a:latin typeface="Montserrat"/>
                <a:cs typeface="Arial"/>
              </a:rPr>
              <a:t>TV,</a:t>
            </a:r>
            <a:r>
              <a:rPr lang="en-US" sz="2200" spc="-125">
                <a:solidFill>
                  <a:schemeClr val="bg1"/>
                </a:solidFill>
                <a:latin typeface="Montserrat"/>
                <a:cs typeface="Arial"/>
              </a:rPr>
              <a:t> </a:t>
            </a:r>
            <a:r>
              <a:rPr lang="en-US" sz="2200" spc="-40">
                <a:solidFill>
                  <a:schemeClr val="bg1"/>
                </a:solidFill>
                <a:latin typeface="Montserrat"/>
                <a:cs typeface="Arial"/>
              </a:rPr>
              <a:t>access</a:t>
            </a:r>
            <a:r>
              <a:rPr lang="en-US" sz="2200" spc="-110">
                <a:solidFill>
                  <a:schemeClr val="bg1"/>
                </a:solidFill>
                <a:latin typeface="Montserrat"/>
                <a:cs typeface="Arial"/>
              </a:rPr>
              <a:t> </a:t>
            </a:r>
            <a:r>
              <a:rPr lang="en-US" sz="2200" spc="-10">
                <a:solidFill>
                  <a:schemeClr val="bg1"/>
                </a:solidFill>
                <a:latin typeface="Montserrat"/>
                <a:cs typeface="Arial"/>
              </a:rPr>
              <a:t>recordings,</a:t>
            </a:r>
            <a:r>
              <a:rPr lang="en-US" sz="2200" spc="-130">
                <a:solidFill>
                  <a:schemeClr val="bg1"/>
                </a:solidFill>
                <a:latin typeface="Montserrat"/>
                <a:cs typeface="Arial"/>
              </a:rPr>
              <a:t> </a:t>
            </a:r>
            <a:r>
              <a:rPr lang="en-US" sz="2200">
                <a:solidFill>
                  <a:schemeClr val="bg1"/>
                </a:solidFill>
                <a:latin typeface="Montserrat"/>
                <a:cs typeface="Arial"/>
              </a:rPr>
              <a:t>and</a:t>
            </a:r>
            <a:r>
              <a:rPr lang="en-US" sz="2200" spc="-60">
                <a:solidFill>
                  <a:schemeClr val="bg1"/>
                </a:solidFill>
                <a:latin typeface="Montserrat"/>
                <a:cs typeface="Arial"/>
              </a:rPr>
              <a:t> </a:t>
            </a:r>
            <a:r>
              <a:rPr lang="en-US" sz="2200">
                <a:solidFill>
                  <a:schemeClr val="bg1"/>
                </a:solidFill>
                <a:latin typeface="Montserrat"/>
                <a:cs typeface="Arial"/>
              </a:rPr>
              <a:t>watch</a:t>
            </a:r>
            <a:r>
              <a:rPr lang="en-US" sz="2200" spc="-90">
                <a:solidFill>
                  <a:schemeClr val="bg1"/>
                </a:solidFill>
                <a:latin typeface="Montserrat"/>
                <a:cs typeface="Arial"/>
              </a:rPr>
              <a:t> </a:t>
            </a:r>
            <a:r>
              <a:rPr lang="en-US" sz="2200" spc="-25">
                <a:solidFill>
                  <a:schemeClr val="bg1"/>
                </a:solidFill>
                <a:latin typeface="Montserrat"/>
                <a:cs typeface="Arial"/>
              </a:rPr>
              <a:t>on </a:t>
            </a:r>
            <a:r>
              <a:rPr lang="en-US" sz="2200" spc="-10">
                <a:solidFill>
                  <a:schemeClr val="bg1"/>
                </a:solidFill>
                <a:latin typeface="Montserrat"/>
                <a:cs typeface="Arial"/>
              </a:rPr>
              <a:t>demand</a:t>
            </a:r>
            <a:r>
              <a:rPr lang="en-US" sz="2200" spc="-70">
                <a:solidFill>
                  <a:schemeClr val="bg1"/>
                </a:solidFill>
                <a:latin typeface="Montserrat"/>
                <a:cs typeface="Arial"/>
              </a:rPr>
              <a:t> </a:t>
            </a:r>
            <a:r>
              <a:rPr lang="en-US" sz="2200">
                <a:solidFill>
                  <a:schemeClr val="bg1"/>
                </a:solidFill>
                <a:latin typeface="Montserrat"/>
                <a:cs typeface="Arial"/>
              </a:rPr>
              <a:t>content</a:t>
            </a:r>
            <a:r>
              <a:rPr lang="en-US" sz="2200" spc="-30">
                <a:solidFill>
                  <a:schemeClr val="bg1"/>
                </a:solidFill>
                <a:latin typeface="Montserrat"/>
                <a:cs typeface="Arial"/>
              </a:rPr>
              <a:t> </a:t>
            </a:r>
            <a:r>
              <a:rPr lang="en-US" sz="2200">
                <a:solidFill>
                  <a:schemeClr val="bg1"/>
                </a:solidFill>
                <a:latin typeface="Montserrat"/>
                <a:cs typeface="Arial"/>
              </a:rPr>
              <a:t>on</a:t>
            </a:r>
            <a:r>
              <a:rPr lang="en-US" sz="2200" spc="-70">
                <a:solidFill>
                  <a:schemeClr val="bg1"/>
                </a:solidFill>
                <a:latin typeface="Montserrat"/>
                <a:cs typeface="Arial"/>
              </a:rPr>
              <a:t> </a:t>
            </a:r>
            <a:r>
              <a:rPr lang="en-US" sz="2200">
                <a:solidFill>
                  <a:schemeClr val="bg1"/>
                </a:solidFill>
                <a:latin typeface="Montserrat"/>
                <a:cs typeface="Arial"/>
              </a:rPr>
              <a:t>the</a:t>
            </a:r>
            <a:r>
              <a:rPr lang="en-US" sz="2200" spc="-45">
                <a:solidFill>
                  <a:schemeClr val="bg1"/>
                </a:solidFill>
                <a:latin typeface="Montserrat"/>
                <a:cs typeface="Arial"/>
              </a:rPr>
              <a:t> </a:t>
            </a:r>
            <a:r>
              <a:rPr lang="en-US" sz="2200">
                <a:solidFill>
                  <a:schemeClr val="bg1"/>
                </a:solidFill>
                <a:latin typeface="Montserrat"/>
                <a:cs typeface="Arial"/>
              </a:rPr>
              <a:t>go!</a:t>
            </a:r>
            <a:r>
              <a:rPr lang="en-US" sz="2200" spc="-80">
                <a:solidFill>
                  <a:schemeClr val="bg1"/>
                </a:solidFill>
                <a:latin typeface="Montserrat"/>
                <a:cs typeface="Arial"/>
              </a:rPr>
              <a:t> </a:t>
            </a:r>
            <a:r>
              <a:rPr lang="en-US" sz="2200" spc="-20">
                <a:solidFill>
                  <a:schemeClr val="bg1"/>
                </a:solidFill>
                <a:latin typeface="Montserrat"/>
                <a:cs typeface="Arial"/>
              </a:rPr>
              <a:t>Simply</a:t>
            </a:r>
            <a:r>
              <a:rPr lang="en-US" sz="2200" spc="-80">
                <a:solidFill>
                  <a:schemeClr val="bg1"/>
                </a:solidFill>
                <a:latin typeface="Montserrat"/>
                <a:cs typeface="Arial"/>
              </a:rPr>
              <a:t> </a:t>
            </a:r>
            <a:r>
              <a:rPr lang="en-US" sz="2200">
                <a:solidFill>
                  <a:schemeClr val="bg1"/>
                </a:solidFill>
                <a:latin typeface="Montserrat"/>
                <a:cs typeface="Arial"/>
              </a:rPr>
              <a:t>download</a:t>
            </a:r>
            <a:r>
              <a:rPr lang="en-US" sz="2200" spc="-55">
                <a:solidFill>
                  <a:schemeClr val="bg1"/>
                </a:solidFill>
                <a:latin typeface="Montserrat"/>
                <a:cs typeface="Arial"/>
              </a:rPr>
              <a:t> the app </a:t>
            </a:r>
            <a:r>
              <a:rPr lang="en-US" sz="2200">
                <a:solidFill>
                  <a:schemeClr val="bg1"/>
                </a:solidFill>
                <a:latin typeface="Montserrat"/>
                <a:cs typeface="Arial"/>
              </a:rPr>
              <a:t>on</a:t>
            </a:r>
            <a:r>
              <a:rPr lang="en-US" sz="2200" spc="-65">
                <a:solidFill>
                  <a:schemeClr val="bg1"/>
                </a:solidFill>
                <a:latin typeface="Montserrat"/>
                <a:cs typeface="Arial"/>
              </a:rPr>
              <a:t> </a:t>
            </a:r>
            <a:r>
              <a:rPr lang="en-US" sz="2200">
                <a:solidFill>
                  <a:schemeClr val="bg1"/>
                </a:solidFill>
                <a:latin typeface="Montserrat"/>
                <a:cs typeface="Arial"/>
              </a:rPr>
              <a:t>a</a:t>
            </a:r>
            <a:r>
              <a:rPr lang="en-US" sz="2200" spc="-130">
                <a:solidFill>
                  <a:schemeClr val="bg1"/>
                </a:solidFill>
                <a:latin typeface="Montserrat"/>
                <a:cs typeface="Arial"/>
              </a:rPr>
              <a:t> </a:t>
            </a:r>
            <a:r>
              <a:rPr lang="en-US" sz="2200">
                <a:solidFill>
                  <a:schemeClr val="bg1"/>
                </a:solidFill>
                <a:latin typeface="Montserrat"/>
                <a:cs typeface="Arial"/>
              </a:rPr>
              <a:t>mobile</a:t>
            </a:r>
            <a:r>
              <a:rPr lang="en-US" sz="2200" spc="-30">
                <a:solidFill>
                  <a:schemeClr val="bg1"/>
                </a:solidFill>
                <a:latin typeface="Montserrat"/>
                <a:cs typeface="Arial"/>
              </a:rPr>
              <a:t> </a:t>
            </a:r>
            <a:r>
              <a:rPr lang="en-US" sz="2200">
                <a:solidFill>
                  <a:schemeClr val="bg1"/>
                </a:solidFill>
                <a:latin typeface="Montserrat"/>
                <a:cs typeface="Arial"/>
              </a:rPr>
              <a:t>device,</a:t>
            </a:r>
            <a:r>
              <a:rPr lang="en-US" sz="2200" spc="-60">
                <a:solidFill>
                  <a:schemeClr val="bg1"/>
                </a:solidFill>
                <a:latin typeface="Montserrat"/>
                <a:cs typeface="Arial"/>
              </a:rPr>
              <a:t> </a:t>
            </a:r>
            <a:r>
              <a:rPr lang="en-US" sz="2200" spc="-10">
                <a:solidFill>
                  <a:schemeClr val="bg1"/>
                </a:solidFill>
                <a:latin typeface="Montserrat"/>
                <a:cs typeface="Arial"/>
              </a:rPr>
              <a:t>Fire</a:t>
            </a:r>
            <a:r>
              <a:rPr lang="en-US" sz="2200" spc="-85">
                <a:solidFill>
                  <a:schemeClr val="bg1"/>
                </a:solidFill>
                <a:latin typeface="Montserrat"/>
                <a:cs typeface="Arial"/>
              </a:rPr>
              <a:t> </a:t>
            </a:r>
            <a:r>
              <a:rPr lang="en-US" sz="2200" spc="-35">
                <a:solidFill>
                  <a:schemeClr val="bg1"/>
                </a:solidFill>
                <a:latin typeface="Montserrat"/>
                <a:cs typeface="Arial"/>
              </a:rPr>
              <a:t>TV</a:t>
            </a:r>
            <a:r>
              <a:rPr lang="en-US" sz="2200" spc="-105">
                <a:solidFill>
                  <a:schemeClr val="bg1"/>
                </a:solidFill>
                <a:latin typeface="Montserrat"/>
                <a:cs typeface="Arial"/>
              </a:rPr>
              <a:t> </a:t>
            </a:r>
            <a:r>
              <a:rPr lang="en-US" sz="2200" spc="-20">
                <a:solidFill>
                  <a:schemeClr val="bg1"/>
                </a:solidFill>
                <a:latin typeface="Montserrat"/>
                <a:cs typeface="Arial"/>
              </a:rPr>
              <a:t>stick or Apple TV,</a:t>
            </a:r>
            <a:r>
              <a:rPr lang="en-US" sz="2200" spc="-114">
                <a:solidFill>
                  <a:schemeClr val="bg1"/>
                </a:solidFill>
                <a:latin typeface="Montserrat"/>
                <a:cs typeface="Arial"/>
              </a:rPr>
              <a:t> </a:t>
            </a:r>
            <a:r>
              <a:rPr lang="en-US" sz="2200" spc="-10">
                <a:solidFill>
                  <a:schemeClr val="bg1"/>
                </a:solidFill>
                <a:latin typeface="Montserrat"/>
                <a:cs typeface="Arial"/>
              </a:rPr>
              <a:t>enter </a:t>
            </a:r>
            <a:r>
              <a:rPr lang="en-US" sz="2200">
                <a:solidFill>
                  <a:schemeClr val="bg1"/>
                </a:solidFill>
                <a:latin typeface="Montserrat"/>
                <a:cs typeface="Arial"/>
              </a:rPr>
              <a:t>the</a:t>
            </a:r>
            <a:r>
              <a:rPr lang="en-US" sz="2200" spc="-90">
                <a:solidFill>
                  <a:schemeClr val="bg1"/>
                </a:solidFill>
                <a:latin typeface="Montserrat"/>
                <a:cs typeface="Arial"/>
              </a:rPr>
              <a:t> </a:t>
            </a:r>
            <a:r>
              <a:rPr lang="en-US" sz="2200" spc="-40" err="1">
                <a:solidFill>
                  <a:schemeClr val="bg1"/>
                </a:solidFill>
                <a:latin typeface="Montserrat"/>
                <a:cs typeface="Arial"/>
              </a:rPr>
              <a:t>WatchTVEverywhere</a:t>
            </a:r>
            <a:r>
              <a:rPr lang="en-US" sz="2200" spc="-55">
                <a:solidFill>
                  <a:schemeClr val="bg1"/>
                </a:solidFill>
                <a:latin typeface="Montserrat"/>
                <a:cs typeface="Arial"/>
              </a:rPr>
              <a:t> </a:t>
            </a:r>
            <a:r>
              <a:rPr lang="en-US" sz="2200">
                <a:solidFill>
                  <a:schemeClr val="bg1"/>
                </a:solidFill>
                <a:latin typeface="Montserrat"/>
                <a:cs typeface="Arial"/>
              </a:rPr>
              <a:t>log</a:t>
            </a:r>
            <a:r>
              <a:rPr lang="en-US" sz="2200" spc="-20">
                <a:solidFill>
                  <a:schemeClr val="bg1"/>
                </a:solidFill>
                <a:latin typeface="Montserrat"/>
                <a:cs typeface="Arial"/>
              </a:rPr>
              <a:t> </a:t>
            </a:r>
            <a:r>
              <a:rPr lang="en-US" sz="2200">
                <a:solidFill>
                  <a:schemeClr val="bg1"/>
                </a:solidFill>
                <a:latin typeface="Montserrat"/>
                <a:cs typeface="Arial"/>
              </a:rPr>
              <a:t>in</a:t>
            </a:r>
            <a:r>
              <a:rPr lang="en-US" sz="2200" spc="-80">
                <a:solidFill>
                  <a:schemeClr val="bg1"/>
                </a:solidFill>
                <a:latin typeface="Montserrat"/>
                <a:cs typeface="Arial"/>
              </a:rPr>
              <a:t> </a:t>
            </a:r>
            <a:r>
              <a:rPr lang="en-US" sz="2200">
                <a:solidFill>
                  <a:schemeClr val="bg1"/>
                </a:solidFill>
                <a:latin typeface="Montserrat"/>
                <a:cs typeface="Arial"/>
              </a:rPr>
              <a:t>and</a:t>
            </a:r>
            <a:r>
              <a:rPr lang="en-US" sz="2200" spc="-55">
                <a:solidFill>
                  <a:schemeClr val="bg1"/>
                </a:solidFill>
                <a:latin typeface="Montserrat"/>
                <a:cs typeface="Arial"/>
              </a:rPr>
              <a:t> </a:t>
            </a:r>
            <a:r>
              <a:rPr lang="en-US" sz="2200" spc="-10">
                <a:solidFill>
                  <a:schemeClr val="bg1"/>
                </a:solidFill>
                <a:latin typeface="Montserrat"/>
                <a:cs typeface="Arial"/>
              </a:rPr>
              <a:t>enjoy!</a:t>
            </a:r>
            <a:endParaRPr lang="en-US" sz="2200">
              <a:solidFill>
                <a:schemeClr val="bg1"/>
              </a:solidFill>
              <a:latin typeface="Montserrat"/>
              <a:cs typeface="Arial"/>
            </a:endParaRPr>
          </a:p>
          <a:p>
            <a:endParaRPr lang="en-US"/>
          </a:p>
        </p:txBody>
      </p:sp>
      <p:sp>
        <p:nvSpPr>
          <p:cNvPr id="16" name="TextBox 15">
            <a:extLst>
              <a:ext uri="{FF2B5EF4-FFF2-40B4-BE49-F238E27FC236}">
                <a16:creationId xmlns:a16="http://schemas.microsoft.com/office/drawing/2014/main" id="{21B8B629-BFB0-49DE-AE4D-F92B46ED1838}"/>
              </a:ext>
            </a:extLst>
          </p:cNvPr>
          <p:cNvSpPr txBox="1"/>
          <p:nvPr/>
        </p:nvSpPr>
        <p:spPr>
          <a:xfrm>
            <a:off x="513308" y="4865673"/>
            <a:ext cx="7091464" cy="923330"/>
          </a:xfrm>
          <a:prstGeom prst="rect">
            <a:avLst/>
          </a:prstGeom>
          <a:noFill/>
        </p:spPr>
        <p:txBody>
          <a:bodyPr wrap="square" lIns="91440" tIns="45720" rIns="91440" bIns="45720" rtlCol="0" anchor="t">
            <a:spAutoFit/>
          </a:bodyPr>
          <a:lstStyle/>
          <a:p>
            <a:r>
              <a:rPr lang="en-US" sz="1800" b="1" spc="-45">
                <a:solidFill>
                  <a:srgbClr val="004160"/>
                </a:solidFill>
                <a:latin typeface="Montserrat" panose="00000500000000000000" pitchFamily="2" charset="0"/>
                <a:cs typeface="Arial"/>
              </a:rPr>
              <a:t>For</a:t>
            </a:r>
            <a:r>
              <a:rPr lang="en-US" sz="1800" b="1" spc="-114">
                <a:solidFill>
                  <a:srgbClr val="004160"/>
                </a:solidFill>
                <a:latin typeface="Montserrat" panose="00000500000000000000" pitchFamily="2" charset="0"/>
                <a:cs typeface="Arial"/>
              </a:rPr>
              <a:t> </a:t>
            </a:r>
            <a:r>
              <a:rPr lang="en-US" sz="1800" b="1" spc="-35">
                <a:solidFill>
                  <a:srgbClr val="004160"/>
                </a:solidFill>
                <a:latin typeface="Montserrat" panose="00000500000000000000" pitchFamily="2" charset="0"/>
                <a:cs typeface="Arial"/>
              </a:rPr>
              <a:t>more</a:t>
            </a:r>
            <a:r>
              <a:rPr lang="en-US" sz="1800" b="1" spc="-60">
                <a:solidFill>
                  <a:srgbClr val="004160"/>
                </a:solidFill>
                <a:latin typeface="Montserrat" panose="00000500000000000000" pitchFamily="2" charset="0"/>
                <a:cs typeface="Arial"/>
              </a:rPr>
              <a:t> </a:t>
            </a:r>
            <a:r>
              <a:rPr lang="en-US" sz="1800" b="1" spc="-45">
                <a:solidFill>
                  <a:srgbClr val="004160"/>
                </a:solidFill>
                <a:latin typeface="Montserrat" panose="00000500000000000000" pitchFamily="2" charset="0"/>
                <a:cs typeface="Arial"/>
              </a:rPr>
              <a:t>information</a:t>
            </a:r>
            <a:r>
              <a:rPr lang="en-US" sz="1800" b="1" spc="-110">
                <a:solidFill>
                  <a:srgbClr val="004160"/>
                </a:solidFill>
                <a:latin typeface="Montserrat" panose="00000500000000000000" pitchFamily="2" charset="0"/>
                <a:cs typeface="Arial"/>
              </a:rPr>
              <a:t> </a:t>
            </a:r>
            <a:r>
              <a:rPr lang="en-US" sz="1800" b="1" spc="-30">
                <a:solidFill>
                  <a:srgbClr val="004160"/>
                </a:solidFill>
                <a:latin typeface="Montserrat" panose="00000500000000000000" pitchFamily="2" charset="0"/>
                <a:cs typeface="Arial"/>
              </a:rPr>
              <a:t>on</a:t>
            </a:r>
            <a:r>
              <a:rPr lang="en-US" sz="1800" b="1" spc="-110">
                <a:solidFill>
                  <a:srgbClr val="004160"/>
                </a:solidFill>
                <a:latin typeface="Montserrat" panose="00000500000000000000" pitchFamily="2" charset="0"/>
                <a:cs typeface="Arial"/>
              </a:rPr>
              <a:t> </a:t>
            </a:r>
            <a:r>
              <a:rPr lang="en-US" sz="1800" b="1">
                <a:solidFill>
                  <a:srgbClr val="004160"/>
                </a:solidFill>
                <a:latin typeface="Montserrat" panose="00000500000000000000" pitchFamily="2" charset="0"/>
                <a:cs typeface="Arial"/>
              </a:rPr>
              <a:t>the</a:t>
            </a:r>
            <a:r>
              <a:rPr lang="en-US" sz="1800" b="1" spc="-65">
                <a:solidFill>
                  <a:srgbClr val="004160"/>
                </a:solidFill>
                <a:latin typeface="Montserrat" panose="00000500000000000000" pitchFamily="2" charset="0"/>
                <a:cs typeface="Arial"/>
              </a:rPr>
              <a:t> </a:t>
            </a:r>
            <a:r>
              <a:rPr lang="en-US" sz="1800" b="1" spc="-55">
                <a:solidFill>
                  <a:srgbClr val="004160"/>
                </a:solidFill>
                <a:latin typeface="Montserrat" panose="00000500000000000000" pitchFamily="2" charset="0"/>
                <a:cs typeface="Arial"/>
              </a:rPr>
              <a:t>Blue</a:t>
            </a:r>
            <a:r>
              <a:rPr lang="en-US" sz="1800" b="1" spc="-75">
                <a:solidFill>
                  <a:srgbClr val="004160"/>
                </a:solidFill>
                <a:latin typeface="Montserrat" panose="00000500000000000000" pitchFamily="2" charset="0"/>
                <a:cs typeface="Arial"/>
              </a:rPr>
              <a:t> </a:t>
            </a:r>
            <a:r>
              <a:rPr lang="en-US" sz="1800" b="1" spc="-35">
                <a:solidFill>
                  <a:srgbClr val="004160"/>
                </a:solidFill>
                <a:latin typeface="Montserrat" panose="00000500000000000000" pitchFamily="2" charset="0"/>
                <a:cs typeface="Arial"/>
              </a:rPr>
              <a:t>Stream</a:t>
            </a:r>
            <a:r>
              <a:rPr lang="en-US" sz="1800" b="1" spc="-95">
                <a:solidFill>
                  <a:srgbClr val="004160"/>
                </a:solidFill>
                <a:latin typeface="Montserrat" panose="00000500000000000000" pitchFamily="2" charset="0"/>
                <a:cs typeface="Arial"/>
              </a:rPr>
              <a:t> </a:t>
            </a:r>
            <a:r>
              <a:rPr lang="en-US" sz="1800" b="1" spc="-40">
                <a:solidFill>
                  <a:srgbClr val="004160"/>
                </a:solidFill>
                <a:latin typeface="Montserrat" panose="00000500000000000000" pitchFamily="2" charset="0"/>
                <a:cs typeface="Arial"/>
              </a:rPr>
              <a:t>Fiber</a:t>
            </a:r>
            <a:r>
              <a:rPr lang="en-US" sz="1800" b="1" spc="-80">
                <a:solidFill>
                  <a:srgbClr val="004160"/>
                </a:solidFill>
                <a:latin typeface="Montserrat" panose="00000500000000000000" pitchFamily="2" charset="0"/>
                <a:cs typeface="Arial"/>
              </a:rPr>
              <a:t> </a:t>
            </a:r>
            <a:r>
              <a:rPr lang="en-US" sz="1800" b="1">
                <a:solidFill>
                  <a:srgbClr val="004160"/>
                </a:solidFill>
                <a:latin typeface="Montserrat" panose="00000500000000000000" pitchFamily="2" charset="0"/>
                <a:cs typeface="Arial"/>
              </a:rPr>
              <a:t>TV</a:t>
            </a:r>
            <a:r>
              <a:rPr lang="en-US" sz="1800" b="1" spc="-65">
                <a:solidFill>
                  <a:srgbClr val="004160"/>
                </a:solidFill>
                <a:latin typeface="Montserrat" panose="00000500000000000000" pitchFamily="2" charset="0"/>
                <a:cs typeface="Arial"/>
              </a:rPr>
              <a:t> </a:t>
            </a:r>
            <a:r>
              <a:rPr lang="en-US" sz="1800" b="1" spc="-50">
                <a:solidFill>
                  <a:srgbClr val="004160"/>
                </a:solidFill>
                <a:latin typeface="Montserrat" panose="00000500000000000000" pitchFamily="2" charset="0"/>
                <a:cs typeface="Arial"/>
              </a:rPr>
              <a:t>services </a:t>
            </a:r>
            <a:r>
              <a:rPr lang="en-US" sz="1800" b="1" spc="-25">
                <a:solidFill>
                  <a:srgbClr val="004160"/>
                </a:solidFill>
                <a:latin typeface="Montserrat" panose="00000500000000000000" pitchFamily="2" charset="0"/>
                <a:cs typeface="Arial"/>
              </a:rPr>
              <a:t>and</a:t>
            </a:r>
            <a:r>
              <a:rPr lang="en-US" sz="1800" b="1" spc="-100">
                <a:solidFill>
                  <a:srgbClr val="004160"/>
                </a:solidFill>
                <a:latin typeface="Montserrat" panose="00000500000000000000" pitchFamily="2" charset="0"/>
                <a:cs typeface="Arial"/>
              </a:rPr>
              <a:t> </a:t>
            </a:r>
            <a:r>
              <a:rPr lang="en-US" sz="1800" b="1">
                <a:solidFill>
                  <a:srgbClr val="004160"/>
                </a:solidFill>
                <a:latin typeface="Montserrat" panose="00000500000000000000" pitchFamily="2" charset="0"/>
                <a:cs typeface="Arial"/>
              </a:rPr>
              <a:t>the</a:t>
            </a:r>
            <a:r>
              <a:rPr lang="en-US" sz="1800" b="1" spc="-60">
                <a:solidFill>
                  <a:srgbClr val="004160"/>
                </a:solidFill>
                <a:latin typeface="Montserrat" panose="00000500000000000000" pitchFamily="2" charset="0"/>
                <a:cs typeface="Arial"/>
              </a:rPr>
              <a:t> </a:t>
            </a:r>
            <a:r>
              <a:rPr lang="en-US" sz="1800" b="1" spc="-40">
                <a:solidFill>
                  <a:srgbClr val="004160"/>
                </a:solidFill>
                <a:latin typeface="Montserrat" panose="00000500000000000000" pitchFamily="2" charset="0"/>
                <a:cs typeface="Arial"/>
              </a:rPr>
              <a:t>App,</a:t>
            </a:r>
            <a:r>
              <a:rPr lang="en-US" sz="1800" b="1" spc="-90">
                <a:solidFill>
                  <a:srgbClr val="004160"/>
                </a:solidFill>
                <a:latin typeface="Montserrat" panose="00000500000000000000" pitchFamily="2" charset="0"/>
                <a:cs typeface="Arial"/>
              </a:rPr>
              <a:t> </a:t>
            </a:r>
            <a:r>
              <a:rPr lang="en-US" sz="1800" b="1" spc="-75">
                <a:solidFill>
                  <a:srgbClr val="004160"/>
                </a:solidFill>
                <a:latin typeface="Montserrat" panose="00000500000000000000" pitchFamily="2" charset="0"/>
                <a:cs typeface="Arial"/>
              </a:rPr>
              <a:t>access</a:t>
            </a:r>
            <a:r>
              <a:rPr lang="en-US" sz="1800" b="1" spc="-155">
                <a:solidFill>
                  <a:srgbClr val="004160"/>
                </a:solidFill>
                <a:latin typeface="Montserrat" panose="00000500000000000000" pitchFamily="2" charset="0"/>
                <a:cs typeface="Arial"/>
              </a:rPr>
              <a:t> </a:t>
            </a:r>
            <a:r>
              <a:rPr lang="en-US" sz="1800" b="1" spc="-10">
                <a:solidFill>
                  <a:srgbClr val="004160"/>
                </a:solidFill>
                <a:latin typeface="Montserrat" panose="00000500000000000000" pitchFamily="2" charset="0"/>
                <a:cs typeface="Arial"/>
              </a:rPr>
              <a:t>bluestreamfiber.com/</a:t>
            </a:r>
            <a:r>
              <a:rPr lang="en-US" sz="1800" b="1" spc="-10" err="1">
                <a:solidFill>
                  <a:srgbClr val="004160"/>
                </a:solidFill>
                <a:latin typeface="Montserrat" panose="00000500000000000000" pitchFamily="2" charset="0"/>
                <a:cs typeface="Arial"/>
              </a:rPr>
              <a:t>tivo</a:t>
            </a:r>
            <a:endParaRPr lang="en-US" sz="1800">
              <a:latin typeface="Montserrat" panose="00000500000000000000" pitchFamily="2" charset="0"/>
              <a:cs typeface="Arial"/>
            </a:endParaRPr>
          </a:p>
          <a:p>
            <a:endParaRPr lang="en-US"/>
          </a:p>
        </p:txBody>
      </p:sp>
      <p:pic>
        <p:nvPicPr>
          <p:cNvPr id="17" name="object 11">
            <a:extLst>
              <a:ext uri="{FF2B5EF4-FFF2-40B4-BE49-F238E27FC236}">
                <a16:creationId xmlns:a16="http://schemas.microsoft.com/office/drawing/2014/main" id="{467445FD-C6B1-43D5-9C0B-55AD5BDE7B78}"/>
              </a:ext>
            </a:extLst>
          </p:cNvPr>
          <p:cNvPicPr/>
          <p:nvPr/>
        </p:nvPicPr>
        <p:blipFill>
          <a:blip r:embed="rId4" cstate="print"/>
          <a:stretch>
            <a:fillRect/>
          </a:stretch>
        </p:blipFill>
        <p:spPr>
          <a:xfrm>
            <a:off x="7891260" y="1106346"/>
            <a:ext cx="3810761" cy="2116073"/>
          </a:xfrm>
          <a:prstGeom prst="rect">
            <a:avLst/>
          </a:prstGeom>
        </p:spPr>
      </p:pic>
      <p:pic>
        <p:nvPicPr>
          <p:cNvPr id="18" name="object 12">
            <a:extLst>
              <a:ext uri="{FF2B5EF4-FFF2-40B4-BE49-F238E27FC236}">
                <a16:creationId xmlns:a16="http://schemas.microsoft.com/office/drawing/2014/main" id="{955B4F31-257E-47F9-9D14-38EB90A75450}"/>
              </a:ext>
            </a:extLst>
          </p:cNvPr>
          <p:cNvPicPr/>
          <p:nvPr/>
        </p:nvPicPr>
        <p:blipFill>
          <a:blip r:embed="rId5" cstate="print"/>
          <a:stretch>
            <a:fillRect/>
          </a:stretch>
        </p:blipFill>
        <p:spPr>
          <a:xfrm>
            <a:off x="7906089" y="3487938"/>
            <a:ext cx="3853421" cy="2012429"/>
          </a:xfrm>
          <a:prstGeom prst="rect">
            <a:avLst/>
          </a:prstGeom>
        </p:spPr>
      </p:pic>
    </p:spTree>
    <p:extLst>
      <p:ext uri="{BB962C8B-B14F-4D97-AF65-F5344CB8AC3E}">
        <p14:creationId xmlns:p14="http://schemas.microsoft.com/office/powerpoint/2010/main" val="14674092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53F7826-DA9A-0D9C-25BB-45B7DD7CF0AC}"/>
              </a:ext>
            </a:extLst>
          </p:cNvPr>
          <p:cNvSpPr txBox="1">
            <a:spLocks/>
          </p:cNvSpPr>
          <p:nvPr/>
        </p:nvSpPr>
        <p:spPr>
          <a:xfrm>
            <a:off x="532006" y="87642"/>
            <a:ext cx="8220269" cy="98677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1" kern="1200" baseline="0">
                <a:solidFill>
                  <a:schemeClr val="bg1"/>
                </a:solidFill>
                <a:latin typeface="Montserrat" pitchFamily="2" charset="77"/>
                <a:ea typeface="+mj-ea"/>
                <a:cs typeface="+mj-cs"/>
              </a:defRPr>
            </a:lvl1pPr>
          </a:lstStyle>
          <a:p>
            <a:r>
              <a:rPr lang="en-US" sz="4000">
                <a:latin typeface="Montserrat" panose="00000500000000000000" pitchFamily="2" charset="0"/>
              </a:rPr>
              <a:t>About Blue Stream Fiber</a:t>
            </a:r>
          </a:p>
        </p:txBody>
      </p:sp>
      <p:sp>
        <p:nvSpPr>
          <p:cNvPr id="5" name="Subtitle 2">
            <a:extLst>
              <a:ext uri="{FF2B5EF4-FFF2-40B4-BE49-F238E27FC236}">
                <a16:creationId xmlns:a16="http://schemas.microsoft.com/office/drawing/2014/main" id="{AB75CA7E-AD34-B47D-7539-E88F146061C0}"/>
              </a:ext>
            </a:extLst>
          </p:cNvPr>
          <p:cNvSpPr txBox="1">
            <a:spLocks/>
          </p:cNvSpPr>
          <p:nvPr/>
        </p:nvSpPr>
        <p:spPr>
          <a:xfrm>
            <a:off x="799675" y="1162261"/>
            <a:ext cx="5790990" cy="743128"/>
          </a:xfrm>
          <a:prstGeom prst="rect">
            <a:avLst/>
          </a:prstGeom>
        </p:spPr>
        <p:txBody>
          <a:bodyPr vert="horz" lIns="91440" tIns="45720" rIns="91440" bIns="45720" rtlCol="0" anchor="t">
            <a:normAutofit fontScale="70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400" kern="1200" baseline="0">
                <a:solidFill>
                  <a:schemeClr val="bg1"/>
                </a:solidFill>
                <a:latin typeface="Montserrat" pitchFamily="2" charset="77"/>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baseline="0">
                <a:solidFill>
                  <a:schemeClr val="tx1">
                    <a:tint val="75000"/>
                  </a:schemeClr>
                </a:solidFill>
                <a:latin typeface="Montserrat" pitchFamily="2" charset="77"/>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baseline="0">
                <a:solidFill>
                  <a:schemeClr val="tx1">
                    <a:tint val="75000"/>
                  </a:schemeClr>
                </a:solidFill>
                <a:latin typeface="Montserrat" pitchFamily="2" charset="77"/>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tx1">
                    <a:tint val="75000"/>
                  </a:schemeClr>
                </a:solidFill>
                <a:latin typeface="Montserrat" pitchFamily="2" charset="77"/>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tx1">
                    <a:tint val="75000"/>
                  </a:schemeClr>
                </a:solidFill>
                <a:latin typeface="Montserrat" pitchFamily="2" charset="77"/>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gn="ctr">
              <a:lnSpc>
                <a:spcPct val="120000"/>
              </a:lnSpc>
            </a:pPr>
            <a:r>
              <a:rPr lang="en-US" sz="2800" spc="-20">
                <a:solidFill>
                  <a:srgbClr val="FFFFFF"/>
                </a:solidFill>
                <a:latin typeface="Montserrat"/>
                <a:cs typeface="Arial"/>
              </a:rPr>
              <a:t>Trusted</a:t>
            </a:r>
            <a:r>
              <a:rPr lang="en-US" sz="2800" spc="-114">
                <a:solidFill>
                  <a:srgbClr val="FFFFFF"/>
                </a:solidFill>
                <a:latin typeface="Montserrat"/>
                <a:cs typeface="Arial"/>
              </a:rPr>
              <a:t> </a:t>
            </a:r>
            <a:r>
              <a:rPr lang="en-US" sz="2800">
                <a:solidFill>
                  <a:srgbClr val="FFFFFF"/>
                </a:solidFill>
                <a:latin typeface="Montserrat"/>
                <a:cs typeface="Arial"/>
              </a:rPr>
              <a:t>Florida</a:t>
            </a:r>
            <a:r>
              <a:rPr lang="en-US" sz="2800" spc="-135">
                <a:solidFill>
                  <a:srgbClr val="FFFFFF"/>
                </a:solidFill>
                <a:latin typeface="Montserrat"/>
                <a:cs typeface="Arial"/>
              </a:rPr>
              <a:t> </a:t>
            </a:r>
            <a:r>
              <a:rPr lang="en-US" sz="2800" spc="-30">
                <a:solidFill>
                  <a:srgbClr val="FFFFFF"/>
                </a:solidFill>
                <a:latin typeface="Montserrat"/>
                <a:cs typeface="Arial"/>
              </a:rPr>
              <a:t>Based</a:t>
            </a:r>
            <a:r>
              <a:rPr lang="en-US" sz="2800" spc="-125">
                <a:solidFill>
                  <a:srgbClr val="FFFFFF"/>
                </a:solidFill>
                <a:latin typeface="Montserrat"/>
                <a:cs typeface="Arial"/>
              </a:rPr>
              <a:t> </a:t>
            </a:r>
            <a:r>
              <a:rPr lang="en-US" sz="2800" spc="-25">
                <a:solidFill>
                  <a:srgbClr val="FFFFFF"/>
                </a:solidFill>
                <a:latin typeface="Montserrat"/>
                <a:cs typeface="Arial"/>
              </a:rPr>
              <a:t>Communications </a:t>
            </a:r>
            <a:r>
              <a:rPr lang="en-US" sz="2800" spc="-10">
                <a:solidFill>
                  <a:srgbClr val="FFFFFF"/>
                </a:solidFill>
                <a:latin typeface="Montserrat"/>
                <a:cs typeface="Arial"/>
              </a:rPr>
              <a:t>Provider</a:t>
            </a:r>
            <a:r>
              <a:rPr lang="en-US" sz="2800" spc="-60">
                <a:solidFill>
                  <a:srgbClr val="FFFFFF"/>
                </a:solidFill>
                <a:latin typeface="Montserrat"/>
                <a:cs typeface="Arial"/>
              </a:rPr>
              <a:t> </a:t>
            </a:r>
            <a:r>
              <a:rPr lang="en-US" sz="2800">
                <a:solidFill>
                  <a:srgbClr val="FFFFFF"/>
                </a:solidFill>
                <a:latin typeface="Montserrat"/>
                <a:cs typeface="Arial"/>
              </a:rPr>
              <a:t>for</a:t>
            </a:r>
            <a:r>
              <a:rPr lang="en-US" sz="2800" spc="-60">
                <a:solidFill>
                  <a:srgbClr val="FFFFFF"/>
                </a:solidFill>
                <a:latin typeface="Montserrat"/>
                <a:cs typeface="Arial"/>
              </a:rPr>
              <a:t> </a:t>
            </a:r>
            <a:r>
              <a:rPr lang="en-US" sz="2800">
                <a:solidFill>
                  <a:srgbClr val="FFFFFF"/>
                </a:solidFill>
                <a:latin typeface="Montserrat"/>
                <a:cs typeface="Arial"/>
              </a:rPr>
              <a:t>Over</a:t>
            </a:r>
            <a:r>
              <a:rPr lang="en-US" sz="2800" spc="-90">
                <a:solidFill>
                  <a:srgbClr val="FFFFFF"/>
                </a:solidFill>
                <a:latin typeface="Montserrat"/>
                <a:cs typeface="Arial"/>
              </a:rPr>
              <a:t> </a:t>
            </a:r>
            <a:r>
              <a:rPr lang="en-US" sz="2800">
                <a:solidFill>
                  <a:srgbClr val="FFFFFF"/>
                </a:solidFill>
                <a:latin typeface="Montserrat"/>
                <a:cs typeface="Arial"/>
              </a:rPr>
              <a:t>45</a:t>
            </a:r>
            <a:r>
              <a:rPr lang="en-US" sz="2800" spc="30">
                <a:solidFill>
                  <a:srgbClr val="FFFFFF"/>
                </a:solidFill>
                <a:latin typeface="Montserrat"/>
                <a:cs typeface="Arial"/>
              </a:rPr>
              <a:t> </a:t>
            </a:r>
            <a:r>
              <a:rPr lang="en-US" sz="2800" spc="-10">
                <a:solidFill>
                  <a:srgbClr val="FFFFFF"/>
                </a:solidFill>
                <a:latin typeface="Montserrat"/>
                <a:cs typeface="Arial"/>
              </a:rPr>
              <a:t>Years</a:t>
            </a:r>
            <a:endParaRPr lang="en-US" sz="2800">
              <a:latin typeface="Montserrat"/>
              <a:cs typeface="Arial"/>
            </a:endParaRPr>
          </a:p>
          <a:p>
            <a:endParaRPr lang="en-US"/>
          </a:p>
        </p:txBody>
      </p:sp>
      <p:sp>
        <p:nvSpPr>
          <p:cNvPr id="6" name="TextBox 5">
            <a:extLst>
              <a:ext uri="{FF2B5EF4-FFF2-40B4-BE49-F238E27FC236}">
                <a16:creationId xmlns:a16="http://schemas.microsoft.com/office/drawing/2014/main" id="{C30476E0-F2AA-0889-05B4-B1A2FD5F40DD}"/>
              </a:ext>
            </a:extLst>
          </p:cNvPr>
          <p:cNvSpPr txBox="1"/>
          <p:nvPr/>
        </p:nvSpPr>
        <p:spPr>
          <a:xfrm>
            <a:off x="1125125" y="2492306"/>
            <a:ext cx="8083981" cy="3200876"/>
          </a:xfrm>
          <a:prstGeom prst="rect">
            <a:avLst/>
          </a:prstGeom>
          <a:noFill/>
        </p:spPr>
        <p:txBody>
          <a:bodyPr wrap="square" lIns="91440" tIns="45720" rIns="91440" bIns="45720" rtlCol="0" anchor="t">
            <a:spAutoFit/>
          </a:bodyPr>
          <a:lstStyle/>
          <a:p>
            <a:pPr marL="12700">
              <a:lnSpc>
                <a:spcPct val="100000"/>
              </a:lnSpc>
              <a:spcBef>
                <a:spcPts val="95"/>
              </a:spcBef>
            </a:pPr>
            <a:r>
              <a:rPr lang="en-US" sz="2300" b="1" spc="-70">
                <a:solidFill>
                  <a:schemeClr val="bg1"/>
                </a:solidFill>
                <a:latin typeface="Montserrat"/>
                <a:cs typeface="Arial"/>
              </a:rPr>
              <a:t>Fiber:</a:t>
            </a:r>
            <a:r>
              <a:rPr lang="en-US" sz="2300" b="1" spc="-170">
                <a:solidFill>
                  <a:schemeClr val="bg1"/>
                </a:solidFill>
                <a:latin typeface="Montserrat"/>
                <a:cs typeface="Arial"/>
              </a:rPr>
              <a:t> </a:t>
            </a:r>
            <a:r>
              <a:rPr lang="en-US" sz="2300" spc="-35">
                <a:solidFill>
                  <a:schemeClr val="bg1"/>
                </a:solidFill>
                <a:latin typeface="Montserrat"/>
                <a:cs typeface="Arial"/>
              </a:rPr>
              <a:t>Fiber-</a:t>
            </a:r>
            <a:r>
              <a:rPr lang="en-US" sz="2300" spc="-20">
                <a:solidFill>
                  <a:schemeClr val="bg1"/>
                </a:solidFill>
                <a:latin typeface="Montserrat"/>
                <a:cs typeface="Arial"/>
              </a:rPr>
              <a:t>to-</a:t>
            </a:r>
            <a:r>
              <a:rPr lang="en-US" sz="2300" spc="-25">
                <a:solidFill>
                  <a:schemeClr val="bg1"/>
                </a:solidFill>
                <a:latin typeface="Montserrat"/>
                <a:cs typeface="Arial"/>
              </a:rPr>
              <a:t>the-</a:t>
            </a:r>
            <a:r>
              <a:rPr lang="en-US" sz="2300" spc="-20">
                <a:solidFill>
                  <a:schemeClr val="bg1"/>
                </a:solidFill>
                <a:latin typeface="Montserrat"/>
                <a:cs typeface="Arial"/>
              </a:rPr>
              <a:t>Home</a:t>
            </a:r>
            <a:r>
              <a:rPr lang="en-US" sz="2300" spc="-80">
                <a:solidFill>
                  <a:schemeClr val="bg1"/>
                </a:solidFill>
                <a:latin typeface="Montserrat"/>
                <a:cs typeface="Arial"/>
              </a:rPr>
              <a:t> </a:t>
            </a:r>
            <a:r>
              <a:rPr lang="en-US" sz="2300" spc="-25">
                <a:solidFill>
                  <a:schemeClr val="bg1"/>
                </a:solidFill>
                <a:latin typeface="Montserrat"/>
                <a:cs typeface="Arial"/>
              </a:rPr>
              <a:t>Service</a:t>
            </a:r>
            <a:r>
              <a:rPr lang="en-US" sz="2300" spc="-40">
                <a:solidFill>
                  <a:schemeClr val="bg1"/>
                </a:solidFill>
                <a:latin typeface="Montserrat"/>
                <a:cs typeface="Arial"/>
              </a:rPr>
              <a:t> </a:t>
            </a:r>
            <a:r>
              <a:rPr lang="en-US" sz="2300" spc="-10">
                <a:solidFill>
                  <a:schemeClr val="bg1"/>
                </a:solidFill>
                <a:latin typeface="Montserrat"/>
                <a:cs typeface="Arial"/>
              </a:rPr>
              <a:t>since</a:t>
            </a:r>
            <a:r>
              <a:rPr lang="en-US" sz="2300" spc="-30">
                <a:solidFill>
                  <a:schemeClr val="bg1"/>
                </a:solidFill>
                <a:latin typeface="Montserrat"/>
                <a:cs typeface="Arial"/>
              </a:rPr>
              <a:t> </a:t>
            </a:r>
            <a:r>
              <a:rPr lang="en-US" sz="2300" spc="30">
                <a:solidFill>
                  <a:schemeClr val="bg1"/>
                </a:solidFill>
                <a:latin typeface="Montserrat"/>
                <a:cs typeface="Arial"/>
              </a:rPr>
              <a:t>2002</a:t>
            </a:r>
            <a:endParaRPr lang="en-US" sz="2300">
              <a:solidFill>
                <a:schemeClr val="bg1"/>
              </a:solidFill>
              <a:latin typeface="Montserrat"/>
              <a:cs typeface="Arial"/>
            </a:endParaRPr>
          </a:p>
          <a:p>
            <a:pPr>
              <a:lnSpc>
                <a:spcPct val="100000"/>
              </a:lnSpc>
              <a:spcBef>
                <a:spcPts val="40"/>
              </a:spcBef>
            </a:pPr>
            <a:endParaRPr lang="en-US" sz="2300">
              <a:solidFill>
                <a:schemeClr val="bg1"/>
              </a:solidFill>
              <a:latin typeface="Montserrat" panose="00000500000000000000" pitchFamily="2" charset="0"/>
              <a:cs typeface="Arial"/>
            </a:endParaRPr>
          </a:p>
          <a:p>
            <a:pPr marL="12700">
              <a:spcBef>
                <a:spcPts val="5"/>
              </a:spcBef>
            </a:pPr>
            <a:r>
              <a:rPr lang="en-US" sz="2300" b="1" spc="-45">
                <a:solidFill>
                  <a:schemeClr val="bg1"/>
                </a:solidFill>
                <a:latin typeface="Montserrat"/>
                <a:cs typeface="Arial"/>
              </a:rPr>
              <a:t>Internet:</a:t>
            </a:r>
            <a:r>
              <a:rPr lang="en-US" sz="2300" b="1" spc="-145">
                <a:solidFill>
                  <a:schemeClr val="bg1"/>
                </a:solidFill>
                <a:latin typeface="Montserrat"/>
                <a:cs typeface="Arial"/>
              </a:rPr>
              <a:t> </a:t>
            </a:r>
            <a:r>
              <a:rPr lang="en-US" sz="2300" spc="-145">
                <a:solidFill>
                  <a:schemeClr val="bg1"/>
                </a:solidFill>
                <a:latin typeface="Montserrat"/>
                <a:ea typeface="+mn-lt"/>
                <a:cs typeface="+mn-lt"/>
              </a:rPr>
              <a:t>Fiber Internet with Total Home </a:t>
            </a:r>
            <a:r>
              <a:rPr lang="en-US" sz="2300" spc="-145" err="1">
                <a:solidFill>
                  <a:schemeClr val="bg1"/>
                </a:solidFill>
                <a:latin typeface="Montserrat"/>
                <a:ea typeface="+mn-lt"/>
                <a:cs typeface="+mn-lt"/>
              </a:rPr>
              <a:t>WiFi</a:t>
            </a:r>
            <a:endParaRPr lang="en-US" sz="2300" spc="-145">
              <a:solidFill>
                <a:schemeClr val="bg1"/>
              </a:solidFill>
              <a:latin typeface="Montserrat"/>
              <a:ea typeface="+mn-lt"/>
              <a:cs typeface="+mn-lt"/>
            </a:endParaRPr>
          </a:p>
          <a:p>
            <a:pPr>
              <a:lnSpc>
                <a:spcPct val="100000"/>
              </a:lnSpc>
              <a:spcBef>
                <a:spcPts val="40"/>
              </a:spcBef>
            </a:pPr>
            <a:endParaRPr lang="en-US" sz="2300">
              <a:solidFill>
                <a:schemeClr val="bg1"/>
              </a:solidFill>
              <a:latin typeface="Montserrat" panose="00000500000000000000" pitchFamily="2" charset="0"/>
              <a:cs typeface="Arial"/>
            </a:endParaRPr>
          </a:p>
          <a:p>
            <a:pPr marL="12700">
              <a:lnSpc>
                <a:spcPct val="100000"/>
              </a:lnSpc>
            </a:pPr>
            <a:r>
              <a:rPr lang="en-US" sz="2300" b="1" spc="-50">
                <a:solidFill>
                  <a:schemeClr val="bg1"/>
                </a:solidFill>
                <a:latin typeface="Montserrat"/>
                <a:cs typeface="Arial"/>
              </a:rPr>
              <a:t>TV:</a:t>
            </a:r>
            <a:r>
              <a:rPr lang="en-US" sz="2300" b="1" spc="-130">
                <a:solidFill>
                  <a:schemeClr val="bg1"/>
                </a:solidFill>
                <a:latin typeface="Montserrat"/>
                <a:cs typeface="Arial"/>
              </a:rPr>
              <a:t> </a:t>
            </a:r>
            <a:r>
              <a:rPr lang="en-US" sz="2300">
                <a:solidFill>
                  <a:schemeClr val="bg1"/>
                </a:solidFill>
                <a:latin typeface="Montserrat"/>
                <a:cs typeface="Arial"/>
              </a:rPr>
              <a:t>300+</a:t>
            </a:r>
            <a:r>
              <a:rPr lang="en-US" sz="2300" spc="-135">
                <a:solidFill>
                  <a:schemeClr val="bg1"/>
                </a:solidFill>
                <a:latin typeface="Montserrat"/>
                <a:cs typeface="Arial"/>
              </a:rPr>
              <a:t> </a:t>
            </a:r>
            <a:r>
              <a:rPr lang="en-US" sz="2300" spc="-35">
                <a:solidFill>
                  <a:schemeClr val="bg1"/>
                </a:solidFill>
                <a:latin typeface="Montserrat"/>
                <a:cs typeface="Arial"/>
              </a:rPr>
              <a:t>channels available,</a:t>
            </a:r>
            <a:r>
              <a:rPr lang="en-US" sz="2300" spc="-130">
                <a:solidFill>
                  <a:schemeClr val="bg1"/>
                </a:solidFill>
                <a:latin typeface="Montserrat"/>
                <a:cs typeface="Arial"/>
              </a:rPr>
              <a:t> </a:t>
            </a:r>
            <a:r>
              <a:rPr lang="en-US" sz="2300" spc="-10">
                <a:solidFill>
                  <a:schemeClr val="bg1"/>
                </a:solidFill>
                <a:latin typeface="Montserrat"/>
                <a:cs typeface="Arial"/>
              </a:rPr>
              <a:t>TiVo</a:t>
            </a:r>
            <a:r>
              <a:rPr lang="en-US" sz="2300" spc="-50">
                <a:solidFill>
                  <a:schemeClr val="bg1"/>
                </a:solidFill>
                <a:latin typeface="Montserrat"/>
                <a:cs typeface="Arial"/>
              </a:rPr>
              <a:t> </a:t>
            </a:r>
            <a:r>
              <a:rPr lang="en-US" sz="2300">
                <a:solidFill>
                  <a:schemeClr val="bg1"/>
                </a:solidFill>
                <a:latin typeface="Montserrat"/>
                <a:cs typeface="Arial"/>
              </a:rPr>
              <a:t>&amp;</a:t>
            </a:r>
            <a:r>
              <a:rPr lang="en-US" sz="2300" spc="-135">
                <a:solidFill>
                  <a:schemeClr val="bg1"/>
                </a:solidFill>
                <a:latin typeface="Montserrat"/>
                <a:cs typeface="Arial"/>
              </a:rPr>
              <a:t> </a:t>
            </a:r>
            <a:r>
              <a:rPr lang="en-US" sz="2300">
                <a:solidFill>
                  <a:schemeClr val="bg1"/>
                </a:solidFill>
                <a:latin typeface="Montserrat"/>
                <a:cs typeface="Arial"/>
              </a:rPr>
              <a:t>Google</a:t>
            </a:r>
            <a:r>
              <a:rPr lang="en-US" sz="2300" spc="-45">
                <a:solidFill>
                  <a:schemeClr val="bg1"/>
                </a:solidFill>
                <a:latin typeface="Montserrat"/>
                <a:cs typeface="Arial"/>
              </a:rPr>
              <a:t> </a:t>
            </a:r>
            <a:r>
              <a:rPr lang="en-US" sz="2300" spc="-20">
                <a:solidFill>
                  <a:schemeClr val="bg1"/>
                </a:solidFill>
                <a:latin typeface="Montserrat"/>
                <a:cs typeface="Arial"/>
              </a:rPr>
              <a:t>TV</a:t>
            </a:r>
            <a:r>
              <a:rPr lang="en-US" sz="2300" spc="-105">
                <a:solidFill>
                  <a:schemeClr val="bg1"/>
                </a:solidFill>
                <a:latin typeface="Montserrat"/>
                <a:cs typeface="Arial"/>
              </a:rPr>
              <a:t> </a:t>
            </a:r>
            <a:r>
              <a:rPr lang="en-US" sz="2300">
                <a:solidFill>
                  <a:schemeClr val="bg1"/>
                </a:solidFill>
                <a:latin typeface="Montserrat"/>
                <a:cs typeface="Arial"/>
              </a:rPr>
              <a:t>with</a:t>
            </a:r>
            <a:r>
              <a:rPr lang="en-US" sz="2300" spc="-50">
                <a:solidFill>
                  <a:schemeClr val="bg1"/>
                </a:solidFill>
                <a:latin typeface="Montserrat"/>
                <a:cs typeface="Arial"/>
              </a:rPr>
              <a:t> </a:t>
            </a:r>
            <a:r>
              <a:rPr lang="en-US" sz="2300">
                <a:solidFill>
                  <a:schemeClr val="bg1"/>
                </a:solidFill>
                <a:latin typeface="Montserrat"/>
                <a:cs typeface="Arial"/>
              </a:rPr>
              <a:t>Network</a:t>
            </a:r>
            <a:r>
              <a:rPr lang="en-US" sz="2300" spc="-20">
                <a:solidFill>
                  <a:schemeClr val="bg1"/>
                </a:solidFill>
                <a:latin typeface="Montserrat"/>
                <a:cs typeface="Arial"/>
              </a:rPr>
              <a:t> </a:t>
            </a:r>
            <a:r>
              <a:rPr lang="en-US" sz="2300" spc="-25">
                <a:solidFill>
                  <a:schemeClr val="bg1"/>
                </a:solidFill>
                <a:latin typeface="Montserrat"/>
                <a:cs typeface="Arial"/>
              </a:rPr>
              <a:t>DVR</a:t>
            </a:r>
            <a:endParaRPr lang="en-US" sz="2300">
              <a:solidFill>
                <a:schemeClr val="bg1"/>
              </a:solidFill>
              <a:latin typeface="Montserrat"/>
              <a:cs typeface="Arial"/>
            </a:endParaRPr>
          </a:p>
          <a:p>
            <a:pPr>
              <a:lnSpc>
                <a:spcPct val="100000"/>
              </a:lnSpc>
              <a:spcBef>
                <a:spcPts val="40"/>
              </a:spcBef>
            </a:pPr>
            <a:endParaRPr lang="en-US" sz="2300">
              <a:solidFill>
                <a:schemeClr val="bg1"/>
              </a:solidFill>
              <a:latin typeface="Montserrat" panose="00000500000000000000" pitchFamily="2" charset="0"/>
              <a:cs typeface="Arial"/>
            </a:endParaRPr>
          </a:p>
          <a:p>
            <a:pPr marL="12700"/>
            <a:r>
              <a:rPr lang="en-US" sz="2300" b="1" spc="-80">
                <a:solidFill>
                  <a:schemeClr val="bg1"/>
                </a:solidFill>
                <a:latin typeface="Montserrat"/>
                <a:cs typeface="Arial"/>
              </a:rPr>
              <a:t>Phone:</a:t>
            </a:r>
            <a:r>
              <a:rPr lang="en-US" sz="2300" b="1" spc="-150">
                <a:solidFill>
                  <a:schemeClr val="bg1"/>
                </a:solidFill>
                <a:latin typeface="Montserrat"/>
                <a:cs typeface="Arial"/>
              </a:rPr>
              <a:t> </a:t>
            </a:r>
            <a:r>
              <a:rPr lang="en-US" sz="2300" spc="-10">
                <a:solidFill>
                  <a:schemeClr val="bg1"/>
                </a:solidFill>
                <a:latin typeface="Montserrat"/>
                <a:cs typeface="Arial"/>
              </a:rPr>
              <a:t>Unlimited</a:t>
            </a:r>
            <a:r>
              <a:rPr lang="en-US" sz="2300" spc="20">
                <a:solidFill>
                  <a:schemeClr val="bg1"/>
                </a:solidFill>
                <a:latin typeface="Montserrat"/>
                <a:cs typeface="Arial"/>
              </a:rPr>
              <a:t> </a:t>
            </a:r>
            <a:r>
              <a:rPr lang="en-US" sz="2300">
                <a:solidFill>
                  <a:schemeClr val="bg1"/>
                </a:solidFill>
                <a:latin typeface="Montserrat"/>
                <a:cs typeface="Arial"/>
              </a:rPr>
              <a:t>with</a:t>
            </a:r>
            <a:r>
              <a:rPr lang="en-US" sz="2300" spc="-25">
                <a:solidFill>
                  <a:schemeClr val="bg1"/>
                </a:solidFill>
                <a:latin typeface="Montserrat"/>
                <a:cs typeface="Arial"/>
              </a:rPr>
              <a:t> </a:t>
            </a:r>
            <a:r>
              <a:rPr lang="en-US" sz="2300">
                <a:solidFill>
                  <a:schemeClr val="bg1"/>
                </a:solidFill>
                <a:latin typeface="Montserrat"/>
                <a:cs typeface="Arial"/>
              </a:rPr>
              <a:t>29</a:t>
            </a:r>
            <a:r>
              <a:rPr lang="en-US" sz="2300" spc="45">
                <a:solidFill>
                  <a:schemeClr val="bg1"/>
                </a:solidFill>
                <a:latin typeface="Montserrat"/>
                <a:cs typeface="Arial"/>
              </a:rPr>
              <a:t> </a:t>
            </a:r>
            <a:r>
              <a:rPr lang="en-US" sz="2300" spc="-20">
                <a:solidFill>
                  <a:schemeClr val="bg1"/>
                </a:solidFill>
                <a:latin typeface="Montserrat"/>
                <a:cs typeface="Arial"/>
              </a:rPr>
              <a:t>features</a:t>
            </a:r>
            <a:r>
              <a:rPr lang="en-US" sz="2300" spc="-85">
                <a:solidFill>
                  <a:schemeClr val="bg1"/>
                </a:solidFill>
                <a:latin typeface="Montserrat"/>
                <a:cs typeface="Arial"/>
              </a:rPr>
              <a:t> </a:t>
            </a:r>
            <a:r>
              <a:rPr lang="en-US" sz="2300">
                <a:solidFill>
                  <a:schemeClr val="bg1"/>
                </a:solidFill>
                <a:latin typeface="Montserrat"/>
                <a:cs typeface="Arial"/>
              </a:rPr>
              <a:t>&amp;</a:t>
            </a:r>
            <a:r>
              <a:rPr lang="en-US" sz="2300" spc="-90">
                <a:solidFill>
                  <a:schemeClr val="bg1"/>
                </a:solidFill>
                <a:latin typeface="Montserrat"/>
                <a:cs typeface="Arial"/>
              </a:rPr>
              <a:t> v</a:t>
            </a:r>
            <a:r>
              <a:rPr lang="en-US" sz="2300" spc="-10">
                <a:solidFill>
                  <a:schemeClr val="bg1"/>
                </a:solidFill>
                <a:latin typeface="Montserrat"/>
                <a:cs typeface="Arial"/>
              </a:rPr>
              <a:t>oicemail</a:t>
            </a:r>
            <a:endParaRPr lang="en-US" sz="2300">
              <a:solidFill>
                <a:schemeClr val="bg1"/>
              </a:solidFill>
              <a:latin typeface="Montserrat" panose="00000500000000000000" pitchFamily="2" charset="0"/>
              <a:cs typeface="Arial"/>
            </a:endParaRPr>
          </a:p>
          <a:p>
            <a:endParaRPr lang="en-US"/>
          </a:p>
        </p:txBody>
      </p:sp>
      <p:pic>
        <p:nvPicPr>
          <p:cNvPr id="7" name="Picture 6" descr="Map&#10;&#10;Description automatically generated">
            <a:extLst>
              <a:ext uri="{FF2B5EF4-FFF2-40B4-BE49-F238E27FC236}">
                <a16:creationId xmlns:a16="http://schemas.microsoft.com/office/drawing/2014/main" id="{F66B0825-C32F-8750-AC16-6CC8B248F24A}"/>
              </a:ext>
            </a:extLst>
          </p:cNvPr>
          <p:cNvPicPr>
            <a:picLocks noChangeAspect="1"/>
          </p:cNvPicPr>
          <p:nvPr/>
        </p:nvPicPr>
        <p:blipFill>
          <a:blip r:embed="rId2"/>
          <a:stretch>
            <a:fillRect/>
          </a:stretch>
        </p:blipFill>
        <p:spPr>
          <a:xfrm>
            <a:off x="6069690" y="0"/>
            <a:ext cx="6149622" cy="4836533"/>
          </a:xfrm>
          <a:prstGeom prst="rect">
            <a:avLst/>
          </a:prstGeom>
        </p:spPr>
      </p:pic>
      <p:grpSp>
        <p:nvGrpSpPr>
          <p:cNvPr id="8" name="object 7">
            <a:extLst>
              <a:ext uri="{FF2B5EF4-FFF2-40B4-BE49-F238E27FC236}">
                <a16:creationId xmlns:a16="http://schemas.microsoft.com/office/drawing/2014/main" id="{EF75AEAA-38ED-01AD-048C-33E694A1DC94}"/>
              </a:ext>
            </a:extLst>
          </p:cNvPr>
          <p:cNvGrpSpPr/>
          <p:nvPr/>
        </p:nvGrpSpPr>
        <p:grpSpPr>
          <a:xfrm>
            <a:off x="528988" y="2492306"/>
            <a:ext cx="541374" cy="2947886"/>
            <a:chOff x="586709" y="2688073"/>
            <a:chExt cx="518201" cy="2596475"/>
          </a:xfrm>
        </p:grpSpPr>
        <p:pic>
          <p:nvPicPr>
            <p:cNvPr id="9" name="object 9">
              <a:extLst>
                <a:ext uri="{FF2B5EF4-FFF2-40B4-BE49-F238E27FC236}">
                  <a16:creationId xmlns:a16="http://schemas.microsoft.com/office/drawing/2014/main" id="{FDA58B07-989D-88B1-E7EA-3FEC550E71C0}"/>
                </a:ext>
              </a:extLst>
            </p:cNvPr>
            <p:cNvPicPr/>
            <p:nvPr/>
          </p:nvPicPr>
          <p:blipFill>
            <a:blip r:embed="rId3" cstate="print"/>
            <a:stretch>
              <a:fillRect/>
            </a:stretch>
          </p:blipFill>
          <p:spPr>
            <a:xfrm>
              <a:off x="612633" y="2688073"/>
              <a:ext cx="492251" cy="492251"/>
            </a:xfrm>
            <a:prstGeom prst="rect">
              <a:avLst/>
            </a:prstGeom>
          </p:spPr>
        </p:pic>
        <p:pic>
          <p:nvPicPr>
            <p:cNvPr id="10" name="object 10">
              <a:extLst>
                <a:ext uri="{FF2B5EF4-FFF2-40B4-BE49-F238E27FC236}">
                  <a16:creationId xmlns:a16="http://schemas.microsoft.com/office/drawing/2014/main" id="{F1505D82-3C0B-82E6-0C67-9E4C90881786}"/>
                </a:ext>
              </a:extLst>
            </p:cNvPr>
            <p:cNvPicPr/>
            <p:nvPr/>
          </p:nvPicPr>
          <p:blipFill>
            <a:blip r:embed="rId4" cstate="print"/>
            <a:stretch>
              <a:fillRect/>
            </a:stretch>
          </p:blipFill>
          <p:spPr>
            <a:xfrm>
              <a:off x="586709" y="3382109"/>
              <a:ext cx="509777" cy="509777"/>
            </a:xfrm>
            <a:prstGeom prst="rect">
              <a:avLst/>
            </a:prstGeom>
          </p:spPr>
        </p:pic>
        <p:sp>
          <p:nvSpPr>
            <p:cNvPr id="11" name="object 11">
              <a:extLst>
                <a:ext uri="{FF2B5EF4-FFF2-40B4-BE49-F238E27FC236}">
                  <a16:creationId xmlns:a16="http://schemas.microsoft.com/office/drawing/2014/main" id="{87530FE9-A763-3F7C-A8B2-21F6022F4CD9}"/>
                </a:ext>
              </a:extLst>
            </p:cNvPr>
            <p:cNvSpPr/>
            <p:nvPr/>
          </p:nvSpPr>
          <p:spPr>
            <a:xfrm>
              <a:off x="586751" y="4108968"/>
              <a:ext cx="518159" cy="520065"/>
            </a:xfrm>
            <a:custGeom>
              <a:avLst/>
              <a:gdLst/>
              <a:ahLst/>
              <a:cxnLst/>
              <a:rect l="l" t="t" r="r" b="b"/>
              <a:pathLst>
                <a:path w="518159" h="520064">
                  <a:moveTo>
                    <a:pt x="259079" y="0"/>
                  </a:moveTo>
                  <a:lnTo>
                    <a:pt x="212508" y="4186"/>
                  </a:lnTo>
                  <a:lnTo>
                    <a:pt x="168676" y="16255"/>
                  </a:lnTo>
                  <a:lnTo>
                    <a:pt x="128315" y="35475"/>
                  </a:lnTo>
                  <a:lnTo>
                    <a:pt x="92156" y="61110"/>
                  </a:lnTo>
                  <a:lnTo>
                    <a:pt x="60930" y="92427"/>
                  </a:lnTo>
                  <a:lnTo>
                    <a:pt x="35370" y="128693"/>
                  </a:lnTo>
                  <a:lnTo>
                    <a:pt x="16208" y="169173"/>
                  </a:lnTo>
                  <a:lnTo>
                    <a:pt x="4173" y="213134"/>
                  </a:lnTo>
                  <a:lnTo>
                    <a:pt x="0" y="259841"/>
                  </a:lnTo>
                  <a:lnTo>
                    <a:pt x="4173" y="306549"/>
                  </a:lnTo>
                  <a:lnTo>
                    <a:pt x="16208" y="350510"/>
                  </a:lnTo>
                  <a:lnTo>
                    <a:pt x="35370" y="390990"/>
                  </a:lnTo>
                  <a:lnTo>
                    <a:pt x="60930" y="427256"/>
                  </a:lnTo>
                  <a:lnTo>
                    <a:pt x="92156" y="458573"/>
                  </a:lnTo>
                  <a:lnTo>
                    <a:pt x="128315" y="484208"/>
                  </a:lnTo>
                  <a:lnTo>
                    <a:pt x="168676" y="503427"/>
                  </a:lnTo>
                  <a:lnTo>
                    <a:pt x="212508" y="515497"/>
                  </a:lnTo>
                  <a:lnTo>
                    <a:pt x="259079" y="519683"/>
                  </a:lnTo>
                  <a:lnTo>
                    <a:pt x="305651" y="515497"/>
                  </a:lnTo>
                  <a:lnTo>
                    <a:pt x="349483" y="503427"/>
                  </a:lnTo>
                  <a:lnTo>
                    <a:pt x="389844" y="484208"/>
                  </a:lnTo>
                  <a:lnTo>
                    <a:pt x="426003" y="458573"/>
                  </a:lnTo>
                  <a:lnTo>
                    <a:pt x="457229" y="427256"/>
                  </a:lnTo>
                  <a:lnTo>
                    <a:pt x="482789" y="390990"/>
                  </a:lnTo>
                  <a:lnTo>
                    <a:pt x="501951" y="350510"/>
                  </a:lnTo>
                  <a:lnTo>
                    <a:pt x="513986" y="306549"/>
                  </a:lnTo>
                  <a:lnTo>
                    <a:pt x="518159" y="259841"/>
                  </a:lnTo>
                  <a:lnTo>
                    <a:pt x="513986" y="213134"/>
                  </a:lnTo>
                  <a:lnTo>
                    <a:pt x="501951" y="169173"/>
                  </a:lnTo>
                  <a:lnTo>
                    <a:pt x="482789" y="128693"/>
                  </a:lnTo>
                  <a:lnTo>
                    <a:pt x="457229" y="92427"/>
                  </a:lnTo>
                  <a:lnTo>
                    <a:pt x="426003" y="61110"/>
                  </a:lnTo>
                  <a:lnTo>
                    <a:pt x="389844" y="35475"/>
                  </a:lnTo>
                  <a:lnTo>
                    <a:pt x="349483" y="16255"/>
                  </a:lnTo>
                  <a:lnTo>
                    <a:pt x="305651" y="4186"/>
                  </a:lnTo>
                  <a:lnTo>
                    <a:pt x="259079" y="0"/>
                  </a:lnTo>
                  <a:close/>
                </a:path>
              </a:pathLst>
            </a:custGeom>
            <a:solidFill>
              <a:srgbClr val="3379B7"/>
            </a:solidFill>
          </p:spPr>
          <p:txBody>
            <a:bodyPr wrap="square" lIns="0" tIns="0" rIns="0" bIns="0" rtlCol="0"/>
            <a:lstStyle/>
            <a:p>
              <a:endParaRPr/>
            </a:p>
          </p:txBody>
        </p:sp>
        <p:sp>
          <p:nvSpPr>
            <p:cNvPr id="12" name="object 14">
              <a:extLst>
                <a:ext uri="{FF2B5EF4-FFF2-40B4-BE49-F238E27FC236}">
                  <a16:creationId xmlns:a16="http://schemas.microsoft.com/office/drawing/2014/main" id="{05B803C7-F68F-6D3C-E3C7-7EC25B9B75BA}"/>
                </a:ext>
              </a:extLst>
            </p:cNvPr>
            <p:cNvSpPr/>
            <p:nvPr/>
          </p:nvSpPr>
          <p:spPr>
            <a:xfrm>
              <a:off x="684701" y="4263708"/>
              <a:ext cx="335280" cy="208915"/>
            </a:xfrm>
            <a:custGeom>
              <a:avLst/>
              <a:gdLst/>
              <a:ahLst/>
              <a:cxnLst/>
              <a:rect l="l" t="t" r="r" b="b"/>
              <a:pathLst>
                <a:path w="335280" h="208914">
                  <a:moveTo>
                    <a:pt x="0" y="0"/>
                  </a:moveTo>
                  <a:lnTo>
                    <a:pt x="335279" y="0"/>
                  </a:lnTo>
                  <a:lnTo>
                    <a:pt x="335279" y="208787"/>
                  </a:lnTo>
                  <a:lnTo>
                    <a:pt x="0" y="208787"/>
                  </a:lnTo>
                  <a:lnTo>
                    <a:pt x="0" y="0"/>
                  </a:lnTo>
                  <a:close/>
                </a:path>
              </a:pathLst>
            </a:custGeom>
            <a:ln w="25400">
              <a:solidFill>
                <a:srgbClr val="FFFFFF"/>
              </a:solidFill>
            </a:ln>
          </p:spPr>
          <p:txBody>
            <a:bodyPr wrap="square" lIns="0" tIns="0" rIns="0" bIns="0" rtlCol="0"/>
            <a:lstStyle/>
            <a:p>
              <a:endParaRPr/>
            </a:p>
          </p:txBody>
        </p:sp>
        <p:sp>
          <p:nvSpPr>
            <p:cNvPr id="13" name="object 15">
              <a:extLst>
                <a:ext uri="{FF2B5EF4-FFF2-40B4-BE49-F238E27FC236}">
                  <a16:creationId xmlns:a16="http://schemas.microsoft.com/office/drawing/2014/main" id="{7ACCF546-2E55-BF75-8C28-6737EB5C4227}"/>
                </a:ext>
              </a:extLst>
            </p:cNvPr>
            <p:cNvSpPr/>
            <p:nvPr/>
          </p:nvSpPr>
          <p:spPr>
            <a:xfrm>
              <a:off x="595784" y="4802583"/>
              <a:ext cx="481330" cy="481965"/>
            </a:xfrm>
            <a:custGeom>
              <a:avLst/>
              <a:gdLst/>
              <a:ahLst/>
              <a:cxnLst/>
              <a:rect l="l" t="t" r="r" b="b"/>
              <a:pathLst>
                <a:path w="481330" h="481964">
                  <a:moveTo>
                    <a:pt x="240388" y="481483"/>
                  </a:moveTo>
                  <a:lnTo>
                    <a:pt x="191941" y="476592"/>
                  </a:lnTo>
                  <a:lnTo>
                    <a:pt x="146817" y="462563"/>
                  </a:lnTo>
                  <a:lnTo>
                    <a:pt x="105984" y="440365"/>
                  </a:lnTo>
                  <a:lnTo>
                    <a:pt x="70407" y="410967"/>
                  </a:lnTo>
                  <a:lnTo>
                    <a:pt x="41054" y="375335"/>
                  </a:lnTo>
                  <a:lnTo>
                    <a:pt x="18890" y="334438"/>
                  </a:lnTo>
                  <a:lnTo>
                    <a:pt x="4883" y="289245"/>
                  </a:lnTo>
                  <a:lnTo>
                    <a:pt x="0" y="240722"/>
                  </a:lnTo>
                  <a:lnTo>
                    <a:pt x="4883" y="192202"/>
                  </a:lnTo>
                  <a:lnTo>
                    <a:pt x="18890" y="147013"/>
                  </a:lnTo>
                  <a:lnTo>
                    <a:pt x="41054" y="106122"/>
                  </a:lnTo>
                  <a:lnTo>
                    <a:pt x="70407" y="70497"/>
                  </a:lnTo>
                  <a:lnTo>
                    <a:pt x="105984" y="41105"/>
                  </a:lnTo>
                  <a:lnTo>
                    <a:pt x="146817" y="18913"/>
                  </a:lnTo>
                  <a:lnTo>
                    <a:pt x="191941" y="4889"/>
                  </a:lnTo>
                  <a:lnTo>
                    <a:pt x="240388" y="0"/>
                  </a:lnTo>
                  <a:lnTo>
                    <a:pt x="288835" y="4889"/>
                  </a:lnTo>
                  <a:lnTo>
                    <a:pt x="333959" y="18913"/>
                  </a:lnTo>
                  <a:lnTo>
                    <a:pt x="374793" y="41105"/>
                  </a:lnTo>
                  <a:lnTo>
                    <a:pt x="410369" y="70497"/>
                  </a:lnTo>
                  <a:lnTo>
                    <a:pt x="439723" y="106122"/>
                  </a:lnTo>
                  <a:lnTo>
                    <a:pt x="461886" y="147013"/>
                  </a:lnTo>
                  <a:lnTo>
                    <a:pt x="475893" y="192202"/>
                  </a:lnTo>
                  <a:lnTo>
                    <a:pt x="480777" y="240722"/>
                  </a:lnTo>
                  <a:lnTo>
                    <a:pt x="475893" y="289245"/>
                  </a:lnTo>
                  <a:lnTo>
                    <a:pt x="461886" y="334438"/>
                  </a:lnTo>
                  <a:lnTo>
                    <a:pt x="439723" y="375335"/>
                  </a:lnTo>
                  <a:lnTo>
                    <a:pt x="410369" y="410967"/>
                  </a:lnTo>
                  <a:lnTo>
                    <a:pt x="374793" y="440365"/>
                  </a:lnTo>
                  <a:lnTo>
                    <a:pt x="333959" y="462563"/>
                  </a:lnTo>
                  <a:lnTo>
                    <a:pt x="288835" y="476592"/>
                  </a:lnTo>
                  <a:lnTo>
                    <a:pt x="240388" y="481483"/>
                  </a:lnTo>
                  <a:close/>
                </a:path>
              </a:pathLst>
            </a:custGeom>
            <a:solidFill>
              <a:srgbClr val="F7931E"/>
            </a:solidFill>
          </p:spPr>
          <p:txBody>
            <a:bodyPr wrap="square" lIns="0" tIns="0" rIns="0" bIns="0" rtlCol="0"/>
            <a:lstStyle/>
            <a:p>
              <a:endParaRPr/>
            </a:p>
          </p:txBody>
        </p:sp>
        <p:pic>
          <p:nvPicPr>
            <p:cNvPr id="14" name="object 16">
              <a:extLst>
                <a:ext uri="{FF2B5EF4-FFF2-40B4-BE49-F238E27FC236}">
                  <a16:creationId xmlns:a16="http://schemas.microsoft.com/office/drawing/2014/main" id="{CA8D8DE8-5D61-3AB1-6782-321E697627DF}"/>
                </a:ext>
              </a:extLst>
            </p:cNvPr>
            <p:cNvPicPr/>
            <p:nvPr/>
          </p:nvPicPr>
          <p:blipFill>
            <a:blip r:embed="rId5" cstate="print"/>
            <a:stretch>
              <a:fillRect/>
            </a:stretch>
          </p:blipFill>
          <p:spPr>
            <a:xfrm>
              <a:off x="682185" y="4920889"/>
              <a:ext cx="261467" cy="261872"/>
            </a:xfrm>
            <a:prstGeom prst="rect">
              <a:avLst/>
            </a:prstGeom>
          </p:spPr>
        </p:pic>
      </p:grpSp>
      <p:pic>
        <p:nvPicPr>
          <p:cNvPr id="2" name="Picture 15" descr="A logo with palm tree and waves&#10;&#10;Description automatically generated">
            <a:extLst>
              <a:ext uri="{FF2B5EF4-FFF2-40B4-BE49-F238E27FC236}">
                <a16:creationId xmlns:a16="http://schemas.microsoft.com/office/drawing/2014/main" id="{E4D13163-16D1-AEDE-1FDA-F1D8F0A5D3F1}"/>
              </a:ext>
            </a:extLst>
          </p:cNvPr>
          <p:cNvPicPr>
            <a:picLocks noChangeAspect="1"/>
          </p:cNvPicPr>
          <p:nvPr/>
        </p:nvPicPr>
        <p:blipFill>
          <a:blip r:embed="rId6"/>
          <a:stretch>
            <a:fillRect/>
          </a:stretch>
        </p:blipFill>
        <p:spPr>
          <a:xfrm>
            <a:off x="6067986" y="634302"/>
            <a:ext cx="1986182" cy="2000465"/>
          </a:xfrm>
          <a:prstGeom prst="rect">
            <a:avLst/>
          </a:prstGeom>
        </p:spPr>
      </p:pic>
    </p:spTree>
    <p:extLst>
      <p:ext uri="{BB962C8B-B14F-4D97-AF65-F5344CB8AC3E}">
        <p14:creationId xmlns:p14="http://schemas.microsoft.com/office/powerpoint/2010/main" val="769587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DA321F-EC04-9A50-F242-95178767EB73}"/>
              </a:ext>
            </a:extLst>
          </p:cNvPr>
          <p:cNvSpPr>
            <a:spLocks noGrp="1"/>
          </p:cNvSpPr>
          <p:nvPr>
            <p:ph type="title"/>
          </p:nvPr>
        </p:nvSpPr>
        <p:spPr>
          <a:xfrm>
            <a:off x="612095" y="134206"/>
            <a:ext cx="10861964" cy="723087"/>
          </a:xfrm>
        </p:spPr>
        <p:txBody>
          <a:bodyPr>
            <a:normAutofit/>
          </a:bodyPr>
          <a:lstStyle/>
          <a:p>
            <a:r>
              <a:rPr lang="en-US">
                <a:latin typeface="Montserrat" panose="00000500000000000000" pitchFamily="2" charset="0"/>
              </a:rPr>
              <a:t>Blue Stream Fiber TV Experience</a:t>
            </a:r>
          </a:p>
        </p:txBody>
      </p:sp>
      <p:sp>
        <p:nvSpPr>
          <p:cNvPr id="6" name="TextBox 5">
            <a:extLst>
              <a:ext uri="{FF2B5EF4-FFF2-40B4-BE49-F238E27FC236}">
                <a16:creationId xmlns:a16="http://schemas.microsoft.com/office/drawing/2014/main" id="{EF002EB1-0335-4694-8CB6-22CBAEFCD2FE}"/>
              </a:ext>
            </a:extLst>
          </p:cNvPr>
          <p:cNvSpPr txBox="1"/>
          <p:nvPr/>
        </p:nvSpPr>
        <p:spPr>
          <a:xfrm>
            <a:off x="549565" y="1111660"/>
            <a:ext cx="2856393" cy="954107"/>
          </a:xfrm>
          <a:prstGeom prst="rect">
            <a:avLst/>
          </a:prstGeom>
          <a:noFill/>
        </p:spPr>
        <p:txBody>
          <a:bodyPr wrap="square" lIns="91440" tIns="45720" rIns="91440" bIns="45720" anchor="t">
            <a:spAutoFit/>
          </a:bodyPr>
          <a:lstStyle/>
          <a:p>
            <a:pPr marL="12700">
              <a:lnSpc>
                <a:spcPct val="100000"/>
              </a:lnSpc>
              <a:spcBef>
                <a:spcPts val="95"/>
              </a:spcBef>
            </a:pPr>
            <a:r>
              <a:rPr lang="en-US" sz="3200" b="1" spc="-100">
                <a:solidFill>
                  <a:srgbClr val="0690B6"/>
                </a:solidFill>
                <a:latin typeface="Montserrat"/>
                <a:cs typeface="Arial"/>
              </a:rPr>
              <a:t>Set-</a:t>
            </a:r>
            <a:r>
              <a:rPr lang="en-US" sz="3200" b="1" spc="-85">
                <a:solidFill>
                  <a:srgbClr val="0690B6"/>
                </a:solidFill>
                <a:latin typeface="Montserrat"/>
                <a:cs typeface="Arial"/>
              </a:rPr>
              <a:t>Top</a:t>
            </a:r>
            <a:r>
              <a:rPr lang="en-US" sz="3200" b="1" spc="-165">
                <a:solidFill>
                  <a:srgbClr val="0690B6"/>
                </a:solidFill>
                <a:latin typeface="Montserrat"/>
                <a:cs typeface="Arial"/>
              </a:rPr>
              <a:t> </a:t>
            </a:r>
            <a:r>
              <a:rPr lang="en-US" sz="3200" b="1" spc="-25">
                <a:solidFill>
                  <a:srgbClr val="0690B6"/>
                </a:solidFill>
                <a:latin typeface="Montserrat"/>
                <a:cs typeface="Arial"/>
              </a:rPr>
              <a:t>Box</a:t>
            </a:r>
            <a:endParaRPr lang="en-US" sz="3200">
              <a:latin typeface="Montserrat"/>
              <a:cs typeface="Arial"/>
            </a:endParaRPr>
          </a:p>
          <a:p>
            <a:pPr marL="12700">
              <a:lnSpc>
                <a:spcPct val="100000"/>
              </a:lnSpc>
              <a:spcBef>
                <a:spcPts val="20"/>
              </a:spcBef>
            </a:pPr>
            <a:r>
              <a:rPr lang="en-US" sz="2400" b="1" i="1" spc="-30">
                <a:solidFill>
                  <a:srgbClr val="3EB1C8"/>
                </a:solidFill>
                <a:latin typeface="Montserrat"/>
                <a:cs typeface="Arial"/>
              </a:rPr>
              <a:t>Full</a:t>
            </a:r>
            <a:r>
              <a:rPr lang="en-US" sz="2400" b="1" i="1" spc="-135">
                <a:solidFill>
                  <a:srgbClr val="3EB1C8"/>
                </a:solidFill>
                <a:latin typeface="Montserrat"/>
                <a:cs typeface="Arial"/>
              </a:rPr>
              <a:t> </a:t>
            </a:r>
            <a:r>
              <a:rPr lang="en-US" sz="2400" b="1" i="1" spc="-45">
                <a:solidFill>
                  <a:srgbClr val="3EB1C8"/>
                </a:solidFill>
                <a:latin typeface="Montserrat"/>
                <a:cs typeface="Arial"/>
              </a:rPr>
              <a:t>functionality</a:t>
            </a:r>
            <a:endParaRPr lang="en-US" sz="2400">
              <a:solidFill>
                <a:srgbClr val="3EB1C8"/>
              </a:solidFill>
              <a:latin typeface="Montserrat"/>
              <a:cs typeface="Arial"/>
            </a:endParaRPr>
          </a:p>
        </p:txBody>
      </p:sp>
      <p:sp>
        <p:nvSpPr>
          <p:cNvPr id="7" name="object 12">
            <a:extLst>
              <a:ext uri="{FF2B5EF4-FFF2-40B4-BE49-F238E27FC236}">
                <a16:creationId xmlns:a16="http://schemas.microsoft.com/office/drawing/2014/main" id="{571CD685-6C50-4659-A253-1872865FA935}"/>
              </a:ext>
            </a:extLst>
          </p:cNvPr>
          <p:cNvSpPr txBox="1"/>
          <p:nvPr/>
        </p:nvSpPr>
        <p:spPr>
          <a:xfrm>
            <a:off x="6676841" y="1155025"/>
            <a:ext cx="5515726" cy="1367041"/>
          </a:xfrm>
          <a:prstGeom prst="rect">
            <a:avLst/>
          </a:prstGeom>
        </p:spPr>
        <p:txBody>
          <a:bodyPr vert="horz" wrap="square" lIns="0" tIns="12700" rIns="0" bIns="0" rtlCol="0" anchor="t">
            <a:spAutoFit/>
          </a:bodyPr>
          <a:lstStyle/>
          <a:p>
            <a:pPr marL="12700" marR="267970">
              <a:lnSpc>
                <a:spcPct val="100000"/>
              </a:lnSpc>
              <a:spcBef>
                <a:spcPts val="100"/>
              </a:spcBef>
            </a:pPr>
            <a:r>
              <a:rPr sz="3200" b="1" spc="-75">
                <a:solidFill>
                  <a:srgbClr val="0690B6"/>
                </a:solidFill>
                <a:latin typeface="Montserrat"/>
                <a:cs typeface="Arial"/>
              </a:rPr>
              <a:t>Blue</a:t>
            </a:r>
            <a:r>
              <a:rPr sz="3200" b="1" spc="-100">
                <a:solidFill>
                  <a:srgbClr val="0690B6"/>
                </a:solidFill>
                <a:latin typeface="Montserrat"/>
                <a:cs typeface="Arial"/>
              </a:rPr>
              <a:t> </a:t>
            </a:r>
            <a:r>
              <a:rPr sz="3200" b="1" spc="-45">
                <a:solidFill>
                  <a:srgbClr val="0690B6"/>
                </a:solidFill>
                <a:latin typeface="Montserrat"/>
                <a:cs typeface="Arial"/>
              </a:rPr>
              <a:t>Stream</a:t>
            </a:r>
            <a:r>
              <a:rPr sz="3200" b="1" spc="-105">
                <a:solidFill>
                  <a:srgbClr val="0690B6"/>
                </a:solidFill>
                <a:latin typeface="Montserrat"/>
                <a:cs typeface="Arial"/>
              </a:rPr>
              <a:t> </a:t>
            </a:r>
            <a:r>
              <a:rPr sz="3200" b="1" spc="-20">
                <a:solidFill>
                  <a:srgbClr val="0690B6"/>
                </a:solidFill>
                <a:latin typeface="Montserrat"/>
                <a:cs typeface="Arial"/>
              </a:rPr>
              <a:t>Fiber </a:t>
            </a:r>
            <a:r>
              <a:rPr sz="3200" b="1">
                <a:solidFill>
                  <a:srgbClr val="0690B6"/>
                </a:solidFill>
                <a:latin typeface="Montserrat"/>
                <a:cs typeface="Arial"/>
              </a:rPr>
              <a:t>TV</a:t>
            </a:r>
            <a:r>
              <a:rPr sz="3200" b="1" spc="-75">
                <a:solidFill>
                  <a:srgbClr val="0690B6"/>
                </a:solidFill>
                <a:latin typeface="Montserrat"/>
                <a:cs typeface="Arial"/>
              </a:rPr>
              <a:t> </a:t>
            </a:r>
            <a:r>
              <a:rPr sz="3200" b="1" spc="-50">
                <a:solidFill>
                  <a:srgbClr val="0690B6"/>
                </a:solidFill>
                <a:latin typeface="Montserrat"/>
                <a:cs typeface="Arial"/>
              </a:rPr>
              <a:t>App</a:t>
            </a:r>
            <a:r>
              <a:rPr sz="3200" b="1" spc="-145">
                <a:solidFill>
                  <a:srgbClr val="0690B6"/>
                </a:solidFill>
                <a:latin typeface="Montserrat"/>
                <a:cs typeface="Arial"/>
              </a:rPr>
              <a:t> </a:t>
            </a:r>
            <a:r>
              <a:rPr sz="3200" b="1" spc="-45">
                <a:solidFill>
                  <a:srgbClr val="0690B6"/>
                </a:solidFill>
                <a:latin typeface="Montserrat"/>
                <a:cs typeface="Arial"/>
              </a:rPr>
              <a:t>on</a:t>
            </a:r>
            <a:r>
              <a:rPr sz="3200" b="1" spc="-200">
                <a:solidFill>
                  <a:srgbClr val="0690B6"/>
                </a:solidFill>
                <a:latin typeface="Montserrat"/>
                <a:cs typeface="Arial"/>
              </a:rPr>
              <a:t> </a:t>
            </a:r>
            <a:r>
              <a:rPr sz="3200" b="1" spc="-55">
                <a:solidFill>
                  <a:srgbClr val="0690B6"/>
                </a:solidFill>
                <a:latin typeface="Montserrat"/>
                <a:cs typeface="Arial"/>
              </a:rPr>
              <a:t>streamer</a:t>
            </a:r>
            <a:endParaRPr sz="3200">
              <a:latin typeface="Montserrat"/>
              <a:cs typeface="Arial"/>
            </a:endParaRPr>
          </a:p>
          <a:p>
            <a:pPr marL="12700">
              <a:lnSpc>
                <a:spcPct val="100000"/>
              </a:lnSpc>
            </a:pPr>
            <a:r>
              <a:rPr sz="2400" b="1" i="1" spc="-30">
                <a:solidFill>
                  <a:srgbClr val="3EB1C8"/>
                </a:solidFill>
                <a:latin typeface="Montserrat"/>
                <a:cs typeface="Arial"/>
              </a:rPr>
              <a:t>Modified</a:t>
            </a:r>
            <a:r>
              <a:rPr sz="2400" b="1" i="1" spc="-110">
                <a:solidFill>
                  <a:srgbClr val="3EB1C8"/>
                </a:solidFill>
                <a:latin typeface="Montserrat"/>
                <a:cs typeface="Arial"/>
              </a:rPr>
              <a:t> </a:t>
            </a:r>
            <a:r>
              <a:rPr sz="2400" b="1" i="1" spc="-45">
                <a:solidFill>
                  <a:srgbClr val="3EB1C8"/>
                </a:solidFill>
                <a:latin typeface="Montserrat"/>
                <a:cs typeface="Arial"/>
              </a:rPr>
              <a:t>functionality</a:t>
            </a:r>
            <a:endParaRPr sz="2400">
              <a:solidFill>
                <a:srgbClr val="3EB1C8"/>
              </a:solidFill>
              <a:latin typeface="Montserrat"/>
              <a:cs typeface="Arial"/>
            </a:endParaRPr>
          </a:p>
        </p:txBody>
      </p:sp>
      <p:pic>
        <p:nvPicPr>
          <p:cNvPr id="8" name="object 14">
            <a:extLst>
              <a:ext uri="{FF2B5EF4-FFF2-40B4-BE49-F238E27FC236}">
                <a16:creationId xmlns:a16="http://schemas.microsoft.com/office/drawing/2014/main" id="{BC656E54-C1E6-4001-9688-E79D11C7A119}"/>
              </a:ext>
            </a:extLst>
          </p:cNvPr>
          <p:cNvPicPr/>
          <p:nvPr/>
        </p:nvPicPr>
        <p:blipFill>
          <a:blip r:embed="rId3" cstate="print"/>
          <a:stretch>
            <a:fillRect/>
          </a:stretch>
        </p:blipFill>
        <p:spPr>
          <a:xfrm>
            <a:off x="5647910" y="1283212"/>
            <a:ext cx="1134630" cy="5139106"/>
          </a:xfrm>
          <a:prstGeom prst="rect">
            <a:avLst/>
          </a:prstGeom>
        </p:spPr>
      </p:pic>
      <p:sp>
        <p:nvSpPr>
          <p:cNvPr id="9" name="TextBox 8">
            <a:extLst>
              <a:ext uri="{FF2B5EF4-FFF2-40B4-BE49-F238E27FC236}">
                <a16:creationId xmlns:a16="http://schemas.microsoft.com/office/drawing/2014/main" id="{638FBF7D-62DF-4D15-BC21-017A4D64DA7D}"/>
              </a:ext>
            </a:extLst>
          </p:cNvPr>
          <p:cNvSpPr txBox="1"/>
          <p:nvPr/>
        </p:nvSpPr>
        <p:spPr>
          <a:xfrm>
            <a:off x="301658" y="2068627"/>
            <a:ext cx="5530651" cy="4632037"/>
          </a:xfrm>
          <a:prstGeom prst="rect">
            <a:avLst/>
          </a:prstGeom>
          <a:noFill/>
        </p:spPr>
        <p:txBody>
          <a:bodyPr wrap="square" lIns="91440" tIns="45720" rIns="91440" bIns="45720" rtlCol="0" anchor="t">
            <a:spAutoFit/>
          </a:bodyPr>
          <a:lstStyle/>
          <a:p>
            <a:pPr marL="355600" indent="-342900">
              <a:lnSpc>
                <a:spcPct val="100000"/>
              </a:lnSpc>
              <a:spcBef>
                <a:spcPts val="700"/>
              </a:spcBef>
              <a:buClr>
                <a:schemeClr val="accent2"/>
              </a:buClr>
              <a:buFont typeface="Arial" panose="020B0604020202020204" pitchFamily="34" charset="0"/>
              <a:buChar char="•"/>
              <a:tabLst>
                <a:tab pos="297815" algn="l"/>
                <a:tab pos="298450" algn="l"/>
              </a:tabLst>
            </a:pPr>
            <a:r>
              <a:rPr lang="en-US" sz="2200" spc="-20">
                <a:solidFill>
                  <a:srgbClr val="004160"/>
                </a:solidFill>
                <a:latin typeface="Montserrat"/>
                <a:cs typeface="Arial"/>
              </a:rPr>
              <a:t>Live</a:t>
            </a:r>
            <a:r>
              <a:rPr lang="en-US" sz="2200" spc="-110">
                <a:solidFill>
                  <a:srgbClr val="004160"/>
                </a:solidFill>
                <a:latin typeface="Montserrat"/>
                <a:cs typeface="Arial"/>
              </a:rPr>
              <a:t> </a:t>
            </a:r>
            <a:r>
              <a:rPr lang="en-US" sz="2200" spc="-25">
                <a:solidFill>
                  <a:srgbClr val="004160"/>
                </a:solidFill>
                <a:latin typeface="Montserrat"/>
                <a:cs typeface="Arial"/>
              </a:rPr>
              <a:t>TV</a:t>
            </a:r>
            <a:endParaRPr lang="en-US" sz="2200">
              <a:latin typeface="Montserrat"/>
              <a:cs typeface="Arial"/>
            </a:endParaRPr>
          </a:p>
          <a:p>
            <a:pPr marL="355600" indent="-342900">
              <a:lnSpc>
                <a:spcPct val="100000"/>
              </a:lnSpc>
              <a:spcBef>
                <a:spcPts val="600"/>
              </a:spcBef>
              <a:buClr>
                <a:schemeClr val="accent2"/>
              </a:buClr>
              <a:buFont typeface="Arial" panose="020B0604020202020204" pitchFamily="34" charset="0"/>
              <a:buChar char="•"/>
              <a:tabLst>
                <a:tab pos="297815" algn="l"/>
                <a:tab pos="298450" algn="l"/>
              </a:tabLst>
            </a:pPr>
            <a:r>
              <a:rPr lang="en-US" sz="2200" spc="-20">
                <a:solidFill>
                  <a:srgbClr val="004160"/>
                </a:solidFill>
                <a:latin typeface="Montserrat"/>
                <a:cs typeface="Arial"/>
              </a:rPr>
              <a:t>Interactive</a:t>
            </a:r>
            <a:r>
              <a:rPr lang="en-US" sz="2200" spc="-35">
                <a:solidFill>
                  <a:srgbClr val="004160"/>
                </a:solidFill>
                <a:latin typeface="Montserrat"/>
                <a:cs typeface="Arial"/>
              </a:rPr>
              <a:t> </a:t>
            </a:r>
            <a:r>
              <a:rPr lang="en-US" sz="2200" spc="-20">
                <a:solidFill>
                  <a:srgbClr val="004160"/>
                </a:solidFill>
                <a:latin typeface="Montserrat"/>
                <a:cs typeface="Arial"/>
              </a:rPr>
              <a:t>guide</a:t>
            </a:r>
            <a:endParaRPr lang="en-US" sz="2200">
              <a:latin typeface="Montserrat"/>
              <a:cs typeface="Arial"/>
            </a:endParaRPr>
          </a:p>
          <a:p>
            <a:pPr marL="355600" indent="-342900">
              <a:spcBef>
                <a:spcPts val="600"/>
              </a:spcBef>
              <a:buClr>
                <a:schemeClr val="accent2"/>
              </a:buClr>
              <a:buFont typeface="Arial" panose="020B0604020202020204" pitchFamily="34" charset="0"/>
              <a:buChar char="•"/>
              <a:tabLst>
                <a:tab pos="297815" algn="l"/>
                <a:tab pos="298450" algn="l"/>
              </a:tabLst>
            </a:pPr>
            <a:r>
              <a:rPr lang="en-US" sz="2200" spc="-75">
                <a:solidFill>
                  <a:srgbClr val="004160"/>
                </a:solidFill>
                <a:latin typeface="Montserrat"/>
                <a:cs typeface="Arial"/>
              </a:rPr>
              <a:t>DVR</a:t>
            </a:r>
            <a:r>
              <a:rPr lang="en-US" sz="2200" spc="-235">
                <a:solidFill>
                  <a:srgbClr val="004160"/>
                </a:solidFill>
                <a:latin typeface="Montserrat"/>
                <a:cs typeface="Arial"/>
              </a:rPr>
              <a:t>  </a:t>
            </a:r>
            <a:r>
              <a:rPr lang="en-US" sz="2200" spc="-10">
                <a:solidFill>
                  <a:srgbClr val="004160"/>
                </a:solidFill>
                <a:latin typeface="Montserrat"/>
                <a:cs typeface="Arial"/>
              </a:rPr>
              <a:t>Recordings</a:t>
            </a:r>
            <a:endParaRPr lang="en-US" sz="2200">
              <a:latin typeface="Montserrat"/>
              <a:cs typeface="Arial"/>
            </a:endParaRPr>
          </a:p>
          <a:p>
            <a:pPr marL="355600" indent="-342900">
              <a:lnSpc>
                <a:spcPct val="100000"/>
              </a:lnSpc>
              <a:spcBef>
                <a:spcPts val="600"/>
              </a:spcBef>
              <a:buClr>
                <a:schemeClr val="accent2"/>
              </a:buClr>
              <a:buFont typeface="Arial" panose="020B0604020202020204" pitchFamily="34" charset="0"/>
              <a:buChar char="•"/>
              <a:tabLst>
                <a:tab pos="297815" algn="l"/>
                <a:tab pos="298450" algn="l"/>
              </a:tabLst>
            </a:pPr>
            <a:r>
              <a:rPr lang="en-US" sz="2200" spc="-25">
                <a:solidFill>
                  <a:srgbClr val="004160"/>
                </a:solidFill>
                <a:latin typeface="Montserrat"/>
                <a:cs typeface="Arial"/>
              </a:rPr>
              <a:t>PPV</a:t>
            </a:r>
            <a:endParaRPr lang="en-US" sz="2200">
              <a:latin typeface="Montserrat"/>
              <a:cs typeface="Arial"/>
            </a:endParaRPr>
          </a:p>
          <a:p>
            <a:pPr marL="355600" indent="-342900">
              <a:lnSpc>
                <a:spcPct val="100000"/>
              </a:lnSpc>
              <a:spcBef>
                <a:spcPts val="600"/>
              </a:spcBef>
              <a:buClr>
                <a:schemeClr val="accent2"/>
              </a:buClr>
              <a:buFont typeface="Arial" panose="020B0604020202020204" pitchFamily="34" charset="0"/>
              <a:buChar char="•"/>
              <a:tabLst>
                <a:tab pos="297815" algn="l"/>
                <a:tab pos="298450" algn="l"/>
              </a:tabLst>
            </a:pPr>
            <a:r>
              <a:rPr lang="en-US" sz="2200" spc="-10">
                <a:solidFill>
                  <a:srgbClr val="004160"/>
                </a:solidFill>
                <a:latin typeface="Montserrat"/>
                <a:cs typeface="Arial"/>
              </a:rPr>
              <a:t>Voice</a:t>
            </a:r>
            <a:r>
              <a:rPr lang="en-US" sz="2200" spc="-135">
                <a:solidFill>
                  <a:srgbClr val="004160"/>
                </a:solidFill>
                <a:latin typeface="Montserrat"/>
                <a:cs typeface="Arial"/>
              </a:rPr>
              <a:t> </a:t>
            </a:r>
            <a:r>
              <a:rPr lang="en-US" sz="2200" spc="-10">
                <a:solidFill>
                  <a:srgbClr val="004160"/>
                </a:solidFill>
                <a:latin typeface="Montserrat"/>
                <a:cs typeface="Arial"/>
              </a:rPr>
              <a:t>Remote</a:t>
            </a:r>
            <a:endParaRPr lang="en-US" sz="2200">
              <a:latin typeface="Montserrat"/>
              <a:cs typeface="Arial"/>
            </a:endParaRPr>
          </a:p>
          <a:p>
            <a:pPr marL="355600" marR="313055" indent="-342900">
              <a:lnSpc>
                <a:spcPct val="100000"/>
              </a:lnSpc>
              <a:spcBef>
                <a:spcPts val="600"/>
              </a:spcBef>
              <a:buClr>
                <a:schemeClr val="accent2"/>
              </a:buClr>
              <a:buFont typeface="Arial" panose="020B0604020202020204" pitchFamily="34" charset="0"/>
              <a:buChar char="•"/>
              <a:tabLst>
                <a:tab pos="297815" algn="l"/>
                <a:tab pos="298450" algn="l"/>
              </a:tabLst>
            </a:pPr>
            <a:r>
              <a:rPr lang="en-US" sz="2200" spc="-35">
                <a:solidFill>
                  <a:srgbClr val="004160"/>
                </a:solidFill>
                <a:latin typeface="Montserrat"/>
                <a:cs typeface="Arial"/>
              </a:rPr>
              <a:t>Access</a:t>
            </a:r>
            <a:r>
              <a:rPr lang="en-US" sz="2200" spc="-114">
                <a:solidFill>
                  <a:srgbClr val="004160"/>
                </a:solidFill>
                <a:latin typeface="Montserrat"/>
                <a:cs typeface="Arial"/>
              </a:rPr>
              <a:t> </a:t>
            </a:r>
            <a:r>
              <a:rPr lang="en-US" sz="2200">
                <a:solidFill>
                  <a:srgbClr val="004160"/>
                </a:solidFill>
                <a:latin typeface="Montserrat"/>
                <a:cs typeface="Arial"/>
              </a:rPr>
              <a:t>to</a:t>
            </a:r>
            <a:r>
              <a:rPr lang="en-US" sz="2200" spc="-45">
                <a:solidFill>
                  <a:srgbClr val="004160"/>
                </a:solidFill>
                <a:latin typeface="Montserrat"/>
                <a:cs typeface="Arial"/>
              </a:rPr>
              <a:t> </a:t>
            </a:r>
            <a:r>
              <a:rPr lang="en-US" sz="2200">
                <a:solidFill>
                  <a:srgbClr val="004160"/>
                </a:solidFill>
                <a:latin typeface="Montserrat"/>
                <a:cs typeface="Arial"/>
              </a:rPr>
              <a:t>apps</a:t>
            </a:r>
            <a:r>
              <a:rPr lang="en-US" sz="2200" spc="-70">
                <a:solidFill>
                  <a:srgbClr val="004160"/>
                </a:solidFill>
                <a:latin typeface="Montserrat"/>
                <a:cs typeface="Arial"/>
              </a:rPr>
              <a:t> </a:t>
            </a:r>
            <a:r>
              <a:rPr lang="en-US" sz="2200">
                <a:solidFill>
                  <a:srgbClr val="004160"/>
                </a:solidFill>
                <a:latin typeface="Montserrat"/>
                <a:cs typeface="Arial"/>
              </a:rPr>
              <a:t>on</a:t>
            </a:r>
            <a:r>
              <a:rPr lang="en-US" sz="2200" spc="-85">
                <a:solidFill>
                  <a:srgbClr val="004160"/>
                </a:solidFill>
                <a:latin typeface="Montserrat"/>
                <a:cs typeface="Arial"/>
              </a:rPr>
              <a:t> </a:t>
            </a:r>
            <a:r>
              <a:rPr lang="en-US" sz="2200" spc="-10">
                <a:solidFill>
                  <a:srgbClr val="004160"/>
                </a:solidFill>
                <a:latin typeface="Montserrat"/>
                <a:cs typeface="Arial"/>
              </a:rPr>
              <a:t>Google</a:t>
            </a:r>
            <a:r>
              <a:rPr lang="en-US" sz="2200" spc="-85">
                <a:solidFill>
                  <a:srgbClr val="004160"/>
                </a:solidFill>
                <a:latin typeface="Montserrat"/>
                <a:cs typeface="Arial"/>
              </a:rPr>
              <a:t> </a:t>
            </a:r>
            <a:r>
              <a:rPr lang="en-US" sz="2200" spc="-50">
                <a:solidFill>
                  <a:srgbClr val="004160"/>
                </a:solidFill>
                <a:latin typeface="Montserrat"/>
                <a:cs typeface="Arial"/>
              </a:rPr>
              <a:t>Play</a:t>
            </a:r>
            <a:r>
              <a:rPr lang="en-US" sz="2200" spc="-125">
                <a:solidFill>
                  <a:srgbClr val="004160"/>
                </a:solidFill>
                <a:latin typeface="Montserrat"/>
                <a:cs typeface="Arial"/>
              </a:rPr>
              <a:t> </a:t>
            </a:r>
            <a:r>
              <a:rPr lang="en-US" sz="2200" spc="-20">
                <a:solidFill>
                  <a:srgbClr val="004160"/>
                </a:solidFill>
                <a:latin typeface="Montserrat"/>
                <a:cs typeface="Arial"/>
              </a:rPr>
              <a:t>Store</a:t>
            </a:r>
            <a:r>
              <a:rPr lang="en-US" sz="2200" spc="-90">
                <a:solidFill>
                  <a:srgbClr val="004160"/>
                </a:solidFill>
                <a:latin typeface="Montserrat"/>
                <a:cs typeface="Arial"/>
              </a:rPr>
              <a:t> </a:t>
            </a:r>
            <a:r>
              <a:rPr lang="en-US" sz="2200" spc="-10">
                <a:solidFill>
                  <a:srgbClr val="004160"/>
                </a:solidFill>
                <a:latin typeface="Montserrat"/>
                <a:cs typeface="Arial"/>
              </a:rPr>
              <a:t>(Netflix, </a:t>
            </a:r>
            <a:r>
              <a:rPr lang="en-US" sz="2200" spc="-25">
                <a:solidFill>
                  <a:srgbClr val="004160"/>
                </a:solidFill>
                <a:latin typeface="Montserrat"/>
                <a:cs typeface="Arial"/>
              </a:rPr>
              <a:t>Hulu,</a:t>
            </a:r>
            <a:r>
              <a:rPr lang="en-US" sz="2200" spc="-100">
                <a:solidFill>
                  <a:srgbClr val="004160"/>
                </a:solidFill>
                <a:latin typeface="Montserrat"/>
                <a:cs typeface="Arial"/>
              </a:rPr>
              <a:t> </a:t>
            </a:r>
            <a:r>
              <a:rPr lang="en-US" sz="2200" spc="-10">
                <a:solidFill>
                  <a:srgbClr val="004160"/>
                </a:solidFill>
                <a:latin typeface="Montserrat"/>
                <a:cs typeface="Arial"/>
              </a:rPr>
              <a:t>etc.)</a:t>
            </a:r>
            <a:endParaRPr lang="en-US" sz="2200">
              <a:latin typeface="Montserrat"/>
              <a:cs typeface="Arial"/>
            </a:endParaRPr>
          </a:p>
          <a:p>
            <a:pPr marL="355600" indent="-342900">
              <a:lnSpc>
                <a:spcPct val="100000"/>
              </a:lnSpc>
              <a:spcBef>
                <a:spcPts val="600"/>
              </a:spcBef>
              <a:buClr>
                <a:schemeClr val="accent2"/>
              </a:buClr>
              <a:buFont typeface="Arial" panose="020B0604020202020204" pitchFamily="34" charset="0"/>
              <a:buChar char="•"/>
              <a:tabLst>
                <a:tab pos="297815" algn="l"/>
                <a:tab pos="298450" algn="l"/>
              </a:tabLst>
            </a:pPr>
            <a:r>
              <a:rPr lang="en-US" sz="2200" spc="-10">
                <a:solidFill>
                  <a:srgbClr val="004160"/>
                </a:solidFill>
                <a:latin typeface="Montserrat"/>
                <a:cs typeface="Arial"/>
              </a:rPr>
              <a:t>Integrated</a:t>
            </a:r>
            <a:r>
              <a:rPr lang="en-US" sz="2200" spc="-90">
                <a:solidFill>
                  <a:srgbClr val="004160"/>
                </a:solidFill>
                <a:latin typeface="Montserrat"/>
                <a:cs typeface="Arial"/>
              </a:rPr>
              <a:t> </a:t>
            </a:r>
            <a:r>
              <a:rPr lang="en-US" sz="2200" spc="-25">
                <a:solidFill>
                  <a:srgbClr val="004160"/>
                </a:solidFill>
                <a:latin typeface="Montserrat"/>
                <a:cs typeface="Arial"/>
              </a:rPr>
              <a:t>search</a:t>
            </a:r>
            <a:r>
              <a:rPr lang="en-US" sz="2200" spc="-110">
                <a:solidFill>
                  <a:srgbClr val="004160"/>
                </a:solidFill>
                <a:latin typeface="Montserrat"/>
                <a:cs typeface="Arial"/>
              </a:rPr>
              <a:t> </a:t>
            </a:r>
            <a:r>
              <a:rPr lang="en-US" sz="2200" spc="-35">
                <a:solidFill>
                  <a:srgbClr val="004160"/>
                </a:solidFill>
                <a:latin typeface="Montserrat"/>
                <a:cs typeface="Arial"/>
              </a:rPr>
              <a:t>across</a:t>
            </a:r>
            <a:r>
              <a:rPr lang="en-US" sz="2200" spc="-110">
                <a:solidFill>
                  <a:srgbClr val="004160"/>
                </a:solidFill>
                <a:latin typeface="Montserrat"/>
                <a:cs typeface="Arial"/>
              </a:rPr>
              <a:t> </a:t>
            </a:r>
            <a:r>
              <a:rPr lang="en-US" sz="2200">
                <a:solidFill>
                  <a:srgbClr val="004160"/>
                </a:solidFill>
                <a:latin typeface="Montserrat"/>
                <a:cs typeface="Arial"/>
              </a:rPr>
              <a:t>live</a:t>
            </a:r>
            <a:r>
              <a:rPr lang="en-US" sz="2200" spc="-90">
                <a:solidFill>
                  <a:srgbClr val="004160"/>
                </a:solidFill>
                <a:latin typeface="Montserrat"/>
                <a:cs typeface="Arial"/>
              </a:rPr>
              <a:t> </a:t>
            </a:r>
            <a:r>
              <a:rPr lang="en-US" sz="2200" spc="-30">
                <a:solidFill>
                  <a:srgbClr val="004160"/>
                </a:solidFill>
                <a:latin typeface="Montserrat"/>
                <a:cs typeface="Arial"/>
              </a:rPr>
              <a:t>TV</a:t>
            </a:r>
            <a:r>
              <a:rPr lang="en-US" sz="2200" spc="-110">
                <a:solidFill>
                  <a:srgbClr val="004160"/>
                </a:solidFill>
                <a:latin typeface="Montserrat"/>
                <a:cs typeface="Arial"/>
              </a:rPr>
              <a:t> </a:t>
            </a:r>
            <a:r>
              <a:rPr lang="en-US" sz="2200">
                <a:solidFill>
                  <a:srgbClr val="004160"/>
                </a:solidFill>
                <a:latin typeface="Montserrat"/>
                <a:cs typeface="Arial"/>
              </a:rPr>
              <a:t>and</a:t>
            </a:r>
            <a:r>
              <a:rPr lang="en-US" sz="2200" spc="-60">
                <a:solidFill>
                  <a:srgbClr val="004160"/>
                </a:solidFill>
                <a:latin typeface="Montserrat"/>
                <a:cs typeface="Arial"/>
              </a:rPr>
              <a:t> </a:t>
            </a:r>
            <a:r>
              <a:rPr lang="en-US" sz="2200" spc="-35">
                <a:solidFill>
                  <a:srgbClr val="004160"/>
                </a:solidFill>
                <a:latin typeface="Montserrat"/>
                <a:cs typeface="Arial"/>
              </a:rPr>
              <a:t>many</a:t>
            </a:r>
            <a:r>
              <a:rPr lang="en-US" sz="2200" spc="-105">
                <a:solidFill>
                  <a:srgbClr val="004160"/>
                </a:solidFill>
                <a:latin typeface="Montserrat"/>
                <a:cs typeface="Arial"/>
              </a:rPr>
              <a:t> </a:t>
            </a:r>
            <a:r>
              <a:rPr lang="en-US" sz="2200" spc="-20">
                <a:solidFill>
                  <a:srgbClr val="004160"/>
                </a:solidFill>
                <a:latin typeface="Montserrat"/>
                <a:cs typeface="Arial"/>
              </a:rPr>
              <a:t>apps</a:t>
            </a:r>
            <a:endParaRPr lang="en-US" sz="2200">
              <a:latin typeface="Montserrat"/>
              <a:cs typeface="Arial"/>
            </a:endParaRPr>
          </a:p>
          <a:p>
            <a:pPr marL="354965" marR="335915" indent="-342900">
              <a:spcBef>
                <a:spcPts val="600"/>
              </a:spcBef>
              <a:buClr>
                <a:schemeClr val="accent2"/>
              </a:buClr>
              <a:buFont typeface="Arial" panose="020B0604020202020204" pitchFamily="34" charset="0"/>
              <a:buChar char="•"/>
              <a:tabLst>
                <a:tab pos="297815" algn="l"/>
                <a:tab pos="298450" algn="l"/>
              </a:tabLst>
            </a:pPr>
            <a:r>
              <a:rPr lang="en-US" sz="2200" spc="-20">
                <a:solidFill>
                  <a:srgbClr val="004160"/>
                </a:solidFill>
                <a:latin typeface="Montserrat"/>
                <a:cs typeface="Arial"/>
              </a:rPr>
              <a:t>Plus, an additional 160+ free, binge-worthy channels via TiVo+</a:t>
            </a:r>
          </a:p>
          <a:p>
            <a:endParaRPr lang="en-US"/>
          </a:p>
        </p:txBody>
      </p:sp>
      <p:sp>
        <p:nvSpPr>
          <p:cNvPr id="11" name="TextBox 10">
            <a:extLst>
              <a:ext uri="{FF2B5EF4-FFF2-40B4-BE49-F238E27FC236}">
                <a16:creationId xmlns:a16="http://schemas.microsoft.com/office/drawing/2014/main" id="{33A51212-FE46-4B8D-AD1F-54DC9A961E9A}"/>
              </a:ext>
            </a:extLst>
          </p:cNvPr>
          <p:cNvSpPr txBox="1"/>
          <p:nvPr/>
        </p:nvSpPr>
        <p:spPr>
          <a:xfrm>
            <a:off x="6676843" y="2638527"/>
            <a:ext cx="4724562" cy="2431435"/>
          </a:xfrm>
          <a:prstGeom prst="rect">
            <a:avLst/>
          </a:prstGeom>
          <a:noFill/>
        </p:spPr>
        <p:txBody>
          <a:bodyPr wrap="square" rtlCol="0">
            <a:spAutoFit/>
          </a:bodyPr>
          <a:lstStyle/>
          <a:p>
            <a:pPr marL="355600" indent="-342900">
              <a:lnSpc>
                <a:spcPct val="100000"/>
              </a:lnSpc>
              <a:spcBef>
                <a:spcPts val="700"/>
              </a:spcBef>
              <a:buClr>
                <a:schemeClr val="accent2"/>
              </a:buClr>
              <a:buFont typeface="Arial" panose="020B0604020202020204" pitchFamily="34" charset="0"/>
              <a:buChar char="•"/>
              <a:tabLst>
                <a:tab pos="297815" algn="l"/>
                <a:tab pos="298450" algn="l"/>
              </a:tabLst>
            </a:pPr>
            <a:r>
              <a:rPr lang="en-US" sz="2200" spc="-20">
                <a:solidFill>
                  <a:srgbClr val="004160"/>
                </a:solidFill>
                <a:latin typeface="Montserrat" panose="00000500000000000000" pitchFamily="2" charset="0"/>
                <a:cs typeface="Arial"/>
              </a:rPr>
              <a:t>Live</a:t>
            </a:r>
            <a:r>
              <a:rPr lang="en-US" sz="2200" spc="-110">
                <a:solidFill>
                  <a:srgbClr val="004160"/>
                </a:solidFill>
                <a:latin typeface="Montserrat" panose="00000500000000000000" pitchFamily="2" charset="0"/>
                <a:cs typeface="Arial"/>
              </a:rPr>
              <a:t> </a:t>
            </a:r>
            <a:r>
              <a:rPr lang="en-US" sz="2200" spc="-25">
                <a:solidFill>
                  <a:srgbClr val="004160"/>
                </a:solidFill>
                <a:latin typeface="Montserrat" panose="00000500000000000000" pitchFamily="2" charset="0"/>
                <a:cs typeface="Arial"/>
              </a:rPr>
              <a:t>TV</a:t>
            </a:r>
            <a:endParaRPr lang="en-US" sz="2200">
              <a:latin typeface="Montserrat" panose="00000500000000000000" pitchFamily="2" charset="0"/>
              <a:cs typeface="Arial"/>
            </a:endParaRPr>
          </a:p>
          <a:p>
            <a:pPr marL="355600" indent="-342900">
              <a:lnSpc>
                <a:spcPct val="100000"/>
              </a:lnSpc>
              <a:spcBef>
                <a:spcPts val="600"/>
              </a:spcBef>
              <a:buClr>
                <a:schemeClr val="accent2"/>
              </a:buClr>
              <a:buFont typeface="Arial" panose="020B0604020202020204" pitchFamily="34" charset="0"/>
              <a:buChar char="•"/>
              <a:tabLst>
                <a:tab pos="297815" algn="l"/>
                <a:tab pos="298450" algn="l"/>
              </a:tabLst>
            </a:pPr>
            <a:r>
              <a:rPr lang="en-US" sz="2200" spc="-20">
                <a:solidFill>
                  <a:srgbClr val="004160"/>
                </a:solidFill>
                <a:latin typeface="Montserrat" panose="00000500000000000000" pitchFamily="2" charset="0"/>
                <a:cs typeface="Arial"/>
              </a:rPr>
              <a:t>Interactive</a:t>
            </a:r>
            <a:r>
              <a:rPr lang="en-US" sz="2200" spc="-35">
                <a:solidFill>
                  <a:srgbClr val="004160"/>
                </a:solidFill>
                <a:latin typeface="Montserrat" panose="00000500000000000000" pitchFamily="2" charset="0"/>
                <a:cs typeface="Arial"/>
              </a:rPr>
              <a:t> </a:t>
            </a:r>
            <a:r>
              <a:rPr lang="en-US" sz="2200" spc="-20">
                <a:solidFill>
                  <a:srgbClr val="004160"/>
                </a:solidFill>
                <a:latin typeface="Montserrat" panose="00000500000000000000" pitchFamily="2" charset="0"/>
                <a:cs typeface="Arial"/>
              </a:rPr>
              <a:t>guide</a:t>
            </a:r>
            <a:endParaRPr lang="en-US" sz="2200">
              <a:latin typeface="Montserrat" panose="00000500000000000000" pitchFamily="2" charset="0"/>
              <a:cs typeface="Arial"/>
            </a:endParaRPr>
          </a:p>
          <a:p>
            <a:pPr marL="355600" indent="-342900">
              <a:lnSpc>
                <a:spcPct val="100000"/>
              </a:lnSpc>
              <a:spcBef>
                <a:spcPts val="600"/>
              </a:spcBef>
              <a:buClr>
                <a:schemeClr val="accent2"/>
              </a:buClr>
              <a:buFont typeface="Arial" panose="020B0604020202020204" pitchFamily="34" charset="0"/>
              <a:buChar char="•"/>
              <a:tabLst>
                <a:tab pos="297815" algn="l"/>
                <a:tab pos="298450" algn="l"/>
              </a:tabLst>
            </a:pPr>
            <a:r>
              <a:rPr lang="en-US" sz="2200" spc="-75">
                <a:solidFill>
                  <a:srgbClr val="004160"/>
                </a:solidFill>
                <a:latin typeface="Montserrat" panose="00000500000000000000" pitchFamily="2" charset="0"/>
                <a:cs typeface="Arial"/>
              </a:rPr>
              <a:t>DVR</a:t>
            </a:r>
            <a:r>
              <a:rPr lang="en-US" sz="2200" spc="-235">
                <a:solidFill>
                  <a:srgbClr val="004160"/>
                </a:solidFill>
                <a:latin typeface="Montserrat" panose="00000500000000000000" pitchFamily="2" charset="0"/>
                <a:cs typeface="Arial"/>
              </a:rPr>
              <a:t> </a:t>
            </a:r>
            <a:r>
              <a:rPr lang="en-US" sz="2200" spc="-10">
                <a:solidFill>
                  <a:srgbClr val="004160"/>
                </a:solidFill>
                <a:latin typeface="Montserrat" panose="00000500000000000000" pitchFamily="2" charset="0"/>
                <a:cs typeface="Arial"/>
              </a:rPr>
              <a:t>Recordings</a:t>
            </a:r>
            <a:endParaRPr lang="en-US" sz="2200">
              <a:latin typeface="Montserrat" panose="00000500000000000000" pitchFamily="2" charset="0"/>
              <a:cs typeface="Arial"/>
            </a:endParaRPr>
          </a:p>
          <a:p>
            <a:pPr marL="355600" indent="-342900">
              <a:lnSpc>
                <a:spcPct val="100000"/>
              </a:lnSpc>
              <a:spcBef>
                <a:spcPts val="600"/>
              </a:spcBef>
              <a:buClr>
                <a:schemeClr val="accent2"/>
              </a:buClr>
              <a:buFont typeface="Arial" panose="020B0604020202020204" pitchFamily="34" charset="0"/>
              <a:buChar char="•"/>
              <a:tabLst>
                <a:tab pos="297815" algn="l"/>
                <a:tab pos="298450" algn="l"/>
              </a:tabLst>
            </a:pPr>
            <a:r>
              <a:rPr lang="en-US" sz="2200">
                <a:solidFill>
                  <a:srgbClr val="004160"/>
                </a:solidFill>
                <a:latin typeface="Montserrat" panose="00000500000000000000" pitchFamily="2" charset="0"/>
                <a:cs typeface="Arial"/>
              </a:rPr>
              <a:t>Video</a:t>
            </a:r>
            <a:r>
              <a:rPr lang="en-US" sz="2200" spc="-15">
                <a:solidFill>
                  <a:srgbClr val="004160"/>
                </a:solidFill>
                <a:latin typeface="Montserrat" panose="00000500000000000000" pitchFamily="2" charset="0"/>
                <a:cs typeface="Arial"/>
              </a:rPr>
              <a:t> </a:t>
            </a:r>
            <a:r>
              <a:rPr lang="en-US" sz="2200">
                <a:solidFill>
                  <a:srgbClr val="004160"/>
                </a:solidFill>
                <a:latin typeface="Montserrat" panose="00000500000000000000" pitchFamily="2" charset="0"/>
                <a:cs typeface="Arial"/>
              </a:rPr>
              <a:t>on</a:t>
            </a:r>
            <a:r>
              <a:rPr lang="en-US" sz="2200" spc="-60">
                <a:solidFill>
                  <a:srgbClr val="004160"/>
                </a:solidFill>
                <a:latin typeface="Montserrat" panose="00000500000000000000" pitchFamily="2" charset="0"/>
                <a:cs typeface="Arial"/>
              </a:rPr>
              <a:t> </a:t>
            </a:r>
            <a:r>
              <a:rPr lang="en-US" sz="2200" spc="-10">
                <a:solidFill>
                  <a:srgbClr val="004160"/>
                </a:solidFill>
                <a:latin typeface="Montserrat" panose="00000500000000000000" pitchFamily="2" charset="0"/>
                <a:cs typeface="Arial"/>
              </a:rPr>
              <a:t>Demand</a:t>
            </a:r>
            <a:endParaRPr lang="en-US" sz="2200">
              <a:latin typeface="Montserrat" panose="00000500000000000000" pitchFamily="2" charset="0"/>
              <a:cs typeface="Arial"/>
            </a:endParaRPr>
          </a:p>
          <a:p>
            <a:pPr marL="355600" marR="5080" indent="-342900">
              <a:lnSpc>
                <a:spcPct val="100000"/>
              </a:lnSpc>
              <a:spcBef>
                <a:spcPts val="600"/>
              </a:spcBef>
              <a:buClr>
                <a:schemeClr val="accent2"/>
              </a:buClr>
              <a:buFont typeface="Arial" panose="020B0604020202020204" pitchFamily="34" charset="0"/>
              <a:buChar char="•"/>
              <a:tabLst>
                <a:tab pos="297815" algn="l"/>
                <a:tab pos="298450" algn="l"/>
              </a:tabLst>
            </a:pPr>
            <a:r>
              <a:rPr lang="en-US" sz="2200" spc="-35">
                <a:solidFill>
                  <a:srgbClr val="004160"/>
                </a:solidFill>
                <a:latin typeface="Montserrat" panose="00000500000000000000" pitchFamily="2" charset="0"/>
                <a:cs typeface="Arial"/>
              </a:rPr>
              <a:t>Access</a:t>
            </a:r>
            <a:r>
              <a:rPr lang="en-US" sz="2200" spc="-120">
                <a:solidFill>
                  <a:srgbClr val="004160"/>
                </a:solidFill>
                <a:latin typeface="Montserrat" panose="00000500000000000000" pitchFamily="2" charset="0"/>
                <a:cs typeface="Arial"/>
              </a:rPr>
              <a:t> </a:t>
            </a:r>
            <a:r>
              <a:rPr lang="en-US" sz="2200">
                <a:solidFill>
                  <a:srgbClr val="004160"/>
                </a:solidFill>
                <a:latin typeface="Montserrat" panose="00000500000000000000" pitchFamily="2" charset="0"/>
                <a:cs typeface="Arial"/>
              </a:rPr>
              <a:t>to</a:t>
            </a:r>
            <a:r>
              <a:rPr lang="en-US" sz="2200" spc="-60">
                <a:solidFill>
                  <a:srgbClr val="004160"/>
                </a:solidFill>
                <a:latin typeface="Montserrat" panose="00000500000000000000" pitchFamily="2" charset="0"/>
                <a:cs typeface="Arial"/>
              </a:rPr>
              <a:t> </a:t>
            </a:r>
            <a:r>
              <a:rPr lang="en-US" sz="2200">
                <a:solidFill>
                  <a:srgbClr val="004160"/>
                </a:solidFill>
                <a:latin typeface="Montserrat" panose="00000500000000000000" pitchFamily="2" charset="0"/>
                <a:cs typeface="Arial"/>
              </a:rPr>
              <a:t>apps</a:t>
            </a:r>
            <a:r>
              <a:rPr lang="en-US" sz="2200" spc="-90">
                <a:solidFill>
                  <a:srgbClr val="004160"/>
                </a:solidFill>
                <a:latin typeface="Montserrat" panose="00000500000000000000" pitchFamily="2" charset="0"/>
                <a:cs typeface="Arial"/>
              </a:rPr>
              <a:t> </a:t>
            </a:r>
            <a:r>
              <a:rPr lang="en-US" sz="2200">
                <a:solidFill>
                  <a:srgbClr val="004160"/>
                </a:solidFill>
                <a:latin typeface="Montserrat" panose="00000500000000000000" pitchFamily="2" charset="0"/>
                <a:cs typeface="Arial"/>
              </a:rPr>
              <a:t>on</a:t>
            </a:r>
            <a:r>
              <a:rPr lang="en-US" sz="2200" spc="-100">
                <a:solidFill>
                  <a:srgbClr val="004160"/>
                </a:solidFill>
                <a:latin typeface="Montserrat" panose="00000500000000000000" pitchFamily="2" charset="0"/>
                <a:cs typeface="Arial"/>
              </a:rPr>
              <a:t> </a:t>
            </a:r>
            <a:r>
              <a:rPr lang="en-US" sz="2200">
                <a:solidFill>
                  <a:srgbClr val="004160"/>
                </a:solidFill>
                <a:latin typeface="Montserrat" panose="00000500000000000000" pitchFamily="2" charset="0"/>
                <a:cs typeface="Arial"/>
              </a:rPr>
              <a:t>Google</a:t>
            </a:r>
            <a:r>
              <a:rPr lang="en-US" sz="2200" spc="-100">
                <a:solidFill>
                  <a:srgbClr val="004160"/>
                </a:solidFill>
                <a:latin typeface="Montserrat" panose="00000500000000000000" pitchFamily="2" charset="0"/>
                <a:cs typeface="Arial"/>
              </a:rPr>
              <a:t> </a:t>
            </a:r>
            <a:r>
              <a:rPr lang="en-US" sz="2200" spc="-20">
                <a:solidFill>
                  <a:srgbClr val="004160"/>
                </a:solidFill>
                <a:latin typeface="Montserrat" panose="00000500000000000000" pitchFamily="2" charset="0"/>
                <a:cs typeface="Arial"/>
              </a:rPr>
              <a:t>Play </a:t>
            </a:r>
            <a:r>
              <a:rPr lang="en-US" sz="2200" spc="-30">
                <a:solidFill>
                  <a:srgbClr val="004160"/>
                </a:solidFill>
                <a:latin typeface="Montserrat" panose="00000500000000000000" pitchFamily="2" charset="0"/>
                <a:cs typeface="Arial"/>
              </a:rPr>
              <a:t>Store</a:t>
            </a:r>
            <a:r>
              <a:rPr lang="en-US" sz="2200" spc="-70">
                <a:solidFill>
                  <a:srgbClr val="004160"/>
                </a:solidFill>
                <a:latin typeface="Montserrat" panose="00000500000000000000" pitchFamily="2" charset="0"/>
                <a:cs typeface="Arial"/>
              </a:rPr>
              <a:t> </a:t>
            </a:r>
            <a:r>
              <a:rPr lang="en-US" sz="2200" spc="-25">
                <a:solidFill>
                  <a:srgbClr val="004160"/>
                </a:solidFill>
                <a:latin typeface="Montserrat" panose="00000500000000000000" pitchFamily="2" charset="0"/>
                <a:cs typeface="Arial"/>
              </a:rPr>
              <a:t>(Netflix,</a:t>
            </a:r>
            <a:r>
              <a:rPr lang="en-US" sz="2200" spc="-85">
                <a:solidFill>
                  <a:srgbClr val="004160"/>
                </a:solidFill>
                <a:latin typeface="Montserrat" panose="00000500000000000000" pitchFamily="2" charset="0"/>
                <a:cs typeface="Arial"/>
              </a:rPr>
              <a:t> </a:t>
            </a:r>
            <a:r>
              <a:rPr lang="en-US" sz="2200" spc="-25">
                <a:solidFill>
                  <a:srgbClr val="004160"/>
                </a:solidFill>
                <a:latin typeface="Montserrat" panose="00000500000000000000" pitchFamily="2" charset="0"/>
                <a:cs typeface="Arial"/>
              </a:rPr>
              <a:t>Hulu,</a:t>
            </a:r>
            <a:r>
              <a:rPr lang="en-US" sz="2200" spc="-105">
                <a:solidFill>
                  <a:srgbClr val="004160"/>
                </a:solidFill>
                <a:latin typeface="Montserrat" panose="00000500000000000000" pitchFamily="2" charset="0"/>
                <a:cs typeface="Arial"/>
              </a:rPr>
              <a:t> </a:t>
            </a:r>
            <a:r>
              <a:rPr lang="en-US" sz="2200" spc="-20">
                <a:solidFill>
                  <a:srgbClr val="004160"/>
                </a:solidFill>
                <a:latin typeface="Montserrat" panose="00000500000000000000" pitchFamily="2" charset="0"/>
                <a:cs typeface="Arial"/>
              </a:rPr>
              <a:t>etc.)</a:t>
            </a:r>
            <a:endParaRPr lang="en-US" sz="2200">
              <a:latin typeface="Montserrat" panose="00000500000000000000" pitchFamily="2" charset="0"/>
              <a:cs typeface="Arial"/>
            </a:endParaRPr>
          </a:p>
        </p:txBody>
      </p:sp>
    </p:spTree>
    <p:extLst>
      <p:ext uri="{BB962C8B-B14F-4D97-AF65-F5344CB8AC3E}">
        <p14:creationId xmlns:p14="http://schemas.microsoft.com/office/powerpoint/2010/main" val="40491043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9">
            <a:extLst>
              <a:ext uri="{FF2B5EF4-FFF2-40B4-BE49-F238E27FC236}">
                <a16:creationId xmlns:a16="http://schemas.microsoft.com/office/drawing/2014/main" id="{7301F447-EEF7-48F5-AF73-7566EE7F64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14DA321F-EC04-9A50-F242-95178767EB73}"/>
              </a:ext>
            </a:extLst>
          </p:cNvPr>
          <p:cNvSpPr>
            <a:spLocks noGrp="1"/>
          </p:cNvSpPr>
          <p:nvPr>
            <p:ph type="title"/>
          </p:nvPr>
        </p:nvSpPr>
        <p:spPr>
          <a:xfrm>
            <a:off x="841248" y="101128"/>
            <a:ext cx="10509504" cy="1076914"/>
          </a:xfrm>
        </p:spPr>
        <p:txBody>
          <a:bodyPr vert="horz" lIns="91440" tIns="45720" rIns="91440" bIns="45720" rtlCol="0" anchor="ctr">
            <a:normAutofit/>
          </a:bodyPr>
          <a:lstStyle/>
          <a:p>
            <a:r>
              <a:rPr lang="en-US" sz="4000" kern="1200">
                <a:solidFill>
                  <a:schemeClr val="tx1"/>
                </a:solidFill>
                <a:latin typeface="Montserrat"/>
              </a:rPr>
              <a:t>Seasonal Resident Information</a:t>
            </a:r>
          </a:p>
        </p:txBody>
      </p:sp>
      <p:sp>
        <p:nvSpPr>
          <p:cNvPr id="15" name="Rectangle 11">
            <a:extLst>
              <a:ext uri="{FF2B5EF4-FFF2-40B4-BE49-F238E27FC236}">
                <a16:creationId xmlns:a16="http://schemas.microsoft.com/office/drawing/2014/main" id="{F7117410-A2A4-4085-9ADC-46744551DB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2772" y="0"/>
            <a:ext cx="10506456" cy="1913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3">
            <a:extLst>
              <a:ext uri="{FF2B5EF4-FFF2-40B4-BE49-F238E27FC236}">
                <a16:creationId xmlns:a16="http://schemas.microsoft.com/office/drawing/2014/main" id="{99F74EB5-E547-4FB4-95F5-BCC788F3C4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1248" y="1512994"/>
            <a:ext cx="10506456"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D2B54153-FAA3-AD91-BCD4-9A7B783226F8}"/>
              </a:ext>
            </a:extLst>
          </p:cNvPr>
          <p:cNvSpPr txBox="1"/>
          <p:nvPr/>
        </p:nvSpPr>
        <p:spPr>
          <a:xfrm>
            <a:off x="838201" y="984118"/>
            <a:ext cx="6274075" cy="4801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822960">
              <a:spcAft>
                <a:spcPts val="600"/>
              </a:spcAft>
            </a:pPr>
            <a:r>
              <a:rPr lang="en-US" sz="2500" b="1" kern="1200">
                <a:solidFill>
                  <a:schemeClr val="accent1"/>
                </a:solidFill>
                <a:latin typeface="Montserrat"/>
                <a:ea typeface="+mn-ea"/>
                <a:cs typeface="Calibri"/>
              </a:rPr>
              <a:t>What you need to know!</a:t>
            </a:r>
            <a:endParaRPr lang="en-US" sz="2500" b="1">
              <a:solidFill>
                <a:schemeClr val="accent1"/>
              </a:solidFill>
              <a:latin typeface="Montserrat"/>
            </a:endParaRPr>
          </a:p>
        </p:txBody>
      </p:sp>
      <p:sp>
        <p:nvSpPr>
          <p:cNvPr id="5" name="TextBox 4">
            <a:extLst>
              <a:ext uri="{FF2B5EF4-FFF2-40B4-BE49-F238E27FC236}">
                <a16:creationId xmlns:a16="http://schemas.microsoft.com/office/drawing/2014/main" id="{50478F21-8DAB-AED6-D41D-62A59738EC1F}"/>
              </a:ext>
            </a:extLst>
          </p:cNvPr>
          <p:cNvSpPr txBox="1"/>
          <p:nvPr/>
        </p:nvSpPr>
        <p:spPr>
          <a:xfrm>
            <a:off x="748748" y="1560412"/>
            <a:ext cx="10924326" cy="52014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822960">
              <a:lnSpc>
                <a:spcPct val="150000"/>
              </a:lnSpc>
              <a:spcAft>
                <a:spcPts val="600"/>
              </a:spcAft>
            </a:pPr>
            <a:r>
              <a:rPr lang="en-US" b="1" kern="1200">
                <a:solidFill>
                  <a:schemeClr val="accent1"/>
                </a:solidFill>
                <a:latin typeface="Montserrat"/>
                <a:ea typeface="+mn-lt"/>
                <a:cs typeface="+mn-lt"/>
              </a:rPr>
              <a:t>Q. I am a seasonal resident and will not be in town during my </a:t>
            </a:r>
            <a:r>
              <a:rPr lang="en-US" b="1">
                <a:solidFill>
                  <a:schemeClr val="accent1"/>
                </a:solidFill>
                <a:latin typeface="Montserrat"/>
                <a:ea typeface="+mn-lt"/>
                <a:cs typeface="+mn-lt"/>
              </a:rPr>
              <a:t>installation, what should I do?</a:t>
            </a:r>
            <a:endParaRPr lang="en-US" b="1" kern="1200">
              <a:solidFill>
                <a:schemeClr val="accent1"/>
              </a:solidFill>
              <a:latin typeface="Montserrat"/>
              <a:cs typeface="Calibri"/>
            </a:endParaRPr>
          </a:p>
          <a:p>
            <a:pPr defTabSz="822960">
              <a:spcAft>
                <a:spcPts val="600"/>
              </a:spcAft>
            </a:pPr>
            <a:r>
              <a:rPr lang="en-US" kern="1200">
                <a:solidFill>
                  <a:srgbClr val="004161"/>
                </a:solidFill>
                <a:latin typeface="Montserrat"/>
                <a:ea typeface="+mn-lt"/>
                <a:cs typeface="+mn-lt"/>
              </a:rPr>
              <a:t>A: Seasonal residents can be installed when they return. Simply call your Blue Stream Fiber Community number seven days prior to your</a:t>
            </a:r>
            <a:r>
              <a:rPr lang="en-US">
                <a:solidFill>
                  <a:srgbClr val="004161"/>
                </a:solidFill>
                <a:latin typeface="Montserrat"/>
                <a:ea typeface="+mn-lt"/>
                <a:cs typeface="+mn-lt"/>
              </a:rPr>
              <a:t> arrival</a:t>
            </a:r>
            <a:r>
              <a:rPr lang="en-US" kern="1200">
                <a:solidFill>
                  <a:srgbClr val="004161"/>
                </a:solidFill>
                <a:latin typeface="Montserrat"/>
                <a:ea typeface="+mn-lt"/>
                <a:cs typeface="+mn-lt"/>
              </a:rPr>
              <a:t>.</a:t>
            </a:r>
          </a:p>
          <a:p>
            <a:pPr defTabSz="822960">
              <a:spcAft>
                <a:spcPts val="600"/>
              </a:spcAft>
            </a:pPr>
            <a:endParaRPr lang="en-US" kern="1200">
              <a:latin typeface="Montserrat"/>
              <a:ea typeface="+mn-lt"/>
              <a:cs typeface="+mn-lt"/>
            </a:endParaRPr>
          </a:p>
          <a:p>
            <a:pPr defTabSz="822960">
              <a:spcAft>
                <a:spcPts val="600"/>
              </a:spcAft>
            </a:pPr>
            <a:r>
              <a:rPr lang="en-US" b="1" kern="1200">
                <a:solidFill>
                  <a:schemeClr val="accent1"/>
                </a:solidFill>
                <a:latin typeface="Montserrat"/>
                <a:ea typeface="+mn-lt"/>
                <a:cs typeface="+mn-lt"/>
              </a:rPr>
              <a:t>Q. I am a seasonal customer. Do you have seasonal rates to put my optional services on hold at a reduced rate?</a:t>
            </a:r>
            <a:endParaRPr lang="en-US" b="1" kern="1200">
              <a:solidFill>
                <a:schemeClr val="accent1"/>
              </a:solidFill>
              <a:latin typeface="Montserrat"/>
            </a:endParaRPr>
          </a:p>
          <a:p>
            <a:pPr defTabSz="822960">
              <a:spcAft>
                <a:spcPts val="600"/>
              </a:spcAft>
            </a:pPr>
            <a:r>
              <a:rPr lang="en-US" kern="1200">
                <a:solidFill>
                  <a:srgbClr val="004161"/>
                </a:solidFill>
                <a:latin typeface="Montserrat"/>
                <a:ea typeface="+mn-lt"/>
                <a:cs typeface="+mn-lt"/>
              </a:rPr>
              <a:t>A: We do offer seasonal service rates. For TV and Internet, the season rate is $8/month plus taxes and fees. For phones, the seasonal rate is $6/month plus taxes and fees. Seasonal residents can put services on hold once a year</a:t>
            </a:r>
            <a:r>
              <a:rPr lang="en-US">
                <a:solidFill>
                  <a:srgbClr val="004161"/>
                </a:solidFill>
                <a:latin typeface="Montserrat"/>
                <a:ea typeface="+mn-lt"/>
                <a:cs typeface="+mn-lt"/>
              </a:rPr>
              <a:t> </a:t>
            </a:r>
            <a:r>
              <a:rPr lang="en-US" kern="1200">
                <a:solidFill>
                  <a:srgbClr val="004161"/>
                </a:solidFill>
                <a:latin typeface="Montserrat"/>
                <a:ea typeface="+mn-lt"/>
                <a:cs typeface="+mn-lt"/>
              </a:rPr>
              <a:t>for 2 - 9 months.</a:t>
            </a:r>
          </a:p>
          <a:p>
            <a:pPr defTabSz="822960">
              <a:spcAft>
                <a:spcPts val="600"/>
              </a:spcAft>
            </a:pPr>
            <a:endParaRPr lang="en-US" kern="1200">
              <a:latin typeface="Montserrat"/>
              <a:cs typeface="Calibri"/>
            </a:endParaRPr>
          </a:p>
          <a:p>
            <a:pPr defTabSz="822960">
              <a:lnSpc>
                <a:spcPct val="150000"/>
              </a:lnSpc>
              <a:spcAft>
                <a:spcPts val="600"/>
              </a:spcAft>
            </a:pPr>
            <a:r>
              <a:rPr lang="en-US" b="1" kern="1200">
                <a:solidFill>
                  <a:schemeClr val="accent1"/>
                </a:solidFill>
                <a:latin typeface="Montserrat"/>
                <a:ea typeface="+mn-lt"/>
                <a:cs typeface="+mn-lt"/>
              </a:rPr>
              <a:t>Q. Can I take my TV services with me when I go back up north or travel?</a:t>
            </a:r>
            <a:endParaRPr lang="en-US" b="1" kern="1200">
              <a:solidFill>
                <a:schemeClr val="accent1"/>
              </a:solidFill>
              <a:latin typeface="Montserrat"/>
            </a:endParaRPr>
          </a:p>
          <a:p>
            <a:pPr defTabSz="822960">
              <a:spcAft>
                <a:spcPts val="600"/>
              </a:spcAft>
            </a:pPr>
            <a:r>
              <a:rPr lang="en-US" kern="1200">
                <a:solidFill>
                  <a:srgbClr val="004161"/>
                </a:solidFill>
                <a:latin typeface="Montserrat"/>
                <a:ea typeface="+mn-lt"/>
                <a:cs typeface="+mn-lt"/>
              </a:rPr>
              <a:t>A: Yes, by downloading the Blue Stream Fiber App to an Amazon Fire Stick, Apple TV, or Android TV. Please note, local channels will not work outside of your local TV area due to FCC regulations.</a:t>
            </a:r>
            <a:endParaRPr lang="en-US">
              <a:solidFill>
                <a:srgbClr val="004161"/>
              </a:solidFill>
              <a:latin typeface="Montserrat"/>
            </a:endParaRPr>
          </a:p>
        </p:txBody>
      </p:sp>
    </p:spTree>
    <p:extLst>
      <p:ext uri="{BB962C8B-B14F-4D97-AF65-F5344CB8AC3E}">
        <p14:creationId xmlns:p14="http://schemas.microsoft.com/office/powerpoint/2010/main" val="30440726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8" name="Rectangle 37">
            <a:extLst>
              <a:ext uri="{FF2B5EF4-FFF2-40B4-BE49-F238E27FC236}">
                <a16:creationId xmlns:a16="http://schemas.microsoft.com/office/drawing/2014/main" id="{5A59F003-E00A-43F9-91DC-CC54E3B874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person, person, indoor&#10;&#10;Description automatically generated">
            <a:extLst>
              <a:ext uri="{FF2B5EF4-FFF2-40B4-BE49-F238E27FC236}">
                <a16:creationId xmlns:a16="http://schemas.microsoft.com/office/drawing/2014/main" id="{0861AB62-E2FF-49D6-9EA7-539D1386D36B}"/>
              </a:ext>
            </a:extLst>
          </p:cNvPr>
          <p:cNvPicPr>
            <a:picLocks noChangeAspect="1"/>
          </p:cNvPicPr>
          <p:nvPr/>
        </p:nvPicPr>
        <p:blipFill rotWithShape="1">
          <a:blip r:embed="rId3"/>
          <a:srcRect t="7748" b="7748"/>
          <a:stretch/>
        </p:blipFill>
        <p:spPr>
          <a:xfrm>
            <a:off x="20" y="10"/>
            <a:ext cx="12191981" cy="6857990"/>
          </a:xfrm>
          <a:prstGeom prst="rect">
            <a:avLst/>
          </a:prstGeom>
        </p:spPr>
      </p:pic>
      <p:sp>
        <p:nvSpPr>
          <p:cNvPr id="40" name="Rectangle 39">
            <a:extLst>
              <a:ext uri="{FF2B5EF4-FFF2-40B4-BE49-F238E27FC236}">
                <a16:creationId xmlns:a16="http://schemas.microsoft.com/office/drawing/2014/main" id="{D74A4382-E3AD-430A-9A1F-DFA3E0E77A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799868" y="-1534136"/>
            <a:ext cx="4592270" cy="12192001"/>
          </a:xfrm>
          <a:prstGeom prst="rect">
            <a:avLst/>
          </a:prstGeom>
          <a:gradFill>
            <a:gsLst>
              <a:gs pos="35000">
                <a:schemeClr val="bg1">
                  <a:alpha val="46000"/>
                </a:schemeClr>
              </a:gs>
              <a:gs pos="21000">
                <a:schemeClr val="bg1">
                  <a:alpha val="30000"/>
                </a:schemeClr>
              </a:gs>
              <a:gs pos="0">
                <a:schemeClr val="bg1">
                  <a:alpha val="0"/>
                </a:schemeClr>
              </a:gs>
              <a:gs pos="100000">
                <a:schemeClr val="bg1">
                  <a:alpha val="9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A53F98D-677C-307C-1549-1FF48C9F6FD7}"/>
              </a:ext>
            </a:extLst>
          </p:cNvPr>
          <p:cNvSpPr>
            <a:spLocks noGrp="1"/>
          </p:cNvSpPr>
          <p:nvPr>
            <p:ph type="title"/>
          </p:nvPr>
        </p:nvSpPr>
        <p:spPr>
          <a:xfrm>
            <a:off x="404553" y="3091928"/>
            <a:ext cx="9078562" cy="2387600"/>
          </a:xfrm>
        </p:spPr>
        <p:txBody>
          <a:bodyPr vert="horz" lIns="91440" tIns="45720" rIns="91440" bIns="45720" rtlCol="0" anchor="b">
            <a:normAutofit/>
          </a:bodyPr>
          <a:lstStyle/>
          <a:p>
            <a:r>
              <a:rPr lang="en-US" sz="5400">
                <a:solidFill>
                  <a:schemeClr val="tx1"/>
                </a:solidFill>
                <a:latin typeface="Montserrat"/>
              </a:rPr>
              <a:t>Upgrade Options</a:t>
            </a:r>
          </a:p>
        </p:txBody>
      </p:sp>
      <p:sp>
        <p:nvSpPr>
          <p:cNvPr id="42" name="Rectangle: Rounded Corners 41">
            <a:extLst>
              <a:ext uri="{FF2B5EF4-FFF2-40B4-BE49-F238E27FC236}">
                <a16:creationId xmlns:a16="http://schemas.microsoft.com/office/drawing/2014/main" id="{79F40191-0F44-4FD1-82CC-ACB507C14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575039"/>
            <a:ext cx="9785897" cy="6858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2888314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4C3B03-8A06-B16F-FA76-C8A9ED41F96E}"/>
              </a:ext>
            </a:extLst>
          </p:cNvPr>
          <p:cNvSpPr>
            <a:spLocks noGrp="1"/>
          </p:cNvSpPr>
          <p:nvPr>
            <p:ph type="title"/>
          </p:nvPr>
        </p:nvSpPr>
        <p:spPr>
          <a:xfrm>
            <a:off x="389567" y="-81697"/>
            <a:ext cx="10720909" cy="1273090"/>
          </a:xfrm>
        </p:spPr>
        <p:txBody>
          <a:bodyPr vert="horz" lIns="91440" tIns="45720" rIns="91440" bIns="45720" rtlCol="0" anchor="ctr">
            <a:normAutofit/>
          </a:bodyPr>
          <a:lstStyle/>
          <a:p>
            <a:r>
              <a:rPr lang="en-US">
                <a:solidFill>
                  <a:srgbClr val="007DB2"/>
                </a:solidFill>
                <a:latin typeface="Montserrat"/>
              </a:rPr>
              <a:t>A-LA-CARTE OPTIONS</a:t>
            </a:r>
          </a:p>
        </p:txBody>
      </p:sp>
      <p:sp>
        <p:nvSpPr>
          <p:cNvPr id="5" name="object 14">
            <a:extLst>
              <a:ext uri="{FF2B5EF4-FFF2-40B4-BE49-F238E27FC236}">
                <a16:creationId xmlns:a16="http://schemas.microsoft.com/office/drawing/2014/main" id="{D04F75BD-8B2F-4929-BC3B-9DC7B15844D7}"/>
              </a:ext>
            </a:extLst>
          </p:cNvPr>
          <p:cNvSpPr txBox="1"/>
          <p:nvPr/>
        </p:nvSpPr>
        <p:spPr>
          <a:xfrm>
            <a:off x="222663" y="1031413"/>
            <a:ext cx="4670425" cy="319959"/>
          </a:xfrm>
          <a:prstGeom prst="rect">
            <a:avLst/>
          </a:prstGeom>
        </p:spPr>
        <p:txBody>
          <a:bodyPr vert="horz" wrap="square" lIns="0" tIns="12065" rIns="0" bIns="0" rtlCol="0">
            <a:spAutoFit/>
          </a:bodyPr>
          <a:lstStyle/>
          <a:p>
            <a:pPr marL="12700">
              <a:lnSpc>
                <a:spcPct val="100000"/>
              </a:lnSpc>
              <a:spcBef>
                <a:spcPts val="95"/>
              </a:spcBef>
            </a:pPr>
            <a:r>
              <a:rPr sz="2000" b="1" spc="-45" dirty="0">
                <a:solidFill>
                  <a:srgbClr val="067AAB"/>
                </a:solidFill>
                <a:latin typeface="Montserrat" panose="00000500000000000000" pitchFamily="2" charset="0"/>
                <a:cs typeface="Arial"/>
              </a:rPr>
              <a:t>Cable</a:t>
            </a:r>
            <a:r>
              <a:rPr sz="2000" b="1" spc="-95" dirty="0">
                <a:solidFill>
                  <a:srgbClr val="067AAB"/>
                </a:solidFill>
                <a:latin typeface="Montserrat" panose="00000500000000000000" pitchFamily="2" charset="0"/>
                <a:cs typeface="Arial"/>
              </a:rPr>
              <a:t> </a:t>
            </a:r>
            <a:r>
              <a:rPr sz="2000" b="1" spc="-40" dirty="0">
                <a:solidFill>
                  <a:srgbClr val="067AAB"/>
                </a:solidFill>
                <a:latin typeface="Montserrat" panose="00000500000000000000" pitchFamily="2" charset="0"/>
                <a:cs typeface="Arial"/>
              </a:rPr>
              <a:t>Upgrade</a:t>
            </a:r>
            <a:r>
              <a:rPr sz="2000" b="1" spc="-100" dirty="0">
                <a:solidFill>
                  <a:srgbClr val="067AAB"/>
                </a:solidFill>
                <a:latin typeface="Montserrat" panose="00000500000000000000" pitchFamily="2" charset="0"/>
                <a:cs typeface="Arial"/>
              </a:rPr>
              <a:t> </a:t>
            </a:r>
            <a:r>
              <a:rPr sz="2000" b="1" dirty="0">
                <a:solidFill>
                  <a:srgbClr val="067AAB"/>
                </a:solidFill>
                <a:latin typeface="Montserrat" panose="00000500000000000000" pitchFamily="2" charset="0"/>
                <a:cs typeface="Arial"/>
              </a:rPr>
              <a:t>TV</a:t>
            </a:r>
            <a:r>
              <a:rPr sz="2000" b="1" spc="-70" dirty="0">
                <a:solidFill>
                  <a:srgbClr val="067AAB"/>
                </a:solidFill>
                <a:latin typeface="Montserrat" panose="00000500000000000000" pitchFamily="2" charset="0"/>
                <a:cs typeface="Arial"/>
              </a:rPr>
              <a:t> </a:t>
            </a:r>
            <a:r>
              <a:rPr sz="2000" b="1" spc="-10" dirty="0">
                <a:solidFill>
                  <a:srgbClr val="067AAB"/>
                </a:solidFill>
                <a:latin typeface="Montserrat" panose="00000500000000000000" pitchFamily="2" charset="0"/>
                <a:cs typeface="Arial"/>
              </a:rPr>
              <a:t>Options</a:t>
            </a:r>
            <a:endParaRPr sz="2000" dirty="0">
              <a:latin typeface="Montserrat" panose="00000500000000000000" pitchFamily="2" charset="0"/>
              <a:cs typeface="Arial"/>
            </a:endParaRPr>
          </a:p>
        </p:txBody>
      </p:sp>
      <p:sp>
        <p:nvSpPr>
          <p:cNvPr id="12" name="object 10">
            <a:extLst>
              <a:ext uri="{FF2B5EF4-FFF2-40B4-BE49-F238E27FC236}">
                <a16:creationId xmlns:a16="http://schemas.microsoft.com/office/drawing/2014/main" id="{DCCE825B-AD43-470B-B436-8F1586EBA2E9}"/>
              </a:ext>
            </a:extLst>
          </p:cNvPr>
          <p:cNvSpPr txBox="1"/>
          <p:nvPr/>
        </p:nvSpPr>
        <p:spPr>
          <a:xfrm>
            <a:off x="252714" y="1319366"/>
            <a:ext cx="4121894" cy="2062103"/>
          </a:xfrm>
          <a:prstGeom prst="rect">
            <a:avLst/>
          </a:prstGeom>
        </p:spPr>
        <p:txBody>
          <a:bodyPr vert="horz" wrap="square" lIns="0" tIns="12700" rIns="0" bIns="0" rtlCol="0" anchor="t">
            <a:spAutoFit/>
          </a:bodyPr>
          <a:lstStyle/>
          <a:p>
            <a:pPr marL="12700" marR="1358265">
              <a:spcBef>
                <a:spcPts val="100"/>
              </a:spcBef>
              <a:spcAft>
                <a:spcPts val="100"/>
              </a:spcAft>
            </a:pPr>
            <a:r>
              <a:rPr lang="en-US" sz="1550" spc="-20" dirty="0">
                <a:latin typeface="Montserrat"/>
                <a:cs typeface="Arial"/>
              </a:rPr>
              <a:t>Paramount+ with </a:t>
            </a:r>
            <a:r>
              <a:rPr sz="1550" spc="-10" dirty="0">
                <a:latin typeface="Montserrat"/>
                <a:cs typeface="Arial"/>
              </a:rPr>
              <a:t>Showtime</a:t>
            </a:r>
            <a:endParaRPr lang="en-US" sz="1550" dirty="0">
              <a:latin typeface="Montserrat"/>
              <a:cs typeface="Arial"/>
            </a:endParaRPr>
          </a:p>
          <a:p>
            <a:pPr marL="12700" marR="1358265">
              <a:spcBef>
                <a:spcPts val="100"/>
              </a:spcBef>
              <a:spcAft>
                <a:spcPts val="100"/>
              </a:spcAft>
            </a:pPr>
            <a:r>
              <a:rPr sz="1550" spc="-10" dirty="0">
                <a:latin typeface="Montserrat"/>
                <a:cs typeface="Arial"/>
              </a:rPr>
              <a:t>Cinemax</a:t>
            </a:r>
            <a:r>
              <a:rPr lang="en-US" sz="1550" spc="-10" dirty="0">
                <a:latin typeface="Montserrat"/>
                <a:cs typeface="Arial"/>
              </a:rPr>
              <a:t> </a:t>
            </a:r>
            <a:endParaRPr lang="en-US" sz="1550" dirty="0">
              <a:latin typeface="Montserrat"/>
              <a:cs typeface="Arial"/>
            </a:endParaRPr>
          </a:p>
          <a:p>
            <a:pPr marL="12700" marR="1358265">
              <a:spcBef>
                <a:spcPts val="100"/>
              </a:spcBef>
              <a:spcAft>
                <a:spcPts val="100"/>
              </a:spcAft>
            </a:pPr>
            <a:r>
              <a:rPr sz="1550" spc="-10" dirty="0">
                <a:latin typeface="Montserrat"/>
                <a:cs typeface="Arial"/>
              </a:rPr>
              <a:t>Starz </a:t>
            </a:r>
            <a:endParaRPr lang="en-US" sz="1550" dirty="0">
              <a:latin typeface="Montserrat"/>
              <a:cs typeface="Arial"/>
            </a:endParaRPr>
          </a:p>
          <a:p>
            <a:pPr marL="12700" marR="1358265">
              <a:spcBef>
                <a:spcPts val="100"/>
              </a:spcBef>
              <a:spcAft>
                <a:spcPts val="100"/>
              </a:spcAft>
            </a:pPr>
            <a:r>
              <a:rPr sz="1550" spc="-10" dirty="0">
                <a:latin typeface="Montserrat"/>
                <a:cs typeface="Arial"/>
              </a:rPr>
              <a:t>Encore</a:t>
            </a:r>
            <a:r>
              <a:rPr lang="en-US" sz="1550" spc="-10" dirty="0">
                <a:latin typeface="Montserrat"/>
                <a:cs typeface="Arial"/>
              </a:rPr>
              <a:t> </a:t>
            </a:r>
            <a:endParaRPr lang="en-US" sz="1550" dirty="0">
              <a:latin typeface="Montserrat"/>
              <a:cs typeface="Arial"/>
            </a:endParaRPr>
          </a:p>
          <a:p>
            <a:pPr marL="12700" marR="1358265">
              <a:spcBef>
                <a:spcPts val="100"/>
              </a:spcBef>
              <a:spcAft>
                <a:spcPts val="100"/>
              </a:spcAft>
            </a:pPr>
            <a:r>
              <a:rPr sz="1550" dirty="0">
                <a:latin typeface="Montserrat"/>
                <a:cs typeface="Arial"/>
              </a:rPr>
              <a:t>Blue</a:t>
            </a:r>
            <a:r>
              <a:rPr sz="1550" spc="-100" dirty="0">
                <a:latin typeface="Montserrat"/>
                <a:cs typeface="Arial"/>
              </a:rPr>
              <a:t> </a:t>
            </a:r>
            <a:r>
              <a:rPr sz="1550" spc="-25" dirty="0">
                <a:latin typeface="Montserrat"/>
                <a:cs typeface="Arial"/>
              </a:rPr>
              <a:t>Latino</a:t>
            </a:r>
            <a:endParaRPr sz="1550" dirty="0">
              <a:latin typeface="Montserrat"/>
              <a:cs typeface="Arial"/>
            </a:endParaRPr>
          </a:p>
          <a:p>
            <a:pPr marL="12700">
              <a:spcAft>
                <a:spcPts val="100"/>
              </a:spcAft>
            </a:pPr>
            <a:r>
              <a:rPr sz="1550" spc="-70" dirty="0">
                <a:latin typeface="Montserrat"/>
                <a:cs typeface="Arial"/>
              </a:rPr>
              <a:t>RAI</a:t>
            </a:r>
            <a:r>
              <a:rPr sz="1550" spc="-80" dirty="0">
                <a:latin typeface="Montserrat"/>
                <a:cs typeface="Arial"/>
              </a:rPr>
              <a:t> </a:t>
            </a:r>
            <a:r>
              <a:rPr sz="1550" spc="-20" dirty="0">
                <a:latin typeface="Montserrat"/>
                <a:cs typeface="Arial"/>
              </a:rPr>
              <a:t>Italia</a:t>
            </a:r>
            <a:r>
              <a:rPr sz="1550" spc="-85" dirty="0">
                <a:latin typeface="Montserrat"/>
                <a:cs typeface="Arial"/>
              </a:rPr>
              <a:t> </a:t>
            </a:r>
            <a:r>
              <a:rPr sz="1550" spc="-10" dirty="0">
                <a:latin typeface="Montserrat"/>
                <a:cs typeface="Arial"/>
              </a:rPr>
              <a:t>(Italian)</a:t>
            </a:r>
            <a:endParaRPr sz="1550" dirty="0">
              <a:latin typeface="Montserrat"/>
              <a:cs typeface="Arial"/>
            </a:endParaRPr>
          </a:p>
          <a:p>
            <a:pPr marL="12700" marR="5080">
              <a:spcBef>
                <a:spcPts val="5"/>
              </a:spcBef>
              <a:spcAft>
                <a:spcPts val="100"/>
              </a:spcAft>
            </a:pPr>
            <a:r>
              <a:rPr sz="1550" spc="-85" dirty="0">
                <a:latin typeface="Montserrat"/>
                <a:cs typeface="Arial"/>
              </a:rPr>
              <a:t>RTN</a:t>
            </a:r>
            <a:r>
              <a:rPr sz="1550" spc="-105" dirty="0">
                <a:latin typeface="Montserrat"/>
                <a:cs typeface="Arial"/>
              </a:rPr>
              <a:t> </a:t>
            </a:r>
            <a:r>
              <a:rPr sz="1550" spc="-55" dirty="0">
                <a:latin typeface="Montserrat"/>
                <a:cs typeface="Arial"/>
              </a:rPr>
              <a:t>(Russian</a:t>
            </a:r>
            <a:r>
              <a:rPr sz="1550" spc="-60" dirty="0">
                <a:latin typeface="Montserrat"/>
                <a:cs typeface="Arial"/>
              </a:rPr>
              <a:t> </a:t>
            </a:r>
            <a:r>
              <a:rPr sz="1550" spc="-10" dirty="0">
                <a:latin typeface="Montserrat"/>
                <a:cs typeface="Arial"/>
              </a:rPr>
              <a:t>TV</a:t>
            </a:r>
            <a:r>
              <a:rPr sz="1550" spc="-70" dirty="0">
                <a:latin typeface="Montserrat"/>
                <a:cs typeface="Arial"/>
              </a:rPr>
              <a:t> </a:t>
            </a:r>
            <a:r>
              <a:rPr sz="1550" spc="-10" dirty="0">
                <a:latin typeface="Montserrat"/>
                <a:cs typeface="Arial"/>
              </a:rPr>
              <a:t>Network)</a:t>
            </a:r>
            <a:r>
              <a:rPr lang="en-US" sz="1550" spc="-10" dirty="0">
                <a:latin typeface="Montserrat"/>
                <a:cs typeface="Arial"/>
              </a:rPr>
              <a:t> </a:t>
            </a:r>
            <a:endParaRPr lang="en-US" sz="1550" dirty="0">
              <a:latin typeface="Montserrat"/>
              <a:cs typeface="Arial"/>
            </a:endParaRPr>
          </a:p>
          <a:p>
            <a:pPr marL="12700" marR="5080">
              <a:spcBef>
                <a:spcPts val="5"/>
              </a:spcBef>
              <a:spcAft>
                <a:spcPts val="100"/>
              </a:spcAft>
            </a:pPr>
            <a:r>
              <a:rPr sz="1550" spc="-10" dirty="0">
                <a:latin typeface="Montserrat"/>
                <a:cs typeface="Arial"/>
              </a:rPr>
              <a:t>TV5</a:t>
            </a:r>
            <a:r>
              <a:rPr sz="1550" spc="-95" dirty="0">
                <a:latin typeface="Montserrat"/>
                <a:cs typeface="Arial"/>
              </a:rPr>
              <a:t> </a:t>
            </a:r>
            <a:r>
              <a:rPr sz="1550" spc="-10" dirty="0">
                <a:latin typeface="Montserrat"/>
                <a:cs typeface="Arial"/>
              </a:rPr>
              <a:t>Monde</a:t>
            </a:r>
            <a:endParaRPr sz="1550" dirty="0">
              <a:latin typeface="Montserrat"/>
              <a:cs typeface="Arial"/>
            </a:endParaRPr>
          </a:p>
        </p:txBody>
      </p:sp>
      <p:sp>
        <p:nvSpPr>
          <p:cNvPr id="13" name="object 11">
            <a:extLst>
              <a:ext uri="{FF2B5EF4-FFF2-40B4-BE49-F238E27FC236}">
                <a16:creationId xmlns:a16="http://schemas.microsoft.com/office/drawing/2014/main" id="{75CAE858-C944-4C1C-8A36-99F3112E6433}"/>
              </a:ext>
            </a:extLst>
          </p:cNvPr>
          <p:cNvSpPr txBox="1"/>
          <p:nvPr/>
        </p:nvSpPr>
        <p:spPr>
          <a:xfrm>
            <a:off x="4184110" y="1446503"/>
            <a:ext cx="1221877" cy="2413481"/>
          </a:xfrm>
          <a:prstGeom prst="rect">
            <a:avLst/>
          </a:prstGeom>
        </p:spPr>
        <p:txBody>
          <a:bodyPr vert="horz" wrap="square" lIns="0" tIns="12700" rIns="0" bIns="0" rtlCol="0" anchor="t">
            <a:spAutoFit/>
          </a:bodyPr>
          <a:lstStyle/>
          <a:p>
            <a:pPr marL="38100">
              <a:spcBef>
                <a:spcPts val="100"/>
              </a:spcBef>
            </a:pPr>
            <a:r>
              <a:rPr sz="1550" spc="-10" dirty="0">
                <a:latin typeface="Montserrat"/>
                <a:cs typeface="Arial"/>
              </a:rPr>
              <a:t>$1</a:t>
            </a:r>
            <a:r>
              <a:rPr lang="en-US" sz="1550" spc="-10" dirty="0">
                <a:latin typeface="Montserrat"/>
                <a:cs typeface="Arial"/>
              </a:rPr>
              <a:t>1.99</a:t>
            </a:r>
            <a:r>
              <a:rPr sz="1550" spc="-10" dirty="0">
                <a:latin typeface="Montserrat"/>
                <a:cs typeface="Arial"/>
              </a:rPr>
              <a:t>/</a:t>
            </a:r>
            <a:r>
              <a:rPr sz="1550" spc="-10" dirty="0" err="1">
                <a:latin typeface="Montserrat"/>
                <a:cs typeface="Arial"/>
              </a:rPr>
              <a:t>mo</a:t>
            </a:r>
            <a:endParaRPr lang="en-US" sz="1550" spc="-10" dirty="0">
              <a:latin typeface="Montserrat"/>
              <a:cs typeface="Arial"/>
            </a:endParaRPr>
          </a:p>
          <a:p>
            <a:pPr marL="12700"/>
            <a:r>
              <a:rPr sz="1550" spc="-10" dirty="0">
                <a:latin typeface="Montserrat"/>
                <a:cs typeface="Arial"/>
              </a:rPr>
              <a:t>$1</a:t>
            </a:r>
            <a:r>
              <a:rPr lang="en-US" sz="1550" spc="-10" dirty="0">
                <a:latin typeface="Montserrat"/>
                <a:cs typeface="Arial"/>
              </a:rPr>
              <a:t>0.00</a:t>
            </a:r>
            <a:r>
              <a:rPr sz="1550" spc="-10" dirty="0">
                <a:latin typeface="Montserrat"/>
                <a:cs typeface="Arial"/>
              </a:rPr>
              <a:t>/</a:t>
            </a:r>
            <a:r>
              <a:rPr sz="1550" spc="-10" dirty="0" err="1">
                <a:latin typeface="Montserrat"/>
                <a:cs typeface="Arial"/>
              </a:rPr>
              <a:t>mo</a:t>
            </a:r>
            <a:endParaRPr lang="en-US" sz="1550" spc="-10" dirty="0">
              <a:latin typeface="Montserrat"/>
              <a:cs typeface="Arial"/>
            </a:endParaRPr>
          </a:p>
          <a:p>
            <a:pPr marL="41275" algn="l"/>
            <a:r>
              <a:rPr sz="1550" spc="-10" dirty="0">
                <a:latin typeface="Montserrat"/>
                <a:cs typeface="Arial"/>
              </a:rPr>
              <a:t>$1</a:t>
            </a:r>
            <a:r>
              <a:rPr lang="en-US" sz="1550" spc="-10" dirty="0">
                <a:latin typeface="Montserrat"/>
                <a:cs typeface="Arial"/>
              </a:rPr>
              <a:t>4.95</a:t>
            </a:r>
            <a:r>
              <a:rPr sz="1550" spc="-10" dirty="0">
                <a:latin typeface="Montserrat"/>
                <a:cs typeface="Arial"/>
              </a:rPr>
              <a:t>/</a:t>
            </a:r>
            <a:r>
              <a:rPr sz="1550" spc="-10" dirty="0" err="1">
                <a:latin typeface="Montserrat"/>
                <a:cs typeface="Arial"/>
              </a:rPr>
              <a:t>mo</a:t>
            </a:r>
            <a:endParaRPr sz="1550" spc="-10" dirty="0">
              <a:latin typeface="Montserrat"/>
              <a:cs typeface="Arial"/>
            </a:endParaRPr>
          </a:p>
          <a:p>
            <a:pPr marL="41275" algn="l">
              <a:spcBef>
                <a:spcPts val="5"/>
              </a:spcBef>
            </a:pPr>
            <a:r>
              <a:rPr sz="1550" spc="-10" dirty="0">
                <a:latin typeface="Montserrat"/>
                <a:cs typeface="Arial"/>
              </a:rPr>
              <a:t>$</a:t>
            </a:r>
            <a:r>
              <a:rPr lang="en-US" sz="1550" spc="-10" dirty="0">
                <a:latin typeface="Montserrat"/>
                <a:cs typeface="Arial"/>
              </a:rPr>
              <a:t>6.95</a:t>
            </a:r>
            <a:r>
              <a:rPr sz="1550" spc="-10" dirty="0">
                <a:latin typeface="Montserrat"/>
                <a:cs typeface="Arial"/>
              </a:rPr>
              <a:t>/</a:t>
            </a:r>
            <a:r>
              <a:rPr sz="1550" spc="-10" dirty="0" err="1">
                <a:latin typeface="Montserrat"/>
                <a:cs typeface="Arial"/>
              </a:rPr>
              <a:t>mo</a:t>
            </a:r>
            <a:endParaRPr sz="1550" spc="-10" dirty="0">
              <a:latin typeface="Montserrat"/>
              <a:cs typeface="Arial"/>
            </a:endParaRPr>
          </a:p>
          <a:p>
            <a:pPr marL="26670" algn="l"/>
            <a:r>
              <a:rPr sz="1550" spc="-10" dirty="0">
                <a:latin typeface="Montserrat"/>
                <a:cs typeface="Arial"/>
              </a:rPr>
              <a:t>$</a:t>
            </a:r>
            <a:r>
              <a:rPr lang="en-US" sz="1550" spc="-10" dirty="0">
                <a:latin typeface="Montserrat"/>
                <a:cs typeface="Arial"/>
              </a:rPr>
              <a:t>11.95</a:t>
            </a:r>
            <a:r>
              <a:rPr sz="1550" spc="-10" dirty="0">
                <a:latin typeface="Montserrat"/>
                <a:cs typeface="Arial"/>
              </a:rPr>
              <a:t>/</a:t>
            </a:r>
            <a:r>
              <a:rPr sz="1550" spc="-10" dirty="0" err="1">
                <a:latin typeface="Montserrat"/>
                <a:cs typeface="Arial"/>
              </a:rPr>
              <a:t>mo</a:t>
            </a:r>
            <a:endParaRPr sz="1550" spc="-10" dirty="0">
              <a:latin typeface="Montserrat"/>
              <a:cs typeface="Arial"/>
            </a:endParaRPr>
          </a:p>
          <a:p>
            <a:pPr marL="26670" algn="l"/>
            <a:r>
              <a:rPr sz="1550" spc="-10" dirty="0">
                <a:latin typeface="Montserrat"/>
                <a:cs typeface="Arial"/>
              </a:rPr>
              <a:t>$</a:t>
            </a:r>
            <a:r>
              <a:rPr lang="en-US" sz="1550" spc="-10" dirty="0">
                <a:latin typeface="Montserrat"/>
                <a:cs typeface="Arial"/>
              </a:rPr>
              <a:t>9.99</a:t>
            </a:r>
            <a:r>
              <a:rPr sz="1550" spc="-10" dirty="0">
                <a:latin typeface="Montserrat"/>
                <a:cs typeface="Arial"/>
              </a:rPr>
              <a:t>/</a:t>
            </a:r>
            <a:r>
              <a:rPr sz="1550" spc="-10" dirty="0" err="1">
                <a:latin typeface="Montserrat"/>
                <a:cs typeface="Arial"/>
              </a:rPr>
              <a:t>mo</a:t>
            </a:r>
            <a:endParaRPr sz="1550" spc="-10" dirty="0">
              <a:latin typeface="Montserrat"/>
              <a:cs typeface="Arial"/>
            </a:endParaRPr>
          </a:p>
          <a:p>
            <a:pPr marL="41275" algn="l"/>
            <a:r>
              <a:rPr sz="1550" spc="-10" dirty="0">
                <a:latin typeface="Montserrat"/>
                <a:cs typeface="Arial"/>
              </a:rPr>
              <a:t>$14.95/</a:t>
            </a:r>
            <a:r>
              <a:rPr sz="1550" spc="-10" dirty="0" err="1">
                <a:latin typeface="Montserrat"/>
                <a:cs typeface="Arial"/>
              </a:rPr>
              <a:t>mo</a:t>
            </a:r>
            <a:endParaRPr sz="1550" spc="-10" dirty="0">
              <a:latin typeface="Montserrat"/>
              <a:cs typeface="Arial"/>
            </a:endParaRPr>
          </a:p>
          <a:p>
            <a:pPr marL="26670" algn="l"/>
            <a:r>
              <a:rPr sz="1550" spc="-10" dirty="0">
                <a:latin typeface="Montserrat"/>
                <a:cs typeface="Arial"/>
              </a:rPr>
              <a:t>$9.95/</a:t>
            </a:r>
            <a:r>
              <a:rPr sz="1550" spc="-10" dirty="0" err="1">
                <a:latin typeface="Montserrat"/>
                <a:cs typeface="Arial"/>
              </a:rPr>
              <a:t>mo</a:t>
            </a:r>
            <a:endParaRPr lang="en-US" sz="1550" spc="-10" dirty="0">
              <a:latin typeface="Montserrat"/>
              <a:cs typeface="Arial"/>
            </a:endParaRPr>
          </a:p>
          <a:p>
            <a:pPr marL="26670" algn="l"/>
            <a:endParaRPr lang="en-US" sz="1600" spc="-10" dirty="0">
              <a:solidFill>
                <a:srgbClr val="211E1F"/>
              </a:solidFill>
              <a:latin typeface="Montserrat" panose="00000500000000000000" pitchFamily="2" charset="0"/>
              <a:cs typeface="Arial"/>
            </a:endParaRPr>
          </a:p>
          <a:p>
            <a:pPr marL="26670" algn="l">
              <a:lnSpc>
                <a:spcPct val="100000"/>
              </a:lnSpc>
            </a:pPr>
            <a:endParaRPr sz="1600" dirty="0">
              <a:latin typeface="Montserrat" panose="00000500000000000000" pitchFamily="2" charset="0"/>
              <a:cs typeface="Arial"/>
            </a:endParaRPr>
          </a:p>
        </p:txBody>
      </p:sp>
      <p:sp>
        <p:nvSpPr>
          <p:cNvPr id="14" name="object 17">
            <a:extLst>
              <a:ext uri="{FF2B5EF4-FFF2-40B4-BE49-F238E27FC236}">
                <a16:creationId xmlns:a16="http://schemas.microsoft.com/office/drawing/2014/main" id="{366AD889-C5E9-45C1-B7EF-AE498126A99F}"/>
              </a:ext>
            </a:extLst>
          </p:cNvPr>
          <p:cNvSpPr/>
          <p:nvPr/>
        </p:nvSpPr>
        <p:spPr>
          <a:xfrm>
            <a:off x="5583371" y="1405997"/>
            <a:ext cx="45719" cy="4566057"/>
          </a:xfrm>
          <a:custGeom>
            <a:avLst/>
            <a:gdLst/>
            <a:ahLst/>
            <a:cxnLst/>
            <a:rect l="l" t="t" r="r" b="b"/>
            <a:pathLst>
              <a:path h="4310380">
                <a:moveTo>
                  <a:pt x="0" y="0"/>
                </a:moveTo>
                <a:lnTo>
                  <a:pt x="0" y="4310151"/>
                </a:lnTo>
              </a:path>
            </a:pathLst>
          </a:custGeom>
          <a:ln w="38100">
            <a:solidFill>
              <a:srgbClr val="0075A8"/>
            </a:solidFill>
          </a:ln>
        </p:spPr>
        <p:txBody>
          <a:bodyPr wrap="square" lIns="0" tIns="0" rIns="0" bIns="0" rtlCol="0"/>
          <a:lstStyle/>
          <a:p>
            <a:endParaRPr/>
          </a:p>
        </p:txBody>
      </p:sp>
      <p:sp>
        <p:nvSpPr>
          <p:cNvPr id="15" name="object 18">
            <a:extLst>
              <a:ext uri="{FF2B5EF4-FFF2-40B4-BE49-F238E27FC236}">
                <a16:creationId xmlns:a16="http://schemas.microsoft.com/office/drawing/2014/main" id="{F2B928CF-1344-478B-A234-39AD9A59B6EE}"/>
              </a:ext>
            </a:extLst>
          </p:cNvPr>
          <p:cNvSpPr txBox="1"/>
          <p:nvPr/>
        </p:nvSpPr>
        <p:spPr>
          <a:xfrm>
            <a:off x="0" y="5857512"/>
            <a:ext cx="11524296" cy="782265"/>
          </a:xfrm>
          <a:prstGeom prst="rect">
            <a:avLst/>
          </a:prstGeom>
        </p:spPr>
        <p:txBody>
          <a:bodyPr vert="horz" wrap="square" lIns="0" tIns="12700" rIns="0" bIns="0" rtlCol="0" anchor="t">
            <a:spAutoFit/>
          </a:bodyPr>
          <a:lstStyle/>
          <a:p>
            <a:pPr algn="l"/>
            <a:endParaRPr lang="en-US" sz="1800" b="0" i="0" u="none" strike="noStrike" baseline="0">
              <a:latin typeface="Proxima Nova Rg"/>
            </a:endParaRPr>
          </a:p>
          <a:p>
            <a:pPr algn="ctr"/>
            <a:r>
              <a:rPr lang="en-US" sz="1600" b="0" i="0" u="none" strike="noStrike" baseline="0">
                <a:latin typeface="Montserrat" panose="00000500000000000000" pitchFamily="2" charset="0"/>
              </a:rPr>
              <a:t>Pricing subject to change. </a:t>
            </a:r>
          </a:p>
          <a:p>
            <a:pPr algn="ctr"/>
            <a:r>
              <a:rPr lang="en-US" sz="1600" b="0" i="0" u="none" strike="noStrike" baseline="0">
                <a:latin typeface="Montserrat" panose="00000500000000000000" pitchFamily="2" charset="0"/>
              </a:rPr>
              <a:t>For more information on taxes and fees, please visit: </a:t>
            </a:r>
            <a:r>
              <a:rPr lang="en-US" sz="1600" b="0" i="0" u="sng" strike="noStrike" baseline="0">
                <a:latin typeface="Montserrat" panose="00000500000000000000" pitchFamily="2" charset="0"/>
              </a:rPr>
              <a:t>www.bluestreamfiber.com/</a:t>
            </a:r>
            <a:r>
              <a:rPr lang="en-US" sz="1600" u="sng">
                <a:latin typeface="Montserrat" panose="00000500000000000000" pitchFamily="2" charset="0"/>
              </a:rPr>
              <a:t>taxes-fees</a:t>
            </a:r>
            <a:r>
              <a:rPr lang="en-US" sz="1600" b="0" i="0" u="sng" strike="noStrike" baseline="0">
                <a:solidFill>
                  <a:schemeClr val="tx2"/>
                </a:solidFill>
                <a:latin typeface="Montserrat" panose="00000500000000000000" pitchFamily="2" charset="0"/>
              </a:rPr>
              <a:t>.</a:t>
            </a:r>
            <a:endParaRPr sz="1600">
              <a:solidFill>
                <a:schemeClr val="tx2"/>
              </a:solidFill>
              <a:latin typeface="Montserrat"/>
              <a:cs typeface="Arial"/>
            </a:endParaRPr>
          </a:p>
        </p:txBody>
      </p:sp>
      <p:sp>
        <p:nvSpPr>
          <p:cNvPr id="16" name="object 21">
            <a:extLst>
              <a:ext uri="{FF2B5EF4-FFF2-40B4-BE49-F238E27FC236}">
                <a16:creationId xmlns:a16="http://schemas.microsoft.com/office/drawing/2014/main" id="{1141912A-098F-4DC2-BC93-12990739C1A1}"/>
              </a:ext>
            </a:extLst>
          </p:cNvPr>
          <p:cNvSpPr txBox="1"/>
          <p:nvPr/>
        </p:nvSpPr>
        <p:spPr>
          <a:xfrm>
            <a:off x="5924420" y="932149"/>
            <a:ext cx="3389725" cy="947695"/>
          </a:xfrm>
          <a:prstGeom prst="rect">
            <a:avLst/>
          </a:prstGeom>
        </p:spPr>
        <p:txBody>
          <a:bodyPr vert="horz" wrap="square" lIns="0" tIns="82550" rIns="0" bIns="0" rtlCol="0">
            <a:spAutoFit/>
          </a:bodyPr>
          <a:lstStyle/>
          <a:p>
            <a:pPr marL="12700">
              <a:lnSpc>
                <a:spcPct val="100000"/>
              </a:lnSpc>
              <a:spcBef>
                <a:spcPts val="650"/>
              </a:spcBef>
            </a:pPr>
            <a:r>
              <a:rPr sz="2000" b="1" spc="-30" dirty="0">
                <a:solidFill>
                  <a:srgbClr val="067AAB"/>
                </a:solidFill>
                <a:latin typeface="Montserrat" panose="00000500000000000000" pitchFamily="2" charset="0"/>
                <a:cs typeface="Arial"/>
              </a:rPr>
              <a:t>Internet</a:t>
            </a:r>
            <a:r>
              <a:rPr sz="2000" b="1" spc="-75" dirty="0">
                <a:solidFill>
                  <a:srgbClr val="067AAB"/>
                </a:solidFill>
                <a:latin typeface="Montserrat" panose="00000500000000000000" pitchFamily="2" charset="0"/>
                <a:cs typeface="Arial"/>
              </a:rPr>
              <a:t> </a:t>
            </a:r>
            <a:r>
              <a:rPr sz="2000" b="1" spc="-40" dirty="0">
                <a:solidFill>
                  <a:srgbClr val="067AAB"/>
                </a:solidFill>
                <a:latin typeface="Montserrat" panose="00000500000000000000" pitchFamily="2" charset="0"/>
                <a:cs typeface="Arial"/>
              </a:rPr>
              <a:t>Upgrade</a:t>
            </a:r>
            <a:r>
              <a:rPr sz="2000" b="1" spc="-90" dirty="0">
                <a:solidFill>
                  <a:srgbClr val="067AAB"/>
                </a:solidFill>
                <a:latin typeface="Montserrat" panose="00000500000000000000" pitchFamily="2" charset="0"/>
                <a:cs typeface="Arial"/>
              </a:rPr>
              <a:t> </a:t>
            </a:r>
            <a:r>
              <a:rPr sz="2000" b="1" spc="-10" dirty="0">
                <a:solidFill>
                  <a:srgbClr val="067AAB"/>
                </a:solidFill>
                <a:latin typeface="Montserrat" panose="00000500000000000000" pitchFamily="2" charset="0"/>
                <a:cs typeface="Arial"/>
              </a:rPr>
              <a:t>Options</a:t>
            </a:r>
            <a:endParaRPr sz="2000" dirty="0">
              <a:latin typeface="Montserrat" panose="00000500000000000000" pitchFamily="2" charset="0"/>
              <a:cs typeface="Arial"/>
            </a:endParaRPr>
          </a:p>
          <a:p>
            <a:pPr marL="12700">
              <a:lnSpc>
                <a:spcPct val="100000"/>
              </a:lnSpc>
              <a:spcBef>
                <a:spcPts val="450"/>
              </a:spcBef>
            </a:pPr>
            <a:r>
              <a:rPr lang="en-US" sz="1550" dirty="0">
                <a:latin typeface="Montserrat" panose="00000500000000000000" pitchFamily="2" charset="0"/>
                <a:cs typeface="Arial"/>
              </a:rPr>
              <a:t>2 Gbps Upload</a:t>
            </a:r>
            <a:r>
              <a:rPr sz="1550" dirty="0">
                <a:latin typeface="Montserrat" panose="00000500000000000000" pitchFamily="2" charset="0"/>
                <a:cs typeface="Arial"/>
              </a:rPr>
              <a:t>/</a:t>
            </a:r>
            <a:r>
              <a:rPr lang="en-US" sz="1550" dirty="0">
                <a:latin typeface="Montserrat" panose="00000500000000000000" pitchFamily="2" charset="0"/>
                <a:cs typeface="Arial"/>
              </a:rPr>
              <a:t>Download</a:t>
            </a:r>
            <a:endParaRPr sz="1550" dirty="0">
              <a:latin typeface="Montserrat" panose="00000500000000000000" pitchFamily="2" charset="0"/>
              <a:cs typeface="Arial"/>
            </a:endParaRPr>
          </a:p>
          <a:p>
            <a:pPr marL="12700">
              <a:lnSpc>
                <a:spcPct val="100000"/>
              </a:lnSpc>
            </a:pPr>
            <a:r>
              <a:rPr lang="en-US" sz="1550" spc="-40">
                <a:latin typeface="Montserrat" panose="00000500000000000000" pitchFamily="2" charset="0"/>
                <a:cs typeface="Arial"/>
              </a:rPr>
              <a:t>2.5 Gbps </a:t>
            </a:r>
            <a:r>
              <a:rPr lang="en-US" sz="1550" spc="-40" dirty="0">
                <a:latin typeface="Montserrat" panose="00000500000000000000" pitchFamily="2" charset="0"/>
                <a:cs typeface="Arial"/>
              </a:rPr>
              <a:t>Upload/Download</a:t>
            </a:r>
            <a:endParaRPr sz="1550" dirty="0">
              <a:latin typeface="Montserrat" panose="00000500000000000000" pitchFamily="2" charset="0"/>
              <a:cs typeface="Arial"/>
            </a:endParaRPr>
          </a:p>
        </p:txBody>
      </p:sp>
      <p:sp>
        <p:nvSpPr>
          <p:cNvPr id="17" name="object 22">
            <a:extLst>
              <a:ext uri="{FF2B5EF4-FFF2-40B4-BE49-F238E27FC236}">
                <a16:creationId xmlns:a16="http://schemas.microsoft.com/office/drawing/2014/main" id="{EA916B79-8A9F-4FD9-A5C5-D1407DAAC082}"/>
              </a:ext>
            </a:extLst>
          </p:cNvPr>
          <p:cNvSpPr txBox="1"/>
          <p:nvPr/>
        </p:nvSpPr>
        <p:spPr>
          <a:xfrm>
            <a:off x="10152594" y="1405182"/>
            <a:ext cx="1673527" cy="505267"/>
          </a:xfrm>
          <a:prstGeom prst="rect">
            <a:avLst/>
          </a:prstGeom>
        </p:spPr>
        <p:txBody>
          <a:bodyPr vert="horz" wrap="square" lIns="0" tIns="12700" rIns="0" bIns="0" rtlCol="0">
            <a:spAutoFit/>
          </a:bodyPr>
          <a:lstStyle/>
          <a:p>
            <a:pPr marL="50800">
              <a:lnSpc>
                <a:spcPct val="100000"/>
              </a:lnSpc>
              <a:spcBef>
                <a:spcPts val="100"/>
              </a:spcBef>
            </a:pPr>
            <a:r>
              <a:rPr sz="1550" spc="-10" dirty="0">
                <a:latin typeface="Montserrat" panose="00000500000000000000" pitchFamily="2" charset="0"/>
                <a:cs typeface="Arial"/>
              </a:rPr>
              <a:t>$</a:t>
            </a:r>
            <a:r>
              <a:rPr lang="en-US" sz="1550" spc="-10" dirty="0">
                <a:latin typeface="Montserrat" panose="00000500000000000000" pitchFamily="2" charset="0"/>
                <a:cs typeface="Arial"/>
              </a:rPr>
              <a:t>3</a:t>
            </a:r>
            <a:r>
              <a:rPr sz="1550" spc="-10" dirty="0">
                <a:latin typeface="Montserrat" panose="00000500000000000000" pitchFamily="2" charset="0"/>
                <a:cs typeface="Arial"/>
              </a:rPr>
              <a:t>5.00/</a:t>
            </a:r>
            <a:r>
              <a:rPr sz="1550" spc="-10" dirty="0" err="1">
                <a:latin typeface="Montserrat" panose="00000500000000000000" pitchFamily="2" charset="0"/>
                <a:cs typeface="Arial"/>
              </a:rPr>
              <a:t>mo</a:t>
            </a:r>
            <a:endParaRPr sz="1550" dirty="0">
              <a:latin typeface="Montserrat" panose="00000500000000000000" pitchFamily="2" charset="0"/>
              <a:cs typeface="Arial"/>
            </a:endParaRPr>
          </a:p>
          <a:p>
            <a:pPr marL="12700">
              <a:lnSpc>
                <a:spcPct val="100000"/>
              </a:lnSpc>
            </a:pPr>
            <a:r>
              <a:rPr lang="en-US" sz="1550" spc="-10" dirty="0">
                <a:latin typeface="Montserrat" panose="00000500000000000000" pitchFamily="2" charset="0"/>
                <a:cs typeface="Arial"/>
              </a:rPr>
              <a:t> </a:t>
            </a:r>
            <a:r>
              <a:rPr sz="1550" spc="-10" dirty="0">
                <a:latin typeface="Montserrat" panose="00000500000000000000" pitchFamily="2" charset="0"/>
                <a:cs typeface="Arial"/>
              </a:rPr>
              <a:t>$</a:t>
            </a:r>
            <a:r>
              <a:rPr lang="en-US" sz="1550" spc="-10" dirty="0">
                <a:latin typeface="Montserrat" panose="00000500000000000000" pitchFamily="2" charset="0"/>
                <a:cs typeface="Arial"/>
              </a:rPr>
              <a:t>50</a:t>
            </a:r>
            <a:r>
              <a:rPr sz="1550" spc="-10" dirty="0">
                <a:latin typeface="Montserrat" panose="00000500000000000000" pitchFamily="2" charset="0"/>
                <a:cs typeface="Arial"/>
              </a:rPr>
              <a:t>.00/</a:t>
            </a:r>
            <a:r>
              <a:rPr sz="1550" spc="-10" dirty="0" err="1">
                <a:latin typeface="Montserrat" panose="00000500000000000000" pitchFamily="2" charset="0"/>
                <a:cs typeface="Arial"/>
              </a:rPr>
              <a:t>mo</a:t>
            </a:r>
            <a:endParaRPr sz="1550" dirty="0">
              <a:latin typeface="Montserrat" panose="00000500000000000000" pitchFamily="2" charset="0"/>
              <a:cs typeface="Arial"/>
            </a:endParaRPr>
          </a:p>
        </p:txBody>
      </p:sp>
      <p:sp>
        <p:nvSpPr>
          <p:cNvPr id="18" name="object 15">
            <a:extLst>
              <a:ext uri="{FF2B5EF4-FFF2-40B4-BE49-F238E27FC236}">
                <a16:creationId xmlns:a16="http://schemas.microsoft.com/office/drawing/2014/main" id="{55EB5637-855F-4864-9598-BB60FC3DBCDA}"/>
              </a:ext>
            </a:extLst>
          </p:cNvPr>
          <p:cNvSpPr txBox="1"/>
          <p:nvPr/>
        </p:nvSpPr>
        <p:spPr>
          <a:xfrm>
            <a:off x="5924420" y="2195388"/>
            <a:ext cx="5747532" cy="330200"/>
          </a:xfrm>
          <a:prstGeom prst="rect">
            <a:avLst/>
          </a:prstGeom>
        </p:spPr>
        <p:txBody>
          <a:bodyPr vert="horz" wrap="square" lIns="0" tIns="12065" rIns="0" bIns="0" rtlCol="0">
            <a:spAutoFit/>
          </a:bodyPr>
          <a:lstStyle/>
          <a:p>
            <a:pPr marL="12700">
              <a:lnSpc>
                <a:spcPct val="100000"/>
              </a:lnSpc>
              <a:spcBef>
                <a:spcPts val="95"/>
              </a:spcBef>
            </a:pPr>
            <a:r>
              <a:rPr lang="en-US" sz="2000" b="1" spc="-60" dirty="0">
                <a:solidFill>
                  <a:srgbClr val="067AAB"/>
                </a:solidFill>
                <a:latin typeface="Montserrat" panose="00000500000000000000" pitchFamily="2" charset="0"/>
                <a:cs typeface="Arial"/>
              </a:rPr>
              <a:t>Phone Option</a:t>
            </a:r>
            <a:endParaRPr sz="2000" dirty="0">
              <a:latin typeface="Montserrat" panose="00000500000000000000" pitchFamily="2" charset="0"/>
              <a:cs typeface="Arial"/>
            </a:endParaRPr>
          </a:p>
        </p:txBody>
      </p:sp>
      <p:sp>
        <p:nvSpPr>
          <p:cNvPr id="19" name="object 12">
            <a:extLst>
              <a:ext uri="{FF2B5EF4-FFF2-40B4-BE49-F238E27FC236}">
                <a16:creationId xmlns:a16="http://schemas.microsoft.com/office/drawing/2014/main" id="{DE79EAE9-241A-401A-9FB0-6DFDAE85C5AB}"/>
              </a:ext>
            </a:extLst>
          </p:cNvPr>
          <p:cNvSpPr txBox="1"/>
          <p:nvPr/>
        </p:nvSpPr>
        <p:spPr>
          <a:xfrm>
            <a:off x="5952648" y="2503812"/>
            <a:ext cx="2988310" cy="259045"/>
          </a:xfrm>
          <a:prstGeom prst="rect">
            <a:avLst/>
          </a:prstGeom>
        </p:spPr>
        <p:txBody>
          <a:bodyPr vert="horz" wrap="square" lIns="0" tIns="12700" rIns="0" bIns="0" rtlCol="0">
            <a:spAutoFit/>
          </a:bodyPr>
          <a:lstStyle/>
          <a:p>
            <a:pPr marL="12700" marR="5080">
              <a:lnSpc>
                <a:spcPct val="100000"/>
              </a:lnSpc>
              <a:spcBef>
                <a:spcPts val="100"/>
              </a:spcBef>
            </a:pPr>
            <a:r>
              <a:rPr lang="en-US" sz="1550" dirty="0">
                <a:latin typeface="Montserrat" panose="00000500000000000000" pitchFamily="2" charset="0"/>
                <a:cs typeface="Arial"/>
              </a:rPr>
              <a:t>Unlimited Phone Service</a:t>
            </a:r>
            <a:endParaRPr sz="1550" dirty="0">
              <a:latin typeface="Montserrat" panose="00000500000000000000" pitchFamily="2" charset="0"/>
              <a:cs typeface="Arial"/>
            </a:endParaRPr>
          </a:p>
        </p:txBody>
      </p:sp>
      <p:sp>
        <p:nvSpPr>
          <p:cNvPr id="20" name="object 13">
            <a:extLst>
              <a:ext uri="{FF2B5EF4-FFF2-40B4-BE49-F238E27FC236}">
                <a16:creationId xmlns:a16="http://schemas.microsoft.com/office/drawing/2014/main" id="{7CE7F3E5-142E-4B33-A879-E2537AC318D4}"/>
              </a:ext>
            </a:extLst>
          </p:cNvPr>
          <p:cNvSpPr txBox="1"/>
          <p:nvPr/>
        </p:nvSpPr>
        <p:spPr>
          <a:xfrm>
            <a:off x="10149721" y="2498357"/>
            <a:ext cx="1676400" cy="259045"/>
          </a:xfrm>
          <a:prstGeom prst="rect">
            <a:avLst/>
          </a:prstGeom>
        </p:spPr>
        <p:txBody>
          <a:bodyPr vert="horz" wrap="square" lIns="0" tIns="12700" rIns="0" bIns="0" rtlCol="0" anchor="t">
            <a:spAutoFit/>
          </a:bodyPr>
          <a:lstStyle/>
          <a:p>
            <a:pPr marL="29845" algn="l">
              <a:lnSpc>
                <a:spcPct val="100000"/>
              </a:lnSpc>
              <a:spcBef>
                <a:spcPts val="100"/>
              </a:spcBef>
            </a:pPr>
            <a:r>
              <a:rPr sz="1550" spc="-10" dirty="0">
                <a:latin typeface="Montserrat"/>
                <a:cs typeface="Arial"/>
              </a:rPr>
              <a:t>$</a:t>
            </a:r>
            <a:r>
              <a:rPr lang="en-US" sz="1550" spc="-10" dirty="0">
                <a:latin typeface="Montserrat"/>
                <a:cs typeface="Arial"/>
              </a:rPr>
              <a:t>19</a:t>
            </a:r>
            <a:r>
              <a:rPr sz="1550" spc="-10" dirty="0">
                <a:latin typeface="Montserrat"/>
                <a:cs typeface="Arial"/>
              </a:rPr>
              <a:t>.</a:t>
            </a:r>
            <a:r>
              <a:rPr lang="en-US" sz="1550" spc="-10" dirty="0">
                <a:latin typeface="Montserrat"/>
                <a:cs typeface="Arial"/>
              </a:rPr>
              <a:t>95</a:t>
            </a:r>
            <a:r>
              <a:rPr sz="1550" spc="-10" dirty="0">
                <a:latin typeface="Montserrat"/>
                <a:cs typeface="Arial"/>
              </a:rPr>
              <a:t>/</a:t>
            </a:r>
            <a:r>
              <a:rPr sz="1550" spc="-10" dirty="0" err="1">
                <a:latin typeface="Montserrat"/>
                <a:cs typeface="Arial"/>
              </a:rPr>
              <a:t>mo</a:t>
            </a:r>
            <a:endParaRPr sz="1550" dirty="0">
              <a:latin typeface="Montserrat"/>
              <a:cs typeface="Arial"/>
            </a:endParaRPr>
          </a:p>
        </p:txBody>
      </p:sp>
      <p:sp>
        <p:nvSpPr>
          <p:cNvPr id="21" name="object 19">
            <a:extLst>
              <a:ext uri="{FF2B5EF4-FFF2-40B4-BE49-F238E27FC236}">
                <a16:creationId xmlns:a16="http://schemas.microsoft.com/office/drawing/2014/main" id="{A644C1EA-C358-40ED-B7C4-3A7EFF6F18FA}"/>
              </a:ext>
            </a:extLst>
          </p:cNvPr>
          <p:cNvSpPr txBox="1"/>
          <p:nvPr/>
        </p:nvSpPr>
        <p:spPr>
          <a:xfrm>
            <a:off x="252714" y="3489661"/>
            <a:ext cx="2988310" cy="1145185"/>
          </a:xfrm>
          <a:prstGeom prst="rect">
            <a:avLst/>
          </a:prstGeom>
        </p:spPr>
        <p:txBody>
          <a:bodyPr vert="horz" wrap="square" lIns="0" tIns="46990" rIns="0" bIns="0" rtlCol="0" anchor="t">
            <a:spAutoFit/>
          </a:bodyPr>
          <a:lstStyle/>
          <a:p>
            <a:pPr marL="21590">
              <a:lnSpc>
                <a:spcPct val="100000"/>
              </a:lnSpc>
              <a:spcBef>
                <a:spcPts val="370"/>
              </a:spcBef>
            </a:pPr>
            <a:r>
              <a:rPr sz="2000" b="1" spc="-60" dirty="0">
                <a:solidFill>
                  <a:srgbClr val="067AAB"/>
                </a:solidFill>
                <a:latin typeface="Montserrat" panose="00000500000000000000" pitchFamily="2" charset="0"/>
                <a:cs typeface="Arial"/>
              </a:rPr>
              <a:t>Additional</a:t>
            </a:r>
            <a:r>
              <a:rPr sz="2000" b="1" spc="-75" dirty="0">
                <a:solidFill>
                  <a:srgbClr val="067AAB"/>
                </a:solidFill>
                <a:latin typeface="Montserrat" panose="00000500000000000000" pitchFamily="2" charset="0"/>
                <a:cs typeface="Arial"/>
              </a:rPr>
              <a:t> </a:t>
            </a:r>
            <a:r>
              <a:rPr sz="2000" b="1" spc="-35" dirty="0">
                <a:solidFill>
                  <a:srgbClr val="067AAB"/>
                </a:solidFill>
                <a:latin typeface="Montserrat" panose="00000500000000000000" pitchFamily="2" charset="0"/>
                <a:cs typeface="Arial"/>
              </a:rPr>
              <a:t>DVR</a:t>
            </a:r>
            <a:r>
              <a:rPr sz="2000" b="1" spc="-90" dirty="0">
                <a:solidFill>
                  <a:srgbClr val="067AAB"/>
                </a:solidFill>
                <a:latin typeface="Montserrat" panose="00000500000000000000" pitchFamily="2" charset="0"/>
                <a:cs typeface="Arial"/>
              </a:rPr>
              <a:t> </a:t>
            </a:r>
            <a:r>
              <a:rPr sz="2000" b="1" spc="-20" dirty="0">
                <a:solidFill>
                  <a:srgbClr val="067AAB"/>
                </a:solidFill>
                <a:latin typeface="Montserrat" panose="00000500000000000000" pitchFamily="2" charset="0"/>
                <a:cs typeface="Arial"/>
              </a:rPr>
              <a:t>Hours</a:t>
            </a:r>
            <a:endParaRPr sz="2000" dirty="0">
              <a:latin typeface="Montserrat" panose="00000500000000000000" pitchFamily="2" charset="0"/>
              <a:cs typeface="Arial"/>
            </a:endParaRPr>
          </a:p>
          <a:p>
            <a:pPr marL="12700">
              <a:spcBef>
                <a:spcPts val="220"/>
              </a:spcBef>
            </a:pPr>
            <a:r>
              <a:rPr lang="en-US" sz="1600" dirty="0">
                <a:latin typeface="Montserrat"/>
                <a:cs typeface="Arial"/>
              </a:rPr>
              <a:t>DVR 150 Hours</a:t>
            </a:r>
            <a:endParaRPr lang="en-US" sz="1600" dirty="0">
              <a:latin typeface="Montserrat" panose="00000500000000000000" pitchFamily="2" charset="0"/>
              <a:cs typeface="Arial"/>
            </a:endParaRPr>
          </a:p>
          <a:p>
            <a:pPr marL="12700">
              <a:spcBef>
                <a:spcPts val="220"/>
              </a:spcBef>
            </a:pPr>
            <a:r>
              <a:rPr lang="en-US" sz="1600" spc="-40" dirty="0">
                <a:latin typeface="Montserrat"/>
                <a:cs typeface="Arial"/>
              </a:rPr>
              <a:t>DVR</a:t>
            </a:r>
            <a:r>
              <a:rPr lang="en-US" sz="1600" spc="-145" dirty="0">
                <a:latin typeface="Montserrat"/>
                <a:cs typeface="Arial"/>
              </a:rPr>
              <a:t>  </a:t>
            </a:r>
            <a:r>
              <a:rPr lang="en-US" sz="1600" dirty="0">
                <a:latin typeface="Montserrat"/>
                <a:cs typeface="Arial"/>
              </a:rPr>
              <a:t>300</a:t>
            </a:r>
            <a:r>
              <a:rPr lang="en-US" sz="1600" spc="105" dirty="0">
                <a:latin typeface="Montserrat"/>
                <a:cs typeface="Arial"/>
              </a:rPr>
              <a:t> </a:t>
            </a:r>
            <a:r>
              <a:rPr lang="en-US" sz="1600" spc="-20" dirty="0">
                <a:latin typeface="Montserrat"/>
                <a:cs typeface="Arial"/>
              </a:rPr>
              <a:t>Hours</a:t>
            </a:r>
            <a:endParaRPr lang="en-US" sz="1600" dirty="0">
              <a:latin typeface="Montserrat"/>
              <a:cs typeface="Arial"/>
            </a:endParaRPr>
          </a:p>
          <a:p>
            <a:pPr marL="12700"/>
            <a:r>
              <a:rPr lang="en-US" sz="1600" spc="-40" dirty="0">
                <a:latin typeface="Montserrat"/>
                <a:cs typeface="Arial"/>
              </a:rPr>
              <a:t>DVR </a:t>
            </a:r>
            <a:r>
              <a:rPr lang="en-US" sz="1600" spc="-145" dirty="0">
                <a:latin typeface="Montserrat"/>
                <a:cs typeface="Arial"/>
              </a:rPr>
              <a:t> </a:t>
            </a:r>
            <a:r>
              <a:rPr lang="en-US" sz="1600" dirty="0">
                <a:latin typeface="Montserrat"/>
                <a:cs typeface="Arial"/>
              </a:rPr>
              <a:t>500</a:t>
            </a:r>
            <a:r>
              <a:rPr lang="en-US" sz="1600" spc="105" dirty="0">
                <a:latin typeface="Montserrat"/>
                <a:cs typeface="Arial"/>
              </a:rPr>
              <a:t> </a:t>
            </a:r>
            <a:r>
              <a:rPr lang="en-US" sz="1600" spc="-20" dirty="0">
                <a:latin typeface="Montserrat"/>
                <a:cs typeface="Arial"/>
              </a:rPr>
              <a:t>Hours</a:t>
            </a:r>
            <a:endParaRPr lang="en-US" sz="1600" dirty="0">
              <a:latin typeface="Montserrat"/>
              <a:cs typeface="Arial"/>
            </a:endParaRPr>
          </a:p>
        </p:txBody>
      </p:sp>
      <p:sp>
        <p:nvSpPr>
          <p:cNvPr id="22" name="object 20">
            <a:extLst>
              <a:ext uri="{FF2B5EF4-FFF2-40B4-BE49-F238E27FC236}">
                <a16:creationId xmlns:a16="http://schemas.microsoft.com/office/drawing/2014/main" id="{BF17C56F-554D-44CD-87A7-AB3EE7FE3FB1}"/>
              </a:ext>
            </a:extLst>
          </p:cNvPr>
          <p:cNvSpPr txBox="1"/>
          <p:nvPr/>
        </p:nvSpPr>
        <p:spPr>
          <a:xfrm>
            <a:off x="4184110" y="3853155"/>
            <a:ext cx="1684412" cy="741229"/>
          </a:xfrm>
          <a:prstGeom prst="rect">
            <a:avLst/>
          </a:prstGeom>
        </p:spPr>
        <p:txBody>
          <a:bodyPr vert="horz" wrap="square" lIns="0" tIns="12700" rIns="0" bIns="0" rtlCol="0" anchor="t">
            <a:spAutoFit/>
          </a:bodyPr>
          <a:lstStyle/>
          <a:p>
            <a:pPr marL="12700">
              <a:spcBef>
                <a:spcPts val="100"/>
              </a:spcBef>
            </a:pPr>
            <a:r>
              <a:rPr lang="en-US" sz="1550" spc="-10" dirty="0">
                <a:latin typeface="Montserrat"/>
                <a:cs typeface="Arial"/>
              </a:rPr>
              <a:t>$5.00/</a:t>
            </a:r>
            <a:r>
              <a:rPr lang="en-US" sz="1550" spc="-10" dirty="0" err="1">
                <a:latin typeface="Montserrat"/>
                <a:cs typeface="Arial"/>
              </a:rPr>
              <a:t>mo</a:t>
            </a:r>
          </a:p>
          <a:p>
            <a:pPr marL="12700" algn="l">
              <a:lnSpc>
                <a:spcPct val="100000"/>
              </a:lnSpc>
              <a:spcBef>
                <a:spcPts val="100"/>
              </a:spcBef>
            </a:pPr>
            <a:r>
              <a:rPr lang="en-US" sz="1550" spc="-10" dirty="0">
                <a:latin typeface="Montserrat"/>
                <a:cs typeface="Arial"/>
              </a:rPr>
              <a:t>$</a:t>
            </a:r>
            <a:r>
              <a:rPr sz="1550" spc="-10" dirty="0">
                <a:latin typeface="Montserrat"/>
                <a:cs typeface="Arial"/>
              </a:rPr>
              <a:t>10.00/</a:t>
            </a:r>
            <a:r>
              <a:rPr sz="1550" spc="-10" dirty="0" err="1">
                <a:latin typeface="Montserrat"/>
                <a:cs typeface="Arial"/>
              </a:rPr>
              <a:t>mo</a:t>
            </a:r>
            <a:endParaRPr lang="en-US" sz="1550" spc="-10" dirty="0" err="1">
              <a:latin typeface="Montserrat"/>
              <a:cs typeface="Arial"/>
            </a:endParaRPr>
          </a:p>
          <a:p>
            <a:pPr marL="12700" algn="l">
              <a:lnSpc>
                <a:spcPct val="100000"/>
              </a:lnSpc>
            </a:pPr>
            <a:r>
              <a:rPr sz="1550" spc="-10" dirty="0">
                <a:latin typeface="Montserrat"/>
                <a:cs typeface="Arial"/>
              </a:rPr>
              <a:t>$15.00/</a:t>
            </a:r>
            <a:r>
              <a:rPr sz="1550" spc="-10" dirty="0" err="1">
                <a:latin typeface="Montserrat"/>
                <a:cs typeface="Arial"/>
              </a:rPr>
              <a:t>mo</a:t>
            </a:r>
            <a:endParaRPr sz="1550" spc="-10" dirty="0">
              <a:latin typeface="Montserrat"/>
              <a:cs typeface="Arial"/>
            </a:endParaRPr>
          </a:p>
        </p:txBody>
      </p:sp>
      <p:sp>
        <p:nvSpPr>
          <p:cNvPr id="6" name="object 15">
            <a:extLst>
              <a:ext uri="{FF2B5EF4-FFF2-40B4-BE49-F238E27FC236}">
                <a16:creationId xmlns:a16="http://schemas.microsoft.com/office/drawing/2014/main" id="{5C45D101-5EEC-248D-A45D-058A826A1336}"/>
              </a:ext>
            </a:extLst>
          </p:cNvPr>
          <p:cNvSpPr txBox="1"/>
          <p:nvPr/>
        </p:nvSpPr>
        <p:spPr>
          <a:xfrm>
            <a:off x="5924420" y="3345310"/>
            <a:ext cx="5747532" cy="330200"/>
          </a:xfrm>
          <a:prstGeom prst="rect">
            <a:avLst/>
          </a:prstGeom>
        </p:spPr>
        <p:txBody>
          <a:bodyPr vert="horz" wrap="square" lIns="0" tIns="12065" rIns="0" bIns="0" rtlCol="0">
            <a:spAutoFit/>
          </a:bodyPr>
          <a:lstStyle/>
          <a:p>
            <a:pPr marL="12700">
              <a:lnSpc>
                <a:spcPct val="100000"/>
              </a:lnSpc>
              <a:spcBef>
                <a:spcPts val="95"/>
              </a:spcBef>
            </a:pPr>
            <a:r>
              <a:rPr lang="en-US" sz="2000" b="1" spc="-60" dirty="0">
                <a:solidFill>
                  <a:srgbClr val="067AAB"/>
                </a:solidFill>
                <a:latin typeface="Montserrat" panose="00000500000000000000" pitchFamily="2" charset="0"/>
                <a:cs typeface="Arial"/>
              </a:rPr>
              <a:t>Home Protection Plan</a:t>
            </a:r>
            <a:endParaRPr sz="2000" dirty="0">
              <a:latin typeface="Montserrat" panose="00000500000000000000" pitchFamily="2" charset="0"/>
              <a:cs typeface="Arial"/>
            </a:endParaRPr>
          </a:p>
        </p:txBody>
      </p:sp>
      <p:sp>
        <p:nvSpPr>
          <p:cNvPr id="8" name="object 12">
            <a:extLst>
              <a:ext uri="{FF2B5EF4-FFF2-40B4-BE49-F238E27FC236}">
                <a16:creationId xmlns:a16="http://schemas.microsoft.com/office/drawing/2014/main" id="{756DA102-49FD-3C6B-1C00-EB029AA09A44}"/>
              </a:ext>
            </a:extLst>
          </p:cNvPr>
          <p:cNvSpPr txBox="1"/>
          <p:nvPr/>
        </p:nvSpPr>
        <p:spPr>
          <a:xfrm>
            <a:off x="5952648" y="3671698"/>
            <a:ext cx="4028823" cy="2046714"/>
          </a:xfrm>
          <a:prstGeom prst="rect">
            <a:avLst/>
          </a:prstGeom>
        </p:spPr>
        <p:txBody>
          <a:bodyPr vert="horz" wrap="square" lIns="0" tIns="12700" rIns="0" bIns="0" rtlCol="0">
            <a:spAutoFit/>
          </a:bodyPr>
          <a:lstStyle/>
          <a:p>
            <a:pPr marL="12700" marR="5080">
              <a:lnSpc>
                <a:spcPct val="100000"/>
              </a:lnSpc>
              <a:spcBef>
                <a:spcPts val="100"/>
              </a:spcBef>
            </a:pPr>
            <a:r>
              <a:rPr lang="en-US" sz="1550" dirty="0">
                <a:latin typeface="Montserrat" panose="00000500000000000000" pitchFamily="2" charset="0"/>
                <a:cs typeface="Arial"/>
              </a:rPr>
              <a:t>• Accidental Fiber Damage </a:t>
            </a:r>
          </a:p>
          <a:p>
            <a:pPr marL="12700" marR="5080">
              <a:lnSpc>
                <a:spcPct val="100000"/>
              </a:lnSpc>
              <a:spcBef>
                <a:spcPts val="100"/>
              </a:spcBef>
            </a:pPr>
            <a:r>
              <a:rPr lang="en-US" sz="1550" dirty="0">
                <a:latin typeface="Montserrat" panose="00000500000000000000" pitchFamily="2" charset="0"/>
                <a:cs typeface="Arial"/>
              </a:rPr>
              <a:t>• External wiring issue caused by animal or contractor damages </a:t>
            </a:r>
          </a:p>
          <a:p>
            <a:pPr marL="12700" marR="5080">
              <a:lnSpc>
                <a:spcPct val="100000"/>
              </a:lnSpc>
              <a:spcBef>
                <a:spcPts val="100"/>
              </a:spcBef>
            </a:pPr>
            <a:r>
              <a:rPr lang="en-US" sz="1550" dirty="0">
                <a:latin typeface="Montserrat" panose="00000500000000000000" pitchFamily="2" charset="0"/>
                <a:cs typeface="Arial"/>
              </a:rPr>
              <a:t>• Accidental damage to phone wiring </a:t>
            </a:r>
          </a:p>
          <a:p>
            <a:pPr marL="12700" marR="5080">
              <a:lnSpc>
                <a:spcPct val="100000"/>
              </a:lnSpc>
              <a:spcBef>
                <a:spcPts val="100"/>
              </a:spcBef>
            </a:pPr>
            <a:r>
              <a:rPr lang="en-US" sz="1550" dirty="0">
                <a:latin typeface="Montserrat" panose="00000500000000000000" pitchFamily="2" charset="0"/>
                <a:cs typeface="Arial"/>
              </a:rPr>
              <a:t>• Accidental damage to Modem or ONT </a:t>
            </a:r>
          </a:p>
          <a:p>
            <a:pPr marL="12700" marR="5080">
              <a:lnSpc>
                <a:spcPct val="100000"/>
              </a:lnSpc>
              <a:spcBef>
                <a:spcPts val="100"/>
              </a:spcBef>
            </a:pPr>
            <a:r>
              <a:rPr lang="en-US" sz="1550" dirty="0">
                <a:latin typeface="Montserrat" panose="00000500000000000000" pitchFamily="2" charset="0"/>
                <a:cs typeface="Arial"/>
              </a:rPr>
              <a:t>• Basic customer education </a:t>
            </a:r>
          </a:p>
          <a:p>
            <a:pPr marL="12700" marR="5080">
              <a:lnSpc>
                <a:spcPct val="100000"/>
              </a:lnSpc>
              <a:spcBef>
                <a:spcPts val="100"/>
              </a:spcBef>
            </a:pPr>
            <a:r>
              <a:rPr lang="en-US" sz="1550" dirty="0">
                <a:latin typeface="Montserrat" panose="00000500000000000000" pitchFamily="2" charset="0"/>
                <a:cs typeface="Arial"/>
              </a:rPr>
              <a:t>• Assistance with seasonal return reconnection should it be needed</a:t>
            </a:r>
            <a:endParaRPr sz="1550" dirty="0">
              <a:latin typeface="Montserrat" panose="00000500000000000000" pitchFamily="2" charset="0"/>
              <a:cs typeface="Arial"/>
            </a:endParaRPr>
          </a:p>
        </p:txBody>
      </p:sp>
      <p:sp>
        <p:nvSpPr>
          <p:cNvPr id="10" name="object 13">
            <a:extLst>
              <a:ext uri="{FF2B5EF4-FFF2-40B4-BE49-F238E27FC236}">
                <a16:creationId xmlns:a16="http://schemas.microsoft.com/office/drawing/2014/main" id="{1748B28D-1C57-3528-236C-D03CA495230E}"/>
              </a:ext>
            </a:extLst>
          </p:cNvPr>
          <p:cNvSpPr txBox="1"/>
          <p:nvPr/>
        </p:nvSpPr>
        <p:spPr>
          <a:xfrm>
            <a:off x="10272276" y="3429000"/>
            <a:ext cx="1676400" cy="259045"/>
          </a:xfrm>
          <a:prstGeom prst="rect">
            <a:avLst/>
          </a:prstGeom>
        </p:spPr>
        <p:txBody>
          <a:bodyPr vert="horz" wrap="square" lIns="0" tIns="12700" rIns="0" bIns="0" rtlCol="0" anchor="t">
            <a:spAutoFit/>
          </a:bodyPr>
          <a:lstStyle/>
          <a:p>
            <a:pPr marL="29845" algn="l">
              <a:lnSpc>
                <a:spcPct val="100000"/>
              </a:lnSpc>
              <a:spcBef>
                <a:spcPts val="100"/>
              </a:spcBef>
            </a:pPr>
            <a:r>
              <a:rPr sz="1550" spc="-10" dirty="0">
                <a:latin typeface="Montserrat"/>
                <a:cs typeface="Arial"/>
              </a:rPr>
              <a:t>$</a:t>
            </a:r>
            <a:r>
              <a:rPr lang="en-US" sz="1550" spc="-10" dirty="0">
                <a:latin typeface="Montserrat"/>
                <a:cs typeface="Arial"/>
              </a:rPr>
              <a:t>7</a:t>
            </a:r>
            <a:r>
              <a:rPr sz="1550" spc="-10" dirty="0">
                <a:latin typeface="Montserrat"/>
                <a:cs typeface="Arial"/>
              </a:rPr>
              <a:t>.</a:t>
            </a:r>
            <a:r>
              <a:rPr lang="en-US" sz="1550" spc="-10" dirty="0">
                <a:latin typeface="Montserrat"/>
                <a:cs typeface="Arial"/>
              </a:rPr>
              <a:t>95</a:t>
            </a:r>
            <a:r>
              <a:rPr sz="1550" spc="-10" dirty="0">
                <a:latin typeface="Montserrat"/>
                <a:cs typeface="Arial"/>
              </a:rPr>
              <a:t>/</a:t>
            </a:r>
            <a:r>
              <a:rPr sz="1550" spc="-10" dirty="0" err="1">
                <a:latin typeface="Montserrat"/>
                <a:cs typeface="Arial"/>
              </a:rPr>
              <a:t>mo</a:t>
            </a:r>
            <a:endParaRPr sz="1550" dirty="0">
              <a:latin typeface="Montserrat"/>
              <a:cs typeface="Arial"/>
            </a:endParaRPr>
          </a:p>
        </p:txBody>
      </p:sp>
    </p:spTree>
    <p:extLst>
      <p:ext uri="{BB962C8B-B14F-4D97-AF65-F5344CB8AC3E}">
        <p14:creationId xmlns:p14="http://schemas.microsoft.com/office/powerpoint/2010/main" val="38026980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08FEAA8-4318-B3E5-982F-FCC8C7B015CF}"/>
              </a:ext>
            </a:extLst>
          </p:cNvPr>
          <p:cNvPicPr>
            <a:picLocks noChangeAspect="1"/>
          </p:cNvPicPr>
          <p:nvPr/>
        </p:nvPicPr>
        <p:blipFill>
          <a:blip r:embed="rId3"/>
          <a:stretch>
            <a:fillRect/>
          </a:stretch>
        </p:blipFill>
        <p:spPr>
          <a:xfrm>
            <a:off x="4559362" y="7407777"/>
            <a:ext cx="3556228" cy="1578673"/>
          </a:xfrm>
          <a:prstGeom prst="rect">
            <a:avLst/>
          </a:prstGeom>
        </p:spPr>
      </p:pic>
      <p:sp>
        <p:nvSpPr>
          <p:cNvPr id="21" name="Title 1">
            <a:extLst>
              <a:ext uri="{FF2B5EF4-FFF2-40B4-BE49-F238E27FC236}">
                <a16:creationId xmlns:a16="http://schemas.microsoft.com/office/drawing/2014/main" id="{D11D2ED3-7633-E7DE-3A9A-FDC4B0A07265}"/>
              </a:ext>
            </a:extLst>
          </p:cNvPr>
          <p:cNvSpPr>
            <a:spLocks noGrp="1"/>
          </p:cNvSpPr>
          <p:nvPr>
            <p:ph type="title"/>
          </p:nvPr>
        </p:nvSpPr>
        <p:spPr>
          <a:xfrm>
            <a:off x="449431" y="328780"/>
            <a:ext cx="11673025" cy="1325563"/>
          </a:xfrm>
        </p:spPr>
        <p:txBody>
          <a:bodyPr>
            <a:normAutofit/>
          </a:bodyPr>
          <a:lstStyle/>
          <a:p>
            <a:pPr>
              <a:lnSpc>
                <a:spcPct val="100000"/>
              </a:lnSpc>
            </a:pPr>
            <a:r>
              <a:rPr lang="en-US" sz="3800">
                <a:latin typeface="Montserrat"/>
              </a:rPr>
              <a:t>Understanding Your </a:t>
            </a:r>
            <a:r>
              <a:rPr lang="en-US" sz="3800" err="1">
                <a:latin typeface="Montserrat"/>
              </a:rPr>
              <a:t>WiFi</a:t>
            </a:r>
            <a:r>
              <a:rPr lang="en-US" sz="3800">
                <a:latin typeface="Montserrat"/>
              </a:rPr>
              <a:t> Speeds</a:t>
            </a:r>
            <a:endParaRPr lang="en-US"/>
          </a:p>
        </p:txBody>
      </p:sp>
      <p:sp>
        <p:nvSpPr>
          <p:cNvPr id="22" name="Title 1">
            <a:extLst>
              <a:ext uri="{FF2B5EF4-FFF2-40B4-BE49-F238E27FC236}">
                <a16:creationId xmlns:a16="http://schemas.microsoft.com/office/drawing/2014/main" id="{BEBDCA4D-6BA7-B8CD-2614-CD1EC5CC2CC0}"/>
              </a:ext>
            </a:extLst>
          </p:cNvPr>
          <p:cNvSpPr txBox="1">
            <a:spLocks/>
          </p:cNvSpPr>
          <p:nvPr/>
        </p:nvSpPr>
        <p:spPr>
          <a:xfrm>
            <a:off x="525042" y="1375785"/>
            <a:ext cx="11746869" cy="78859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kern="1200" baseline="0">
                <a:solidFill>
                  <a:schemeClr val="accent1"/>
                </a:solidFill>
                <a:latin typeface="Montserrat" pitchFamily="2" charset="77"/>
                <a:ea typeface="+mj-ea"/>
                <a:cs typeface="+mj-cs"/>
              </a:defRPr>
            </a:lvl1pPr>
          </a:lstStyle>
          <a:p>
            <a:r>
              <a:rPr lang="en-US" sz="2600" b="1">
                <a:solidFill>
                  <a:srgbClr val="04617B"/>
                </a:solidFill>
                <a:latin typeface="Montserrat"/>
              </a:rPr>
              <a:t>Bandwidth </a:t>
            </a:r>
            <a:r>
              <a:rPr lang="en-US" sz="2600">
                <a:solidFill>
                  <a:srgbClr val="04617B"/>
                </a:solidFill>
                <a:latin typeface="Montserrat"/>
              </a:rPr>
              <a:t>- </a:t>
            </a:r>
            <a:r>
              <a:rPr lang="en-US" sz="2600" b="1">
                <a:solidFill>
                  <a:srgbClr val="04617B"/>
                </a:solidFill>
                <a:latin typeface="Montserrat"/>
              </a:rPr>
              <a:t>Home Network Speeds vs. Wireless Speeds</a:t>
            </a:r>
          </a:p>
        </p:txBody>
      </p:sp>
      <p:sp>
        <p:nvSpPr>
          <p:cNvPr id="23" name="TextBox 22">
            <a:extLst>
              <a:ext uri="{FF2B5EF4-FFF2-40B4-BE49-F238E27FC236}">
                <a16:creationId xmlns:a16="http://schemas.microsoft.com/office/drawing/2014/main" id="{82C25735-CB59-D464-9B93-A3030A6ACE3B}"/>
              </a:ext>
            </a:extLst>
          </p:cNvPr>
          <p:cNvSpPr txBox="1"/>
          <p:nvPr/>
        </p:nvSpPr>
        <p:spPr>
          <a:xfrm>
            <a:off x="196567" y="2041862"/>
            <a:ext cx="11353281"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742950" lvl="1" indent="-285750">
              <a:buFont typeface="Arial" panose="020B0604020202020204" pitchFamily="34" charset="0"/>
              <a:buChar char="•"/>
            </a:pPr>
            <a:r>
              <a:rPr lang="en-US">
                <a:latin typeface="Montserrat" panose="00000500000000000000" pitchFamily="2" charset="0"/>
              </a:rPr>
              <a:t>Your internet speed over </a:t>
            </a:r>
            <a:r>
              <a:rPr lang="en-US" err="1">
                <a:latin typeface="Montserrat" panose="00000500000000000000" pitchFamily="2" charset="0"/>
              </a:rPr>
              <a:t>WiFi</a:t>
            </a:r>
            <a:r>
              <a:rPr lang="en-US">
                <a:latin typeface="Montserrat" panose="00000500000000000000" pitchFamily="2" charset="0"/>
              </a:rPr>
              <a:t> “wireless speed” will not be identical to the speed you subscribe to, known as your “home network speed.” In reality, the internet speed over </a:t>
            </a:r>
            <a:r>
              <a:rPr lang="en-US" err="1">
                <a:latin typeface="Montserrat" panose="00000500000000000000" pitchFamily="2" charset="0"/>
              </a:rPr>
              <a:t>WiFi</a:t>
            </a:r>
            <a:r>
              <a:rPr lang="en-US">
                <a:latin typeface="Montserrat" panose="00000500000000000000" pitchFamily="2" charset="0"/>
              </a:rPr>
              <a:t> will rarely match the subscribed home network speed, due to the nature of </a:t>
            </a:r>
            <a:r>
              <a:rPr lang="en-US" err="1">
                <a:latin typeface="Montserrat" panose="00000500000000000000" pitchFamily="2" charset="0"/>
              </a:rPr>
              <a:t>WiFi</a:t>
            </a:r>
            <a:r>
              <a:rPr lang="en-US">
                <a:latin typeface="Montserrat" panose="00000500000000000000" pitchFamily="2" charset="0"/>
              </a:rPr>
              <a:t> technology. </a:t>
            </a:r>
          </a:p>
          <a:p>
            <a:pPr marL="742950" lvl="1" indent="-285750">
              <a:buFont typeface="Arial" panose="020B0604020202020204" pitchFamily="34" charset="0"/>
              <a:buChar char="•"/>
            </a:pPr>
            <a:endParaRPr lang="en-US">
              <a:latin typeface="Montserrat" panose="00000500000000000000" pitchFamily="2" charset="0"/>
            </a:endParaRPr>
          </a:p>
          <a:p>
            <a:pPr marL="742950" lvl="1" indent="-285750">
              <a:buFont typeface="Arial" panose="020B0604020202020204" pitchFamily="34" charset="0"/>
              <a:buChar char="•"/>
            </a:pPr>
            <a:r>
              <a:rPr lang="en-US">
                <a:latin typeface="Montserrat" panose="00000500000000000000" pitchFamily="2" charset="0"/>
              </a:rPr>
              <a:t>If you want to determine if you are receiving your subscribed internet speed, you must perform the speed test while the device is hard-wired to your home network. </a:t>
            </a:r>
          </a:p>
          <a:p>
            <a:pPr marL="742950" lvl="1" indent="-285750">
              <a:buFont typeface="Arial" panose="020B0604020202020204" pitchFamily="34" charset="0"/>
              <a:buChar char="•"/>
            </a:pPr>
            <a:endParaRPr lang="en-US">
              <a:latin typeface="Montserrat" panose="00000500000000000000" pitchFamily="2" charset="0"/>
            </a:endParaRPr>
          </a:p>
          <a:p>
            <a:pPr marL="742950" lvl="1" indent="-285750">
              <a:buFont typeface="Arial" panose="020B0604020202020204" pitchFamily="34" charset="0"/>
              <a:buChar char="•"/>
            </a:pPr>
            <a:r>
              <a:rPr lang="en-US">
                <a:latin typeface="Montserrat" panose="00000500000000000000" pitchFamily="2" charset="0"/>
              </a:rPr>
              <a:t>When you are testing your </a:t>
            </a:r>
            <a:r>
              <a:rPr lang="en-US" err="1">
                <a:latin typeface="Montserrat" panose="00000500000000000000" pitchFamily="2" charset="0"/>
              </a:rPr>
              <a:t>WiFi</a:t>
            </a:r>
            <a:r>
              <a:rPr lang="en-US">
                <a:latin typeface="Montserrat" panose="00000500000000000000" pitchFamily="2" charset="0"/>
              </a:rPr>
              <a:t> speeds, you are really testing the MAXIMUM speed that the device running the test can attain, not the maximum that your home network provides.</a:t>
            </a:r>
            <a:endParaRPr lang="en-US">
              <a:latin typeface="Montserrat" panose="00000500000000000000" pitchFamily="2" charset="0"/>
              <a:ea typeface="+mn-lt"/>
              <a:cs typeface="+mn-lt"/>
            </a:endParaRPr>
          </a:p>
        </p:txBody>
      </p:sp>
      <p:pic>
        <p:nvPicPr>
          <p:cNvPr id="24" name="Picture 23">
            <a:extLst>
              <a:ext uri="{FF2B5EF4-FFF2-40B4-BE49-F238E27FC236}">
                <a16:creationId xmlns:a16="http://schemas.microsoft.com/office/drawing/2014/main" id="{2195C0BF-DC51-652F-A71F-77550B8BBAB6}"/>
              </a:ext>
            </a:extLst>
          </p:cNvPr>
          <p:cNvPicPr>
            <a:picLocks noChangeAspect="1"/>
          </p:cNvPicPr>
          <p:nvPr/>
        </p:nvPicPr>
        <p:blipFill>
          <a:blip r:embed="rId3"/>
          <a:stretch>
            <a:fillRect/>
          </a:stretch>
        </p:blipFill>
        <p:spPr>
          <a:xfrm>
            <a:off x="4096022" y="4970339"/>
            <a:ext cx="3556228" cy="1578673"/>
          </a:xfrm>
          <a:prstGeom prst="rect">
            <a:avLst/>
          </a:prstGeom>
        </p:spPr>
      </p:pic>
    </p:spTree>
    <p:extLst>
      <p:ext uri="{BB962C8B-B14F-4D97-AF65-F5344CB8AC3E}">
        <p14:creationId xmlns:p14="http://schemas.microsoft.com/office/powerpoint/2010/main" val="25435882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E89F598-3E1F-8A97-87C2-F691C4A8CADE}"/>
              </a:ext>
            </a:extLst>
          </p:cNvPr>
          <p:cNvSpPr>
            <a:spLocks noGrp="1"/>
          </p:cNvSpPr>
          <p:nvPr>
            <p:ph type="title"/>
          </p:nvPr>
        </p:nvSpPr>
        <p:spPr>
          <a:xfrm>
            <a:off x="449431" y="328780"/>
            <a:ext cx="11673025" cy="1325563"/>
          </a:xfrm>
        </p:spPr>
        <p:txBody>
          <a:bodyPr>
            <a:normAutofit/>
          </a:bodyPr>
          <a:lstStyle/>
          <a:p>
            <a:pPr>
              <a:lnSpc>
                <a:spcPct val="100000"/>
              </a:lnSpc>
            </a:pPr>
            <a:r>
              <a:rPr lang="en-US" sz="3800">
                <a:latin typeface="Montserrat"/>
              </a:rPr>
              <a:t>Understanding Your </a:t>
            </a:r>
            <a:r>
              <a:rPr lang="en-US" sz="3800" err="1">
                <a:latin typeface="Montserrat"/>
              </a:rPr>
              <a:t>WiFi</a:t>
            </a:r>
            <a:r>
              <a:rPr lang="en-US" sz="3800">
                <a:latin typeface="Montserrat"/>
              </a:rPr>
              <a:t> Usage</a:t>
            </a:r>
            <a:endParaRPr lang="en-US"/>
          </a:p>
        </p:txBody>
      </p:sp>
      <p:sp>
        <p:nvSpPr>
          <p:cNvPr id="7" name="Title 1">
            <a:extLst>
              <a:ext uri="{FF2B5EF4-FFF2-40B4-BE49-F238E27FC236}">
                <a16:creationId xmlns:a16="http://schemas.microsoft.com/office/drawing/2014/main" id="{497B999B-EACE-C201-6F01-8585D395783E}"/>
              </a:ext>
            </a:extLst>
          </p:cNvPr>
          <p:cNvSpPr txBox="1">
            <a:spLocks/>
          </p:cNvSpPr>
          <p:nvPr/>
        </p:nvSpPr>
        <p:spPr>
          <a:xfrm>
            <a:off x="547085" y="1443554"/>
            <a:ext cx="11746869" cy="78859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kern="1200" baseline="0">
                <a:solidFill>
                  <a:schemeClr val="accent1"/>
                </a:solidFill>
                <a:latin typeface="Montserrat" pitchFamily="2" charset="77"/>
                <a:ea typeface="+mj-ea"/>
                <a:cs typeface="+mj-cs"/>
              </a:defRPr>
            </a:lvl1pPr>
          </a:lstStyle>
          <a:p>
            <a:pPr>
              <a:lnSpc>
                <a:spcPct val="100000"/>
              </a:lnSpc>
            </a:pPr>
            <a:r>
              <a:rPr lang="en-US" sz="2600">
                <a:solidFill>
                  <a:srgbClr val="004161"/>
                </a:solidFill>
                <a:latin typeface="Montserrat"/>
              </a:rPr>
              <a:t>Many factors contribute to how your devices utilize </a:t>
            </a:r>
            <a:r>
              <a:rPr lang="en-US" sz="2600" err="1">
                <a:solidFill>
                  <a:srgbClr val="004161"/>
                </a:solidFill>
                <a:latin typeface="Montserrat"/>
              </a:rPr>
              <a:t>WiFi</a:t>
            </a:r>
            <a:r>
              <a:rPr lang="en-US" sz="2600">
                <a:solidFill>
                  <a:srgbClr val="004161"/>
                </a:solidFill>
                <a:latin typeface="Montserrat"/>
              </a:rPr>
              <a:t>.</a:t>
            </a:r>
          </a:p>
        </p:txBody>
      </p:sp>
      <p:sp>
        <p:nvSpPr>
          <p:cNvPr id="8" name="TextBox 7">
            <a:extLst>
              <a:ext uri="{FF2B5EF4-FFF2-40B4-BE49-F238E27FC236}">
                <a16:creationId xmlns:a16="http://schemas.microsoft.com/office/drawing/2014/main" id="{741CBD8C-8410-43BC-95FB-4B8DA8E42879}"/>
              </a:ext>
            </a:extLst>
          </p:cNvPr>
          <p:cNvSpPr txBox="1"/>
          <p:nvPr/>
        </p:nvSpPr>
        <p:spPr>
          <a:xfrm>
            <a:off x="125547" y="2156483"/>
            <a:ext cx="11406546"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742950" lvl="1" indent="-285750">
              <a:buFont typeface="Arial" panose="020B0604020202020204" pitchFamily="34" charset="0"/>
              <a:buChar char="•"/>
            </a:pPr>
            <a:r>
              <a:rPr lang="en-US" dirty="0">
                <a:latin typeface="Montserrat"/>
                <a:ea typeface="+mn-lt"/>
                <a:cs typeface="+mn-lt"/>
              </a:rPr>
              <a:t>The Internet speed of any particular device connected to your home network is limited by that device’s capability; it is not a reflection of the speed of your entire</a:t>
            </a:r>
            <a:r>
              <a:rPr lang="en-US" dirty="0">
                <a:latin typeface="Montserrat"/>
                <a:cs typeface="Calibri" panose="020F0502020204030204"/>
              </a:rPr>
              <a:t> </a:t>
            </a:r>
            <a:r>
              <a:rPr lang="en-US" dirty="0">
                <a:latin typeface="Montserrat"/>
                <a:ea typeface="+mn-lt"/>
                <a:cs typeface="+mn-lt"/>
              </a:rPr>
              <a:t>home network. </a:t>
            </a:r>
          </a:p>
          <a:p>
            <a:pPr marL="742950" lvl="1" indent="-285750">
              <a:buFont typeface="Arial" panose="020B0604020202020204" pitchFamily="34" charset="0"/>
              <a:buChar char="•"/>
            </a:pPr>
            <a:endParaRPr lang="en-US" dirty="0">
              <a:latin typeface="Montserrat"/>
              <a:ea typeface="+mn-lt"/>
              <a:cs typeface="+mn-lt"/>
            </a:endParaRPr>
          </a:p>
          <a:p>
            <a:pPr marL="742950" lvl="1" indent="-285750">
              <a:buFont typeface="Arial" panose="020B0604020202020204" pitchFamily="34" charset="0"/>
              <a:buChar char="•"/>
            </a:pPr>
            <a:r>
              <a:rPr lang="en-US" dirty="0">
                <a:latin typeface="Montserrat"/>
                <a:ea typeface="+mn-lt"/>
                <a:cs typeface="+mn-lt"/>
              </a:rPr>
              <a:t>For example, customers with 1 Gig service will only achieve this speed</a:t>
            </a:r>
            <a:r>
              <a:rPr lang="en-US" i="1" dirty="0">
                <a:latin typeface="Montserrat"/>
                <a:ea typeface="+mn-lt"/>
                <a:cs typeface="+mn-lt"/>
              </a:rPr>
              <a:t> if the device they are using </a:t>
            </a:r>
            <a:r>
              <a:rPr lang="en-US" dirty="0">
                <a:latin typeface="Montserrat"/>
                <a:ea typeface="+mn-lt"/>
                <a:cs typeface="+mn-lt"/>
              </a:rPr>
              <a:t>can attain those speeds. In fact, most devices in one’s home – laptops, smartphones, smart TV’s, gaming consoles, etc. are designed to only use a portion of that speed. And… that’s OK! </a:t>
            </a:r>
          </a:p>
          <a:p>
            <a:pPr marL="742950" lvl="1" indent="-285750">
              <a:buFont typeface="Arial" panose="020B0604020202020204" pitchFamily="34" charset="0"/>
              <a:buChar char="•"/>
            </a:pPr>
            <a:endParaRPr lang="en-US" dirty="0">
              <a:latin typeface="Montserrat"/>
              <a:ea typeface="+mn-lt"/>
              <a:cs typeface="+mn-lt"/>
            </a:endParaRPr>
          </a:p>
          <a:p>
            <a:pPr marL="742950" lvl="1" indent="-285750">
              <a:buFont typeface="Arial" panose="020B0604020202020204" pitchFamily="34" charset="0"/>
              <a:buChar char="•"/>
            </a:pPr>
            <a:r>
              <a:rPr lang="en-US" dirty="0">
                <a:latin typeface="Montserrat"/>
                <a:ea typeface="+mn-lt"/>
                <a:cs typeface="+mn-lt"/>
              </a:rPr>
              <a:t>Internet speed is about the power that internet speed has to drive optimal performance on the multiple devices that are connected to your home network. </a:t>
            </a:r>
            <a:endParaRPr lang="en-US" dirty="0">
              <a:latin typeface="Montserrat"/>
              <a:ea typeface="Calibri"/>
              <a:cs typeface="Calibri"/>
            </a:endParaRPr>
          </a:p>
        </p:txBody>
      </p:sp>
      <p:sp>
        <p:nvSpPr>
          <p:cNvPr id="9" name="TextBox 8">
            <a:extLst>
              <a:ext uri="{FF2B5EF4-FFF2-40B4-BE49-F238E27FC236}">
                <a16:creationId xmlns:a16="http://schemas.microsoft.com/office/drawing/2014/main" id="{549FB0DD-6D45-5D5A-C70D-A196BDCCAFE8}"/>
              </a:ext>
            </a:extLst>
          </p:cNvPr>
          <p:cNvSpPr txBox="1"/>
          <p:nvPr/>
        </p:nvSpPr>
        <p:spPr>
          <a:xfrm>
            <a:off x="865201" y="5013113"/>
            <a:ext cx="8067584" cy="1015663"/>
          </a:xfrm>
          <a:prstGeom prst="rect">
            <a:avLst/>
          </a:prstGeom>
          <a:noFill/>
        </p:spPr>
        <p:txBody>
          <a:bodyPr wrap="square">
            <a:spAutoFit/>
          </a:bodyPr>
          <a:lstStyle/>
          <a:p>
            <a:r>
              <a:rPr lang="en-US" sz="2000" dirty="0">
                <a:latin typeface="Montserrat" panose="00000500000000000000" pitchFamily="2" charset="0"/>
              </a:rPr>
              <a:t>Similar to power and generators, the higher the home network speed, the more the connected devices within the home are optimally supported.</a:t>
            </a:r>
          </a:p>
        </p:txBody>
      </p:sp>
      <p:pic>
        <p:nvPicPr>
          <p:cNvPr id="10" name="Picture 9">
            <a:extLst>
              <a:ext uri="{FF2B5EF4-FFF2-40B4-BE49-F238E27FC236}">
                <a16:creationId xmlns:a16="http://schemas.microsoft.com/office/drawing/2014/main" id="{DC4045BE-3033-F3BF-AAB0-E7028789B693}"/>
              </a:ext>
            </a:extLst>
          </p:cNvPr>
          <p:cNvPicPr>
            <a:picLocks noChangeAspect="1"/>
          </p:cNvPicPr>
          <p:nvPr/>
        </p:nvPicPr>
        <p:blipFill>
          <a:blip r:embed="rId4"/>
          <a:stretch>
            <a:fillRect/>
          </a:stretch>
        </p:blipFill>
        <p:spPr>
          <a:xfrm>
            <a:off x="8708994" y="4780706"/>
            <a:ext cx="2472898" cy="1748514"/>
          </a:xfrm>
          <a:prstGeom prst="rect">
            <a:avLst/>
          </a:prstGeom>
        </p:spPr>
      </p:pic>
    </p:spTree>
    <p:extLst>
      <p:ext uri="{BB962C8B-B14F-4D97-AF65-F5344CB8AC3E}">
        <p14:creationId xmlns:p14="http://schemas.microsoft.com/office/powerpoint/2010/main" val="2316412090"/>
      </p:ext>
    </p:extLst>
  </p:cSld>
  <p:clrMapOvr>
    <a:masterClrMapping/>
  </p:clrMapOvr>
  <p:extLst>
    <p:ext uri="{6950BFC3-D8DA-4A85-94F7-54DA5524770B}">
      <p188:commentRel xmlns:p188="http://schemas.microsoft.com/office/powerpoint/2018/8/main" r:id="rId3"/>
    </p:ext>
  </p:extLst>
</p:sld>
</file>

<file path=ppt/slides/slide36.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1C41CA-891B-1E91-353D-7D58E25738F6}"/>
              </a:ext>
            </a:extLst>
          </p:cNvPr>
          <p:cNvSpPr txBox="1"/>
          <p:nvPr/>
        </p:nvSpPr>
        <p:spPr>
          <a:xfrm>
            <a:off x="186514" y="265653"/>
            <a:ext cx="11102770"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800" b="1">
                <a:solidFill>
                  <a:srgbClr val="007DB2"/>
                </a:solidFill>
                <a:latin typeface="Montserrat"/>
                <a:ea typeface="+mn-lt"/>
                <a:cs typeface="+mn-lt"/>
              </a:rPr>
              <a:t>OUR MOST POPULAR ADD-ON PACKAGE!</a:t>
            </a:r>
            <a:endParaRPr lang="en-US" sz="3800">
              <a:latin typeface="Montserrat"/>
            </a:endParaRPr>
          </a:p>
        </p:txBody>
      </p:sp>
      <p:sp>
        <p:nvSpPr>
          <p:cNvPr id="3" name="TextBox 2">
            <a:extLst>
              <a:ext uri="{FF2B5EF4-FFF2-40B4-BE49-F238E27FC236}">
                <a16:creationId xmlns:a16="http://schemas.microsoft.com/office/drawing/2014/main" id="{36D45F9A-21C4-CCBB-6AE4-862B34F55FF4}"/>
              </a:ext>
            </a:extLst>
          </p:cNvPr>
          <p:cNvSpPr txBox="1"/>
          <p:nvPr/>
        </p:nvSpPr>
        <p:spPr>
          <a:xfrm>
            <a:off x="483931" y="995516"/>
            <a:ext cx="9955161" cy="13542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i="1">
                <a:solidFill>
                  <a:srgbClr val="004161"/>
                </a:solidFill>
                <a:latin typeface="Montserrat"/>
                <a:ea typeface="+mn-lt"/>
                <a:cs typeface="+mn-lt"/>
              </a:rPr>
              <a:t>TOTAL CONNECT PACK </a:t>
            </a:r>
            <a:endParaRPr lang="en-US" b="1" i="1">
              <a:solidFill>
                <a:srgbClr val="004161"/>
              </a:solidFill>
              <a:latin typeface="Montserrat"/>
            </a:endParaRPr>
          </a:p>
          <a:p>
            <a:r>
              <a:rPr lang="en-US" sz="3200" b="1">
                <a:solidFill>
                  <a:srgbClr val="004161"/>
                </a:solidFill>
                <a:latin typeface="Montserrat"/>
                <a:ea typeface="+mn-lt"/>
                <a:cs typeface="+mn-lt"/>
              </a:rPr>
              <a:t>  just $19.99</a:t>
            </a:r>
            <a:r>
              <a:rPr lang="en-US" sz="2000" b="1">
                <a:solidFill>
                  <a:srgbClr val="004161"/>
                </a:solidFill>
                <a:latin typeface="Montserrat"/>
                <a:ea typeface="+mn-lt"/>
                <a:cs typeface="+mn-lt"/>
              </a:rPr>
              <a:t>/</a:t>
            </a:r>
            <a:r>
              <a:rPr lang="en-US" sz="2000" b="1" err="1">
                <a:solidFill>
                  <a:srgbClr val="004161"/>
                </a:solidFill>
                <a:latin typeface="Montserrat"/>
                <a:ea typeface="+mn-lt"/>
                <a:cs typeface="+mn-lt"/>
              </a:rPr>
              <a:t>mo</a:t>
            </a:r>
            <a:endParaRPr lang="en-US" b="1" err="1">
              <a:solidFill>
                <a:srgbClr val="004161"/>
              </a:solidFill>
              <a:latin typeface="Montserrat"/>
            </a:endParaRPr>
          </a:p>
          <a:p>
            <a:pPr algn="l"/>
            <a:endParaRPr lang="en-US">
              <a:cs typeface="Calibri"/>
            </a:endParaRPr>
          </a:p>
        </p:txBody>
      </p:sp>
      <p:pic>
        <p:nvPicPr>
          <p:cNvPr id="4" name="Picture 4" descr="A blue and green lines in a circle&#10;&#10;Description automatically generated">
            <a:extLst>
              <a:ext uri="{FF2B5EF4-FFF2-40B4-BE49-F238E27FC236}">
                <a16:creationId xmlns:a16="http://schemas.microsoft.com/office/drawing/2014/main" id="{54C3CC50-1FA3-6F85-9288-F2E61EAA3225}"/>
              </a:ext>
            </a:extLst>
          </p:cNvPr>
          <p:cNvPicPr>
            <a:picLocks noChangeAspect="1"/>
          </p:cNvPicPr>
          <p:nvPr/>
        </p:nvPicPr>
        <p:blipFill>
          <a:blip r:embed="rId3"/>
          <a:stretch>
            <a:fillRect/>
          </a:stretch>
        </p:blipFill>
        <p:spPr>
          <a:xfrm>
            <a:off x="8585886" y="993083"/>
            <a:ext cx="3175686" cy="3368427"/>
          </a:xfrm>
          <a:prstGeom prst="rect">
            <a:avLst/>
          </a:prstGeom>
        </p:spPr>
      </p:pic>
      <p:sp>
        <p:nvSpPr>
          <p:cNvPr id="5" name="TextBox 4">
            <a:extLst>
              <a:ext uri="{FF2B5EF4-FFF2-40B4-BE49-F238E27FC236}">
                <a16:creationId xmlns:a16="http://schemas.microsoft.com/office/drawing/2014/main" id="{32F469DA-6F80-2A9C-205D-303B0CA354C9}"/>
              </a:ext>
            </a:extLst>
          </p:cNvPr>
          <p:cNvSpPr txBox="1"/>
          <p:nvPr/>
        </p:nvSpPr>
        <p:spPr>
          <a:xfrm>
            <a:off x="409316" y="1996388"/>
            <a:ext cx="8242985" cy="36933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nSpc>
                <a:spcPct val="150000"/>
              </a:lnSpc>
              <a:buFont typeface="Arial"/>
              <a:buChar char="•"/>
            </a:pPr>
            <a:r>
              <a:rPr lang="en-US">
                <a:latin typeface="Montserrat"/>
                <a:ea typeface="+mn-lt"/>
                <a:cs typeface="+mn-lt"/>
              </a:rPr>
              <a:t>Up to 1  Gig Speed Upgrade</a:t>
            </a:r>
            <a:endParaRPr lang="en-US">
              <a:latin typeface="Montserrat"/>
            </a:endParaRPr>
          </a:p>
          <a:p>
            <a:pPr marL="285750" indent="-285750">
              <a:lnSpc>
                <a:spcPct val="150000"/>
              </a:lnSpc>
              <a:buFont typeface="Arial"/>
              <a:buChar char="•"/>
            </a:pPr>
            <a:r>
              <a:rPr lang="en-US">
                <a:latin typeface="Montserrat"/>
                <a:ea typeface="+mn-lt"/>
                <a:cs typeface="+mn-lt"/>
              </a:rPr>
              <a:t>Managed </a:t>
            </a:r>
            <a:r>
              <a:rPr lang="en-US" err="1">
                <a:latin typeface="Montserrat"/>
                <a:ea typeface="+mn-lt"/>
                <a:cs typeface="+mn-lt"/>
              </a:rPr>
              <a:t>WiFi</a:t>
            </a:r>
            <a:r>
              <a:rPr lang="en-US">
                <a:latin typeface="Montserrat"/>
                <a:ea typeface="+mn-lt"/>
                <a:cs typeface="+mn-lt"/>
              </a:rPr>
              <a:t> pods where needed for full in-home </a:t>
            </a:r>
            <a:r>
              <a:rPr lang="en-US" err="1">
                <a:latin typeface="Montserrat"/>
                <a:ea typeface="+mn-lt"/>
                <a:cs typeface="+mn-lt"/>
              </a:rPr>
              <a:t>WiFi</a:t>
            </a:r>
            <a:r>
              <a:rPr lang="en-US">
                <a:latin typeface="Montserrat"/>
                <a:ea typeface="+mn-lt"/>
                <a:cs typeface="+mn-lt"/>
              </a:rPr>
              <a:t> coverage</a:t>
            </a:r>
            <a:endParaRPr lang="en-US">
              <a:latin typeface="Montserrat"/>
            </a:endParaRPr>
          </a:p>
          <a:p>
            <a:pPr marL="285750" indent="-285750">
              <a:lnSpc>
                <a:spcPct val="150000"/>
              </a:lnSpc>
              <a:buFont typeface="Arial"/>
              <a:buChar char="•"/>
            </a:pPr>
            <a:r>
              <a:rPr lang="en-US">
                <a:latin typeface="Montserrat"/>
                <a:ea typeface="+mn-lt"/>
                <a:cs typeface="+mn-lt"/>
              </a:rPr>
              <a:t>Additional Set-Top boxes for all your TV’s</a:t>
            </a:r>
            <a:endParaRPr lang="en-US">
              <a:latin typeface="Montserrat"/>
            </a:endParaRPr>
          </a:p>
          <a:p>
            <a:pPr marL="285750" indent="-285750">
              <a:lnSpc>
                <a:spcPct val="150000"/>
              </a:lnSpc>
              <a:buFont typeface="Arial"/>
              <a:buChar char="•"/>
            </a:pPr>
            <a:r>
              <a:rPr lang="en-US">
                <a:latin typeface="Montserrat"/>
                <a:ea typeface="+mn-lt"/>
                <a:cs typeface="+mn-lt"/>
              </a:rPr>
              <a:t>500 DVR Hours</a:t>
            </a:r>
            <a:endParaRPr lang="en-US">
              <a:latin typeface="Montserrat"/>
            </a:endParaRPr>
          </a:p>
          <a:p>
            <a:pPr marL="285750" indent="-285750">
              <a:lnSpc>
                <a:spcPct val="150000"/>
              </a:lnSpc>
              <a:buFont typeface="Arial"/>
              <a:buChar char="•"/>
            </a:pPr>
            <a:r>
              <a:rPr lang="en-US">
                <a:latin typeface="Montserrat"/>
                <a:ea typeface="+mn-lt"/>
                <a:cs typeface="+mn-lt"/>
              </a:rPr>
              <a:t>Unlimited In-home Concurrent Streams </a:t>
            </a:r>
            <a:endParaRPr lang="en-US">
              <a:latin typeface="Montserrat"/>
            </a:endParaRPr>
          </a:p>
          <a:p>
            <a:pPr marL="285750" indent="-285750">
              <a:lnSpc>
                <a:spcPct val="150000"/>
              </a:lnSpc>
              <a:buFont typeface="Arial"/>
              <a:buChar char="•"/>
            </a:pPr>
            <a:r>
              <a:rPr lang="en-US">
                <a:latin typeface="Montserrat"/>
                <a:ea typeface="+mn-lt"/>
                <a:cs typeface="+mn-lt"/>
              </a:rPr>
              <a:t>Home Protection Plan</a:t>
            </a:r>
            <a:endParaRPr lang="en-US">
              <a:latin typeface="Montserrat"/>
            </a:endParaRPr>
          </a:p>
          <a:p>
            <a:pPr marL="285750" indent="-285750">
              <a:lnSpc>
                <a:spcPct val="150000"/>
              </a:lnSpc>
              <a:buFont typeface="Arial"/>
              <a:buChar char="•"/>
            </a:pPr>
            <a:r>
              <a:rPr lang="en-US">
                <a:latin typeface="Montserrat"/>
                <a:ea typeface="+mn-lt"/>
                <a:cs typeface="+mn-lt"/>
              </a:rPr>
              <a:t>All home visits are completely covered</a:t>
            </a:r>
            <a:endParaRPr lang="en-US">
              <a:latin typeface="Montserrat"/>
            </a:endParaRPr>
          </a:p>
          <a:p>
            <a:pPr marL="285750" indent="-285750">
              <a:lnSpc>
                <a:spcPct val="150000"/>
              </a:lnSpc>
              <a:buFont typeface="Arial"/>
              <a:buChar char="•"/>
            </a:pPr>
            <a:r>
              <a:rPr lang="en-US">
                <a:latin typeface="Montserrat"/>
                <a:ea typeface="+mn-lt"/>
                <a:cs typeface="+mn-lt"/>
              </a:rPr>
              <a:t>Plus 2 free months of HBO with access to the Max app*!</a:t>
            </a:r>
            <a:endParaRPr lang="en-US">
              <a:latin typeface="Montserrat"/>
            </a:endParaRPr>
          </a:p>
          <a:p>
            <a:pPr algn="l"/>
            <a:endParaRPr lang="en-US">
              <a:cs typeface="Calibri"/>
            </a:endParaRPr>
          </a:p>
        </p:txBody>
      </p:sp>
      <p:sp>
        <p:nvSpPr>
          <p:cNvPr id="6" name="TextBox 5">
            <a:extLst>
              <a:ext uri="{FF2B5EF4-FFF2-40B4-BE49-F238E27FC236}">
                <a16:creationId xmlns:a16="http://schemas.microsoft.com/office/drawing/2014/main" id="{C48F7630-B618-A16B-F644-32C9F3D0C92C}"/>
              </a:ext>
            </a:extLst>
          </p:cNvPr>
          <p:cNvSpPr txBox="1"/>
          <p:nvPr/>
        </p:nvSpPr>
        <p:spPr>
          <a:xfrm>
            <a:off x="8975381" y="1901138"/>
            <a:ext cx="2694030"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600" b="1">
                <a:solidFill>
                  <a:srgbClr val="014D63"/>
                </a:solidFill>
                <a:latin typeface="Montserrat"/>
                <a:ea typeface="+mn-lt"/>
                <a:cs typeface="+mn-lt"/>
              </a:rPr>
              <a:t>Savings of more than</a:t>
            </a:r>
            <a:endParaRPr lang="en-US" sz="2600" b="1">
              <a:solidFill>
                <a:srgbClr val="014D63"/>
              </a:solidFill>
              <a:latin typeface="Montserrat"/>
            </a:endParaRPr>
          </a:p>
          <a:p>
            <a:pPr algn="ctr"/>
            <a:r>
              <a:rPr lang="en-US" sz="2600" b="1">
                <a:solidFill>
                  <a:srgbClr val="014D63"/>
                </a:solidFill>
                <a:latin typeface="Montserrat"/>
                <a:ea typeface="+mn-lt"/>
                <a:cs typeface="+mn-lt"/>
              </a:rPr>
              <a:t>$600 a year!</a:t>
            </a:r>
            <a:endParaRPr lang="en-US" sz="2600">
              <a:solidFill>
                <a:srgbClr val="014D63"/>
              </a:solidFill>
              <a:latin typeface="Montserrat"/>
            </a:endParaRPr>
          </a:p>
          <a:p>
            <a:pPr algn="l"/>
            <a:endParaRPr lang="en-US">
              <a:solidFill>
                <a:srgbClr val="014D63"/>
              </a:solidFill>
              <a:latin typeface="Montserrat"/>
              <a:cs typeface="Calibri"/>
            </a:endParaRPr>
          </a:p>
        </p:txBody>
      </p:sp>
      <p:pic>
        <p:nvPicPr>
          <p:cNvPr id="8" name="Picture 6" descr="Logo&#10;&#10;Description automatically generated">
            <a:extLst>
              <a:ext uri="{FF2B5EF4-FFF2-40B4-BE49-F238E27FC236}">
                <a16:creationId xmlns:a16="http://schemas.microsoft.com/office/drawing/2014/main" id="{ECF9779C-0C2A-68AA-9AB0-008AE37196ED}"/>
              </a:ext>
            </a:extLst>
          </p:cNvPr>
          <p:cNvPicPr>
            <a:picLocks noChangeAspect="1"/>
          </p:cNvPicPr>
          <p:nvPr/>
        </p:nvPicPr>
        <p:blipFill>
          <a:blip r:embed="rId4"/>
          <a:stretch>
            <a:fillRect/>
          </a:stretch>
        </p:blipFill>
        <p:spPr>
          <a:xfrm>
            <a:off x="8972974" y="829719"/>
            <a:ext cx="2743200" cy="591015"/>
          </a:xfrm>
          <a:prstGeom prst="rect">
            <a:avLst/>
          </a:prstGeom>
        </p:spPr>
      </p:pic>
      <p:sp>
        <p:nvSpPr>
          <p:cNvPr id="10" name="object 7">
            <a:extLst>
              <a:ext uri="{FF2B5EF4-FFF2-40B4-BE49-F238E27FC236}">
                <a16:creationId xmlns:a16="http://schemas.microsoft.com/office/drawing/2014/main" id="{A7524BB8-C52F-F788-6043-4EEAF8759572}"/>
              </a:ext>
            </a:extLst>
          </p:cNvPr>
          <p:cNvSpPr txBox="1"/>
          <p:nvPr/>
        </p:nvSpPr>
        <p:spPr>
          <a:xfrm>
            <a:off x="69709" y="6006318"/>
            <a:ext cx="11874658" cy="671338"/>
          </a:xfrm>
          <a:prstGeom prst="rect">
            <a:avLst/>
          </a:prstGeom>
        </p:spPr>
        <p:txBody>
          <a:bodyPr vert="horz" wrap="square" lIns="0" tIns="12065" rIns="0" bIns="0" rtlCol="0" anchor="t">
            <a:spAutoFit/>
          </a:bodyPr>
          <a:lstStyle/>
          <a:p>
            <a:pPr marL="12700" algn="ctr">
              <a:spcBef>
                <a:spcPts val="95"/>
              </a:spcBef>
            </a:pPr>
            <a:r>
              <a:rPr sz="1400" b="1" spc="-55">
                <a:solidFill>
                  <a:srgbClr val="014D63"/>
                </a:solidFill>
                <a:latin typeface="Montserrat"/>
                <a:cs typeface="Arial"/>
              </a:rPr>
              <a:t>NOTE</a:t>
            </a:r>
            <a:r>
              <a:rPr sz="1400" spc="-55">
                <a:solidFill>
                  <a:srgbClr val="014D63"/>
                </a:solidFill>
                <a:latin typeface="Montserrat"/>
                <a:cs typeface="Arial"/>
              </a:rPr>
              <a:t>:</a:t>
            </a:r>
            <a:r>
              <a:rPr lang="en-US" sz="1400" spc="-165">
                <a:solidFill>
                  <a:srgbClr val="014D63"/>
                </a:solidFill>
                <a:latin typeface="Montserrat"/>
                <a:cs typeface="Arial"/>
              </a:rPr>
              <a:t>  </a:t>
            </a:r>
            <a:r>
              <a:rPr sz="1400" spc="-25">
                <a:solidFill>
                  <a:srgbClr val="014D63"/>
                </a:solidFill>
                <a:latin typeface="Montserrat"/>
                <a:cs typeface="Arial"/>
              </a:rPr>
              <a:t>Package</a:t>
            </a:r>
            <a:r>
              <a:rPr sz="1400" spc="-60">
                <a:solidFill>
                  <a:srgbClr val="014D63"/>
                </a:solidFill>
                <a:latin typeface="Montserrat"/>
                <a:cs typeface="Arial"/>
              </a:rPr>
              <a:t> </a:t>
            </a:r>
            <a:r>
              <a:rPr sz="1400" spc="-10">
                <a:solidFill>
                  <a:srgbClr val="014D63"/>
                </a:solidFill>
                <a:latin typeface="Montserrat"/>
                <a:cs typeface="Arial"/>
              </a:rPr>
              <a:t>components</a:t>
            </a:r>
            <a:r>
              <a:rPr sz="1400" spc="-80">
                <a:solidFill>
                  <a:srgbClr val="014D63"/>
                </a:solidFill>
                <a:latin typeface="Montserrat"/>
                <a:cs typeface="Arial"/>
              </a:rPr>
              <a:t> </a:t>
            </a:r>
            <a:r>
              <a:rPr sz="1400" spc="-25">
                <a:solidFill>
                  <a:srgbClr val="014D63"/>
                </a:solidFill>
                <a:latin typeface="Montserrat"/>
                <a:cs typeface="Arial"/>
              </a:rPr>
              <a:t>may</a:t>
            </a:r>
            <a:r>
              <a:rPr sz="1400" spc="-90">
                <a:solidFill>
                  <a:srgbClr val="014D63"/>
                </a:solidFill>
                <a:latin typeface="Montserrat"/>
                <a:cs typeface="Arial"/>
              </a:rPr>
              <a:t> </a:t>
            </a:r>
            <a:r>
              <a:rPr sz="1400" spc="-10">
                <a:solidFill>
                  <a:srgbClr val="014D63"/>
                </a:solidFill>
                <a:latin typeface="Montserrat"/>
                <a:cs typeface="Arial"/>
              </a:rPr>
              <a:t>vary</a:t>
            </a:r>
            <a:r>
              <a:rPr sz="1400" spc="-85">
                <a:solidFill>
                  <a:srgbClr val="014D63"/>
                </a:solidFill>
                <a:latin typeface="Montserrat"/>
                <a:cs typeface="Arial"/>
              </a:rPr>
              <a:t> </a:t>
            </a:r>
            <a:r>
              <a:rPr sz="1400" spc="-10">
                <a:solidFill>
                  <a:srgbClr val="014D63"/>
                </a:solidFill>
                <a:latin typeface="Montserrat"/>
                <a:cs typeface="Arial"/>
              </a:rPr>
              <a:t>based</a:t>
            </a:r>
            <a:r>
              <a:rPr sz="1400" spc="-35">
                <a:solidFill>
                  <a:srgbClr val="014D63"/>
                </a:solidFill>
                <a:latin typeface="Montserrat"/>
                <a:cs typeface="Arial"/>
              </a:rPr>
              <a:t> </a:t>
            </a:r>
            <a:r>
              <a:rPr sz="1400">
                <a:solidFill>
                  <a:srgbClr val="014D63"/>
                </a:solidFill>
                <a:latin typeface="Montserrat"/>
                <a:cs typeface="Arial"/>
              </a:rPr>
              <a:t>on</a:t>
            </a:r>
            <a:r>
              <a:rPr sz="1400" spc="-45">
                <a:solidFill>
                  <a:srgbClr val="014D63"/>
                </a:solidFill>
                <a:latin typeface="Montserrat"/>
                <a:cs typeface="Arial"/>
              </a:rPr>
              <a:t> </a:t>
            </a:r>
            <a:r>
              <a:rPr sz="1400">
                <a:solidFill>
                  <a:srgbClr val="014D63"/>
                </a:solidFill>
                <a:latin typeface="Montserrat"/>
                <a:cs typeface="Arial"/>
              </a:rPr>
              <a:t>what</a:t>
            </a:r>
            <a:r>
              <a:rPr sz="1400" spc="-55">
                <a:solidFill>
                  <a:srgbClr val="014D63"/>
                </a:solidFill>
                <a:latin typeface="Montserrat"/>
                <a:cs typeface="Arial"/>
              </a:rPr>
              <a:t> </a:t>
            </a:r>
            <a:r>
              <a:rPr sz="1400">
                <a:solidFill>
                  <a:srgbClr val="014D63"/>
                </a:solidFill>
                <a:latin typeface="Montserrat"/>
                <a:cs typeface="Arial"/>
              </a:rPr>
              <a:t>is</a:t>
            </a:r>
            <a:r>
              <a:rPr sz="1400" spc="-95">
                <a:solidFill>
                  <a:srgbClr val="014D63"/>
                </a:solidFill>
                <a:latin typeface="Montserrat"/>
                <a:cs typeface="Arial"/>
              </a:rPr>
              <a:t> </a:t>
            </a:r>
            <a:r>
              <a:rPr sz="1400">
                <a:solidFill>
                  <a:srgbClr val="014D63"/>
                </a:solidFill>
                <a:latin typeface="Montserrat"/>
                <a:cs typeface="Arial"/>
              </a:rPr>
              <a:t>included</a:t>
            </a:r>
            <a:r>
              <a:rPr sz="1400" spc="-20">
                <a:solidFill>
                  <a:srgbClr val="014D63"/>
                </a:solidFill>
                <a:latin typeface="Montserrat"/>
                <a:cs typeface="Arial"/>
              </a:rPr>
              <a:t> </a:t>
            </a:r>
            <a:r>
              <a:rPr sz="1400">
                <a:solidFill>
                  <a:srgbClr val="014D63"/>
                </a:solidFill>
                <a:latin typeface="Montserrat"/>
                <a:cs typeface="Arial"/>
              </a:rPr>
              <a:t>in</a:t>
            </a:r>
            <a:r>
              <a:rPr sz="1400" spc="-60">
                <a:solidFill>
                  <a:srgbClr val="014D63"/>
                </a:solidFill>
                <a:latin typeface="Montserrat"/>
                <a:cs typeface="Arial"/>
              </a:rPr>
              <a:t> </a:t>
            </a:r>
            <a:r>
              <a:rPr sz="1400">
                <a:solidFill>
                  <a:srgbClr val="014D63"/>
                </a:solidFill>
                <a:latin typeface="Montserrat"/>
                <a:cs typeface="Arial"/>
              </a:rPr>
              <a:t>your</a:t>
            </a:r>
            <a:r>
              <a:rPr sz="1400" spc="-55">
                <a:solidFill>
                  <a:srgbClr val="014D63"/>
                </a:solidFill>
                <a:latin typeface="Montserrat"/>
                <a:cs typeface="Arial"/>
              </a:rPr>
              <a:t> </a:t>
            </a:r>
            <a:r>
              <a:rPr sz="1400" spc="-20">
                <a:solidFill>
                  <a:srgbClr val="014D63"/>
                </a:solidFill>
                <a:latin typeface="Montserrat"/>
                <a:cs typeface="Arial"/>
              </a:rPr>
              <a:t>community’s</a:t>
            </a:r>
            <a:r>
              <a:rPr lang="en-US" sz="1400" spc="-20">
                <a:solidFill>
                  <a:srgbClr val="014D63"/>
                </a:solidFill>
                <a:latin typeface="Montserrat"/>
                <a:cs typeface="Arial"/>
              </a:rPr>
              <a:t> </a:t>
            </a:r>
            <a:r>
              <a:rPr sz="1400" spc="-10">
                <a:solidFill>
                  <a:srgbClr val="014D63"/>
                </a:solidFill>
                <a:latin typeface="Montserrat"/>
                <a:cs typeface="Arial"/>
              </a:rPr>
              <a:t>agreement.</a:t>
            </a:r>
            <a:r>
              <a:rPr lang="en-US" sz="1400" spc="-10">
                <a:solidFill>
                  <a:srgbClr val="014D63"/>
                </a:solidFill>
                <a:latin typeface="Montserrat"/>
                <a:cs typeface="Arial"/>
              </a:rPr>
              <a:t>  *</a:t>
            </a:r>
            <a:r>
              <a:rPr lang="en-US" sz="1400">
                <a:solidFill>
                  <a:srgbClr val="014D63"/>
                </a:solidFill>
                <a:effectLst/>
                <a:latin typeface="Montserrat"/>
                <a:ea typeface="Calibri" panose="020F0502020204030204" pitchFamily="34" charset="0"/>
              </a:rPr>
              <a:t>After 60 days the current rate for HBO will be applied unless </a:t>
            </a:r>
            <a:r>
              <a:rPr lang="en-US" sz="1400">
                <a:solidFill>
                  <a:srgbClr val="014D63"/>
                </a:solidFill>
                <a:latin typeface="Montserrat"/>
                <a:ea typeface="Calibri" panose="020F0502020204030204" pitchFamily="34" charset="0"/>
              </a:rPr>
              <a:t>canceled</a:t>
            </a:r>
            <a:r>
              <a:rPr lang="en-US" sz="1400">
                <a:solidFill>
                  <a:srgbClr val="014D63"/>
                </a:solidFill>
                <a:effectLst/>
                <a:latin typeface="Montserrat"/>
                <a:ea typeface="Calibri" panose="020F0502020204030204" pitchFamily="34" charset="0"/>
              </a:rPr>
              <a:t> by </a:t>
            </a:r>
            <a:r>
              <a:rPr lang="en-US" sz="1400">
                <a:solidFill>
                  <a:srgbClr val="014D63"/>
                </a:solidFill>
                <a:latin typeface="Montserrat"/>
                <a:ea typeface="Calibri" panose="020F0502020204030204" pitchFamily="34" charset="0"/>
              </a:rPr>
              <a:t>the </a:t>
            </a:r>
            <a:r>
              <a:rPr lang="en-US" sz="1400">
                <a:solidFill>
                  <a:srgbClr val="014D63"/>
                </a:solidFill>
                <a:effectLst/>
                <a:latin typeface="Montserrat"/>
                <a:ea typeface="Calibri" panose="020F0502020204030204" pitchFamily="34" charset="0"/>
              </a:rPr>
              <a:t>customer prior to</a:t>
            </a:r>
            <a:r>
              <a:rPr lang="en-US" sz="1400">
                <a:solidFill>
                  <a:srgbClr val="014D63"/>
                </a:solidFill>
                <a:latin typeface="Montserrat"/>
                <a:ea typeface="Calibri" panose="020F0502020204030204" pitchFamily="34" charset="0"/>
              </a:rPr>
              <a:t> the</a:t>
            </a:r>
            <a:r>
              <a:rPr lang="en-US" sz="1400">
                <a:solidFill>
                  <a:srgbClr val="014D63"/>
                </a:solidFill>
                <a:effectLst/>
                <a:latin typeface="Montserrat"/>
                <a:ea typeface="Calibri" panose="020F0502020204030204" pitchFamily="34" charset="0"/>
              </a:rPr>
              <a:t> end of </a:t>
            </a:r>
            <a:r>
              <a:rPr lang="en-US" sz="1400">
                <a:solidFill>
                  <a:srgbClr val="014D63"/>
                </a:solidFill>
                <a:latin typeface="Montserrat"/>
                <a:ea typeface="Calibri" panose="020F0502020204030204" pitchFamily="34" charset="0"/>
              </a:rPr>
              <a:t>the </a:t>
            </a:r>
            <a:r>
              <a:rPr lang="en-US" sz="1400">
                <a:solidFill>
                  <a:srgbClr val="014D63"/>
                </a:solidFill>
                <a:effectLst/>
                <a:latin typeface="Montserrat"/>
                <a:ea typeface="Calibri" panose="020F0502020204030204" pitchFamily="34" charset="0"/>
              </a:rPr>
              <a:t>complimentary 60-day period</a:t>
            </a:r>
            <a:r>
              <a:rPr lang="en-US" sz="1400" i="1">
                <a:solidFill>
                  <a:srgbClr val="014D63"/>
                </a:solidFill>
                <a:effectLst/>
                <a:latin typeface="Montserrat"/>
                <a:ea typeface="Calibri" panose="020F0502020204030204" pitchFamily="34" charset="0"/>
              </a:rPr>
              <a:t>.</a:t>
            </a:r>
            <a:r>
              <a:rPr lang="en-US" sz="1400" i="1">
                <a:solidFill>
                  <a:srgbClr val="014D63"/>
                </a:solidFill>
                <a:latin typeface="Montserrat"/>
                <a:ea typeface="Calibri" panose="020F0502020204030204" pitchFamily="34" charset="0"/>
              </a:rPr>
              <a:t> </a:t>
            </a:r>
            <a:r>
              <a:rPr lang="en-US" sz="1400" b="0" i="0" u="none" strike="noStrike" baseline="0">
                <a:solidFill>
                  <a:srgbClr val="014D63"/>
                </a:solidFill>
                <a:latin typeface="Montserrat"/>
              </a:rPr>
              <a:t>Pricing </a:t>
            </a:r>
            <a:r>
              <a:rPr lang="en-US" sz="1400">
                <a:solidFill>
                  <a:srgbClr val="014D63"/>
                </a:solidFill>
                <a:latin typeface="Montserrat"/>
              </a:rPr>
              <a:t>is </a:t>
            </a:r>
            <a:r>
              <a:rPr lang="en-US" sz="1400" b="0" i="0" u="none" strike="noStrike" baseline="0">
                <a:solidFill>
                  <a:srgbClr val="014D63"/>
                </a:solidFill>
                <a:latin typeface="Montserrat"/>
              </a:rPr>
              <a:t>subject to </a:t>
            </a:r>
            <a:r>
              <a:rPr lang="en-US" sz="1400">
                <a:solidFill>
                  <a:srgbClr val="014D63"/>
                </a:solidFill>
                <a:latin typeface="Montserrat"/>
              </a:rPr>
              <a:t>change</a:t>
            </a:r>
            <a:r>
              <a:rPr lang="en-US" sz="1400" b="0" i="0" u="none" strike="noStrike" baseline="0">
                <a:solidFill>
                  <a:srgbClr val="014D63"/>
                </a:solidFill>
                <a:latin typeface="Montserrat"/>
              </a:rPr>
              <a:t>.</a:t>
            </a:r>
            <a:r>
              <a:rPr lang="en-US" sz="1400">
                <a:solidFill>
                  <a:srgbClr val="014D63"/>
                </a:solidFill>
                <a:latin typeface="Montserrat"/>
              </a:rPr>
              <a:t> </a:t>
            </a:r>
            <a:r>
              <a:rPr lang="en-US" sz="1400" b="0" i="0" u="none" strike="noStrike" baseline="0">
                <a:solidFill>
                  <a:srgbClr val="014D63"/>
                </a:solidFill>
                <a:latin typeface="Montserrat"/>
              </a:rPr>
              <a:t> For more information on disclaimers, taxes</a:t>
            </a:r>
            <a:r>
              <a:rPr lang="en-US" sz="1400">
                <a:solidFill>
                  <a:srgbClr val="014D63"/>
                </a:solidFill>
                <a:latin typeface="Montserrat"/>
              </a:rPr>
              <a:t>,</a:t>
            </a:r>
            <a:r>
              <a:rPr lang="en-US" sz="1400" b="0" i="0" u="none" strike="noStrike" baseline="0">
                <a:solidFill>
                  <a:srgbClr val="014D63"/>
                </a:solidFill>
                <a:latin typeface="Montserrat"/>
              </a:rPr>
              <a:t> and fees, please visit</a:t>
            </a:r>
            <a:r>
              <a:rPr lang="en-US" sz="1400">
                <a:solidFill>
                  <a:srgbClr val="014D63"/>
                </a:solidFill>
                <a:latin typeface="Montserrat"/>
              </a:rPr>
              <a:t> </a:t>
            </a:r>
            <a:r>
              <a:rPr lang="en-US" sz="1400" b="0" i="0" u="none" strike="noStrike" baseline="0">
                <a:solidFill>
                  <a:srgbClr val="014D63"/>
                </a:solidFill>
                <a:latin typeface="Montserrat"/>
              </a:rPr>
              <a:t> </a:t>
            </a:r>
            <a:r>
              <a:rPr lang="en-US" sz="1400" i="0" u="sng" strike="noStrike" baseline="0">
                <a:solidFill>
                  <a:srgbClr val="014D63"/>
                </a:solidFill>
                <a:latin typeface="Montserrat"/>
              </a:rPr>
              <a:t>www.bluestreamfiber.com</a:t>
            </a:r>
            <a:r>
              <a:rPr lang="en-US" sz="1400" u="sng">
                <a:solidFill>
                  <a:srgbClr val="014D63"/>
                </a:solidFill>
                <a:latin typeface="Montserrat"/>
              </a:rPr>
              <a:t>/taxes-fees</a:t>
            </a:r>
            <a:r>
              <a:rPr lang="en-US" sz="1400">
                <a:solidFill>
                  <a:srgbClr val="014D63"/>
                </a:solidFill>
                <a:latin typeface="Montserrat"/>
              </a:rPr>
              <a:t>. </a:t>
            </a:r>
            <a:endParaRPr lang="en-US" sz="1400" spc="-10">
              <a:solidFill>
                <a:srgbClr val="014D63"/>
              </a:solidFill>
              <a:latin typeface="Montserrat" panose="00000500000000000000" pitchFamily="2" charset="0"/>
              <a:cs typeface="Arial"/>
            </a:endParaRPr>
          </a:p>
        </p:txBody>
      </p:sp>
      <p:sp>
        <p:nvSpPr>
          <p:cNvPr id="12" name="TextBox 11">
            <a:extLst>
              <a:ext uri="{FF2B5EF4-FFF2-40B4-BE49-F238E27FC236}">
                <a16:creationId xmlns:a16="http://schemas.microsoft.com/office/drawing/2014/main" id="{92310D7D-52A6-3B95-2C10-87E2452BBCB6}"/>
              </a:ext>
            </a:extLst>
          </p:cNvPr>
          <p:cNvSpPr txBox="1"/>
          <p:nvPr/>
        </p:nvSpPr>
        <p:spPr>
          <a:xfrm>
            <a:off x="363503" y="5531785"/>
            <a:ext cx="10431684" cy="615553"/>
          </a:xfrm>
          <a:prstGeom prst="rect">
            <a:avLst/>
          </a:prstGeom>
          <a:noFill/>
        </p:spPr>
        <p:txBody>
          <a:bodyPr wrap="square" lIns="91440" tIns="45720" rIns="91440" bIns="45720" rtlCol="0" anchor="t">
            <a:spAutoFit/>
          </a:bodyPr>
          <a:lstStyle/>
          <a:p>
            <a:r>
              <a:rPr lang="en-US" sz="2000" b="1">
                <a:solidFill>
                  <a:srgbClr val="014D63"/>
                </a:solidFill>
                <a:latin typeface="Montserrat"/>
              </a:rPr>
              <a:t>ADD UNLIMITED PHONE SERVICE FOR ONLY $19/</a:t>
            </a:r>
            <a:r>
              <a:rPr lang="en-US" sz="2000" b="1" err="1">
                <a:solidFill>
                  <a:srgbClr val="014D63"/>
                </a:solidFill>
                <a:latin typeface="Montserrat"/>
              </a:rPr>
              <a:t>mo</a:t>
            </a:r>
            <a:r>
              <a:rPr lang="en-US" sz="2000" b="1">
                <a:solidFill>
                  <a:srgbClr val="014D63"/>
                </a:solidFill>
                <a:latin typeface="Montserrat"/>
              </a:rPr>
              <a:t>!</a:t>
            </a:r>
            <a:endParaRPr lang="en-US" b="1">
              <a:solidFill>
                <a:srgbClr val="014D63"/>
              </a:solidFill>
              <a:cs typeface="Calibri"/>
            </a:endParaRPr>
          </a:p>
          <a:p>
            <a:endParaRPr lang="en-US" sz="1400">
              <a:solidFill>
                <a:schemeClr val="accent1"/>
              </a:solidFill>
              <a:cs typeface="Calibri"/>
            </a:endParaRPr>
          </a:p>
        </p:txBody>
      </p:sp>
    </p:spTree>
    <p:extLst>
      <p:ext uri="{BB962C8B-B14F-4D97-AF65-F5344CB8AC3E}">
        <p14:creationId xmlns:p14="http://schemas.microsoft.com/office/powerpoint/2010/main" val="39818838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1C41CA-891B-1E91-353D-7D58E25738F6}"/>
              </a:ext>
            </a:extLst>
          </p:cNvPr>
          <p:cNvSpPr txBox="1"/>
          <p:nvPr/>
        </p:nvSpPr>
        <p:spPr>
          <a:xfrm>
            <a:off x="186514" y="265653"/>
            <a:ext cx="11102770"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800" b="1">
                <a:solidFill>
                  <a:srgbClr val="007DB2"/>
                </a:solidFill>
                <a:latin typeface="Montserrat"/>
                <a:ea typeface="+mn-lt"/>
                <a:cs typeface="+mn-lt"/>
              </a:rPr>
              <a:t>OUR MOST POPULAR ADD-ON PACKAGE!</a:t>
            </a:r>
            <a:endParaRPr lang="en-US" sz="3800">
              <a:latin typeface="Montserrat"/>
            </a:endParaRPr>
          </a:p>
        </p:txBody>
      </p:sp>
      <p:sp>
        <p:nvSpPr>
          <p:cNvPr id="3" name="TextBox 2">
            <a:extLst>
              <a:ext uri="{FF2B5EF4-FFF2-40B4-BE49-F238E27FC236}">
                <a16:creationId xmlns:a16="http://schemas.microsoft.com/office/drawing/2014/main" id="{36D45F9A-21C4-CCBB-6AE4-862B34F55FF4}"/>
              </a:ext>
            </a:extLst>
          </p:cNvPr>
          <p:cNvSpPr txBox="1"/>
          <p:nvPr/>
        </p:nvSpPr>
        <p:spPr>
          <a:xfrm>
            <a:off x="483931" y="995516"/>
            <a:ext cx="9955161" cy="13542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i="1">
                <a:solidFill>
                  <a:srgbClr val="014D63"/>
                </a:solidFill>
                <a:latin typeface="Montserrat"/>
                <a:ea typeface="+mn-lt"/>
                <a:cs typeface="+mn-lt"/>
              </a:rPr>
              <a:t>TOTAL STREAM PACK</a:t>
            </a:r>
            <a:r>
              <a:rPr lang="en-US" sz="3200" b="1">
                <a:solidFill>
                  <a:srgbClr val="014D63"/>
                </a:solidFill>
                <a:latin typeface="Montserrat"/>
                <a:ea typeface="+mn-lt"/>
                <a:cs typeface="+mn-lt"/>
              </a:rPr>
              <a:t> </a:t>
            </a:r>
            <a:endParaRPr lang="en-US" b="1">
              <a:solidFill>
                <a:srgbClr val="014D63"/>
              </a:solidFill>
              <a:latin typeface="Montserrat"/>
            </a:endParaRPr>
          </a:p>
          <a:p>
            <a:r>
              <a:rPr lang="en-US" sz="3200" b="1">
                <a:solidFill>
                  <a:srgbClr val="014D63"/>
                </a:solidFill>
                <a:latin typeface="Montserrat"/>
                <a:ea typeface="+mn-lt"/>
                <a:cs typeface="+mn-lt"/>
              </a:rPr>
              <a:t>  just $15.99</a:t>
            </a:r>
            <a:r>
              <a:rPr lang="en-US" sz="2000" b="1">
                <a:solidFill>
                  <a:srgbClr val="014D63"/>
                </a:solidFill>
                <a:latin typeface="Montserrat"/>
                <a:ea typeface="+mn-lt"/>
                <a:cs typeface="+mn-lt"/>
              </a:rPr>
              <a:t>/</a:t>
            </a:r>
            <a:r>
              <a:rPr lang="en-US" sz="2000" b="1" err="1">
                <a:solidFill>
                  <a:srgbClr val="014D63"/>
                </a:solidFill>
                <a:latin typeface="Montserrat"/>
                <a:ea typeface="+mn-lt"/>
                <a:cs typeface="+mn-lt"/>
              </a:rPr>
              <a:t>mo</a:t>
            </a:r>
            <a:endParaRPr lang="en-US" b="1" err="1">
              <a:solidFill>
                <a:srgbClr val="014D63"/>
              </a:solidFill>
              <a:latin typeface="Montserrat"/>
            </a:endParaRPr>
          </a:p>
          <a:p>
            <a:pPr algn="l"/>
            <a:endParaRPr lang="en-US">
              <a:cs typeface="Calibri"/>
            </a:endParaRPr>
          </a:p>
        </p:txBody>
      </p:sp>
      <p:pic>
        <p:nvPicPr>
          <p:cNvPr id="4" name="Picture 4" descr="A blue and green lines in a circle&#10;&#10;Description automatically generated">
            <a:extLst>
              <a:ext uri="{FF2B5EF4-FFF2-40B4-BE49-F238E27FC236}">
                <a16:creationId xmlns:a16="http://schemas.microsoft.com/office/drawing/2014/main" id="{54C3CC50-1FA3-6F85-9288-F2E61EAA3225}"/>
              </a:ext>
            </a:extLst>
          </p:cNvPr>
          <p:cNvPicPr>
            <a:picLocks noChangeAspect="1"/>
          </p:cNvPicPr>
          <p:nvPr/>
        </p:nvPicPr>
        <p:blipFill>
          <a:blip r:embed="rId3"/>
          <a:stretch>
            <a:fillRect/>
          </a:stretch>
        </p:blipFill>
        <p:spPr>
          <a:xfrm>
            <a:off x="8499854" y="1533857"/>
            <a:ext cx="3175686" cy="3368427"/>
          </a:xfrm>
          <a:prstGeom prst="rect">
            <a:avLst/>
          </a:prstGeom>
        </p:spPr>
      </p:pic>
      <p:sp>
        <p:nvSpPr>
          <p:cNvPr id="5" name="TextBox 4">
            <a:extLst>
              <a:ext uri="{FF2B5EF4-FFF2-40B4-BE49-F238E27FC236}">
                <a16:creationId xmlns:a16="http://schemas.microsoft.com/office/drawing/2014/main" id="{32F469DA-6F80-2A9C-205D-303B0CA354C9}"/>
              </a:ext>
            </a:extLst>
          </p:cNvPr>
          <p:cNvSpPr txBox="1"/>
          <p:nvPr/>
        </p:nvSpPr>
        <p:spPr>
          <a:xfrm>
            <a:off x="421606" y="2193033"/>
            <a:ext cx="8242985"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nSpc>
                <a:spcPct val="150000"/>
              </a:lnSpc>
              <a:buFont typeface="Arial"/>
              <a:buChar char="•"/>
            </a:pPr>
            <a:r>
              <a:rPr lang="en-US">
                <a:solidFill>
                  <a:srgbClr val="014D63"/>
                </a:solidFill>
                <a:latin typeface="Montserrat"/>
                <a:ea typeface="+mn-lt"/>
                <a:cs typeface="+mn-lt"/>
              </a:rPr>
              <a:t>Additional Set-Top boxes for all your TV’s</a:t>
            </a:r>
            <a:endParaRPr lang="en-US"/>
          </a:p>
          <a:p>
            <a:pPr marL="285750" indent="-285750">
              <a:lnSpc>
                <a:spcPct val="150000"/>
              </a:lnSpc>
              <a:buFont typeface="Arial"/>
              <a:buChar char="•"/>
            </a:pPr>
            <a:r>
              <a:rPr lang="en-US">
                <a:solidFill>
                  <a:srgbClr val="014D63"/>
                </a:solidFill>
                <a:latin typeface="Montserrat"/>
                <a:ea typeface="+mn-lt"/>
                <a:cs typeface="+mn-lt"/>
              </a:rPr>
              <a:t>500 DVR Hours</a:t>
            </a:r>
          </a:p>
          <a:p>
            <a:pPr marL="285750" indent="-285750">
              <a:lnSpc>
                <a:spcPct val="150000"/>
              </a:lnSpc>
              <a:buFont typeface="Arial"/>
              <a:buChar char="•"/>
            </a:pPr>
            <a:r>
              <a:rPr lang="en-US">
                <a:solidFill>
                  <a:srgbClr val="014D63"/>
                </a:solidFill>
                <a:latin typeface="Montserrat"/>
                <a:ea typeface="+mn-lt"/>
                <a:cs typeface="+mn-lt"/>
              </a:rPr>
              <a:t>Unlimited In-home Concurrent Streams </a:t>
            </a:r>
          </a:p>
          <a:p>
            <a:pPr marL="285750" indent="-285750">
              <a:lnSpc>
                <a:spcPct val="150000"/>
              </a:lnSpc>
              <a:buFont typeface="Arial"/>
              <a:buChar char="•"/>
            </a:pPr>
            <a:r>
              <a:rPr lang="en-US">
                <a:solidFill>
                  <a:srgbClr val="014D63"/>
                </a:solidFill>
                <a:latin typeface="Montserrat"/>
                <a:ea typeface="+mn-lt"/>
                <a:cs typeface="+mn-lt"/>
              </a:rPr>
              <a:t>Home Protection Plan</a:t>
            </a:r>
          </a:p>
          <a:p>
            <a:pPr marL="285750" indent="-285750">
              <a:lnSpc>
                <a:spcPct val="150000"/>
              </a:lnSpc>
              <a:buFont typeface="Arial"/>
              <a:buChar char="•"/>
            </a:pPr>
            <a:r>
              <a:rPr lang="en-US">
                <a:solidFill>
                  <a:srgbClr val="014D63"/>
                </a:solidFill>
                <a:latin typeface="Montserrat"/>
                <a:ea typeface="+mn-lt"/>
                <a:cs typeface="+mn-lt"/>
              </a:rPr>
              <a:t>All home visits are completely covered</a:t>
            </a:r>
          </a:p>
          <a:p>
            <a:pPr marL="285750" indent="-285750">
              <a:lnSpc>
                <a:spcPct val="150000"/>
              </a:lnSpc>
              <a:buFont typeface="Arial"/>
              <a:buChar char="•"/>
            </a:pPr>
            <a:r>
              <a:rPr lang="en-US">
                <a:solidFill>
                  <a:srgbClr val="014D63"/>
                </a:solidFill>
                <a:latin typeface="Montserrat"/>
                <a:ea typeface="+mn-lt"/>
                <a:cs typeface="+mn-lt"/>
              </a:rPr>
              <a:t>Plus 2 free months of HBO with access to the Max app*!</a:t>
            </a:r>
            <a:endParaRPr lang="en-US">
              <a:solidFill>
                <a:srgbClr val="014D63"/>
              </a:solidFill>
              <a:latin typeface="Montserrat"/>
            </a:endParaRPr>
          </a:p>
          <a:p>
            <a:pPr algn="l"/>
            <a:endParaRPr lang="en-US">
              <a:cs typeface="Calibri"/>
            </a:endParaRPr>
          </a:p>
        </p:txBody>
      </p:sp>
      <p:sp>
        <p:nvSpPr>
          <p:cNvPr id="6" name="TextBox 5">
            <a:extLst>
              <a:ext uri="{FF2B5EF4-FFF2-40B4-BE49-F238E27FC236}">
                <a16:creationId xmlns:a16="http://schemas.microsoft.com/office/drawing/2014/main" id="{C48F7630-B618-A16B-F644-32C9F3D0C92C}"/>
              </a:ext>
            </a:extLst>
          </p:cNvPr>
          <p:cNvSpPr txBox="1"/>
          <p:nvPr/>
        </p:nvSpPr>
        <p:spPr>
          <a:xfrm>
            <a:off x="8926220" y="2478783"/>
            <a:ext cx="2694030"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600" b="1">
                <a:solidFill>
                  <a:srgbClr val="014D63"/>
                </a:solidFill>
                <a:latin typeface="Montserrat"/>
                <a:ea typeface="+mn-lt"/>
                <a:cs typeface="+mn-lt"/>
              </a:rPr>
              <a:t>Savings of more than</a:t>
            </a:r>
            <a:endParaRPr lang="en-US" sz="2600" b="1">
              <a:solidFill>
                <a:srgbClr val="014D63"/>
              </a:solidFill>
              <a:latin typeface="Montserrat"/>
            </a:endParaRPr>
          </a:p>
          <a:p>
            <a:pPr algn="ctr"/>
            <a:r>
              <a:rPr lang="en-US" sz="2600" b="1">
                <a:solidFill>
                  <a:srgbClr val="014D63"/>
                </a:solidFill>
                <a:latin typeface="Montserrat"/>
                <a:ea typeface="+mn-lt"/>
                <a:cs typeface="+mn-lt"/>
              </a:rPr>
              <a:t>$600 a year!</a:t>
            </a:r>
            <a:endParaRPr lang="en-US" sz="2600">
              <a:solidFill>
                <a:srgbClr val="014D63"/>
              </a:solidFill>
              <a:latin typeface="Montserrat"/>
            </a:endParaRPr>
          </a:p>
          <a:p>
            <a:pPr algn="l"/>
            <a:endParaRPr lang="en-US">
              <a:solidFill>
                <a:srgbClr val="014D63"/>
              </a:solidFill>
              <a:latin typeface="Montserrat"/>
              <a:cs typeface="Calibri"/>
            </a:endParaRPr>
          </a:p>
        </p:txBody>
      </p:sp>
      <p:pic>
        <p:nvPicPr>
          <p:cNvPr id="8" name="Picture 6" descr="Logo&#10;&#10;Description automatically generated">
            <a:extLst>
              <a:ext uri="{FF2B5EF4-FFF2-40B4-BE49-F238E27FC236}">
                <a16:creationId xmlns:a16="http://schemas.microsoft.com/office/drawing/2014/main" id="{ECF9779C-0C2A-68AA-9AB0-008AE37196ED}"/>
              </a:ext>
            </a:extLst>
          </p:cNvPr>
          <p:cNvPicPr>
            <a:picLocks noChangeAspect="1"/>
          </p:cNvPicPr>
          <p:nvPr/>
        </p:nvPicPr>
        <p:blipFill>
          <a:blip r:embed="rId4"/>
          <a:stretch>
            <a:fillRect/>
          </a:stretch>
        </p:blipFill>
        <p:spPr>
          <a:xfrm>
            <a:off x="9022136" y="1136976"/>
            <a:ext cx="2743200" cy="591015"/>
          </a:xfrm>
          <a:prstGeom prst="rect">
            <a:avLst/>
          </a:prstGeom>
        </p:spPr>
      </p:pic>
      <p:sp>
        <p:nvSpPr>
          <p:cNvPr id="10" name="object 7">
            <a:extLst>
              <a:ext uri="{FF2B5EF4-FFF2-40B4-BE49-F238E27FC236}">
                <a16:creationId xmlns:a16="http://schemas.microsoft.com/office/drawing/2014/main" id="{A7524BB8-C52F-F788-6043-4EEAF8759572}"/>
              </a:ext>
            </a:extLst>
          </p:cNvPr>
          <p:cNvSpPr txBox="1"/>
          <p:nvPr/>
        </p:nvSpPr>
        <p:spPr>
          <a:xfrm>
            <a:off x="81999" y="5871124"/>
            <a:ext cx="11874658" cy="671338"/>
          </a:xfrm>
          <a:prstGeom prst="rect">
            <a:avLst/>
          </a:prstGeom>
        </p:spPr>
        <p:txBody>
          <a:bodyPr vert="horz" wrap="square" lIns="0" tIns="12065" rIns="0" bIns="0" rtlCol="0" anchor="t">
            <a:spAutoFit/>
          </a:bodyPr>
          <a:lstStyle/>
          <a:p>
            <a:pPr marL="12700" algn="ctr">
              <a:spcBef>
                <a:spcPts val="95"/>
              </a:spcBef>
            </a:pPr>
            <a:r>
              <a:rPr sz="1400" b="1" spc="-55">
                <a:solidFill>
                  <a:srgbClr val="014D63"/>
                </a:solidFill>
                <a:latin typeface="Montserrat"/>
                <a:cs typeface="Arial"/>
              </a:rPr>
              <a:t>NOTE</a:t>
            </a:r>
            <a:r>
              <a:rPr sz="1400" spc="-55">
                <a:solidFill>
                  <a:srgbClr val="014D63"/>
                </a:solidFill>
                <a:latin typeface="Montserrat"/>
                <a:cs typeface="Arial"/>
              </a:rPr>
              <a:t>:</a:t>
            </a:r>
            <a:r>
              <a:rPr lang="en-US" sz="1400" spc="-165">
                <a:solidFill>
                  <a:srgbClr val="014D63"/>
                </a:solidFill>
                <a:latin typeface="Montserrat"/>
                <a:cs typeface="Arial"/>
              </a:rPr>
              <a:t>  </a:t>
            </a:r>
            <a:r>
              <a:rPr sz="1400" spc="-25">
                <a:solidFill>
                  <a:srgbClr val="014D63"/>
                </a:solidFill>
                <a:latin typeface="Montserrat"/>
                <a:cs typeface="Arial"/>
              </a:rPr>
              <a:t>Package</a:t>
            </a:r>
            <a:r>
              <a:rPr sz="1400" spc="-60">
                <a:solidFill>
                  <a:srgbClr val="014D63"/>
                </a:solidFill>
                <a:latin typeface="Montserrat"/>
                <a:cs typeface="Arial"/>
              </a:rPr>
              <a:t> </a:t>
            </a:r>
            <a:r>
              <a:rPr sz="1400" spc="-10">
                <a:solidFill>
                  <a:srgbClr val="014D63"/>
                </a:solidFill>
                <a:latin typeface="Montserrat"/>
                <a:cs typeface="Arial"/>
              </a:rPr>
              <a:t>components</a:t>
            </a:r>
            <a:r>
              <a:rPr sz="1400" spc="-80">
                <a:solidFill>
                  <a:srgbClr val="014D63"/>
                </a:solidFill>
                <a:latin typeface="Montserrat"/>
                <a:cs typeface="Arial"/>
              </a:rPr>
              <a:t> </a:t>
            </a:r>
            <a:r>
              <a:rPr sz="1400" spc="-25">
                <a:solidFill>
                  <a:srgbClr val="014D63"/>
                </a:solidFill>
                <a:latin typeface="Montserrat"/>
                <a:cs typeface="Arial"/>
              </a:rPr>
              <a:t>may</a:t>
            </a:r>
            <a:r>
              <a:rPr sz="1400" spc="-90">
                <a:solidFill>
                  <a:srgbClr val="014D63"/>
                </a:solidFill>
                <a:latin typeface="Montserrat"/>
                <a:cs typeface="Arial"/>
              </a:rPr>
              <a:t> </a:t>
            </a:r>
            <a:r>
              <a:rPr sz="1400" spc="-10">
                <a:solidFill>
                  <a:srgbClr val="014D63"/>
                </a:solidFill>
                <a:latin typeface="Montserrat"/>
                <a:cs typeface="Arial"/>
              </a:rPr>
              <a:t>vary</a:t>
            </a:r>
            <a:r>
              <a:rPr sz="1400" spc="-85">
                <a:solidFill>
                  <a:srgbClr val="014D63"/>
                </a:solidFill>
                <a:latin typeface="Montserrat"/>
                <a:cs typeface="Arial"/>
              </a:rPr>
              <a:t> </a:t>
            </a:r>
            <a:r>
              <a:rPr sz="1400" spc="-10">
                <a:solidFill>
                  <a:srgbClr val="014D63"/>
                </a:solidFill>
                <a:latin typeface="Montserrat"/>
                <a:cs typeface="Arial"/>
              </a:rPr>
              <a:t>based</a:t>
            </a:r>
            <a:r>
              <a:rPr sz="1400" spc="-35">
                <a:solidFill>
                  <a:srgbClr val="014D63"/>
                </a:solidFill>
                <a:latin typeface="Montserrat"/>
                <a:cs typeface="Arial"/>
              </a:rPr>
              <a:t> </a:t>
            </a:r>
            <a:r>
              <a:rPr sz="1400">
                <a:solidFill>
                  <a:srgbClr val="014D63"/>
                </a:solidFill>
                <a:latin typeface="Montserrat"/>
                <a:cs typeface="Arial"/>
              </a:rPr>
              <a:t>on</a:t>
            </a:r>
            <a:r>
              <a:rPr sz="1400" spc="-45">
                <a:solidFill>
                  <a:srgbClr val="014D63"/>
                </a:solidFill>
                <a:latin typeface="Montserrat"/>
                <a:cs typeface="Arial"/>
              </a:rPr>
              <a:t> </a:t>
            </a:r>
            <a:r>
              <a:rPr sz="1400">
                <a:solidFill>
                  <a:srgbClr val="014D63"/>
                </a:solidFill>
                <a:latin typeface="Montserrat"/>
                <a:cs typeface="Arial"/>
              </a:rPr>
              <a:t>what</a:t>
            </a:r>
            <a:r>
              <a:rPr sz="1400" spc="-55">
                <a:solidFill>
                  <a:srgbClr val="014D63"/>
                </a:solidFill>
                <a:latin typeface="Montserrat"/>
                <a:cs typeface="Arial"/>
              </a:rPr>
              <a:t> </a:t>
            </a:r>
            <a:r>
              <a:rPr sz="1400">
                <a:solidFill>
                  <a:srgbClr val="014D63"/>
                </a:solidFill>
                <a:latin typeface="Montserrat"/>
                <a:cs typeface="Arial"/>
              </a:rPr>
              <a:t>is</a:t>
            </a:r>
            <a:r>
              <a:rPr sz="1400" spc="-95">
                <a:solidFill>
                  <a:srgbClr val="014D63"/>
                </a:solidFill>
                <a:latin typeface="Montserrat"/>
                <a:cs typeface="Arial"/>
              </a:rPr>
              <a:t> </a:t>
            </a:r>
            <a:r>
              <a:rPr sz="1400">
                <a:solidFill>
                  <a:srgbClr val="014D63"/>
                </a:solidFill>
                <a:latin typeface="Montserrat"/>
                <a:cs typeface="Arial"/>
              </a:rPr>
              <a:t>included</a:t>
            </a:r>
            <a:r>
              <a:rPr sz="1400" spc="-20">
                <a:solidFill>
                  <a:srgbClr val="014D63"/>
                </a:solidFill>
                <a:latin typeface="Montserrat"/>
                <a:cs typeface="Arial"/>
              </a:rPr>
              <a:t> </a:t>
            </a:r>
            <a:r>
              <a:rPr sz="1400">
                <a:solidFill>
                  <a:srgbClr val="014D63"/>
                </a:solidFill>
                <a:latin typeface="Montserrat"/>
                <a:cs typeface="Arial"/>
              </a:rPr>
              <a:t>in</a:t>
            </a:r>
            <a:r>
              <a:rPr sz="1400" spc="-60">
                <a:solidFill>
                  <a:srgbClr val="014D63"/>
                </a:solidFill>
                <a:latin typeface="Montserrat"/>
                <a:cs typeface="Arial"/>
              </a:rPr>
              <a:t> </a:t>
            </a:r>
            <a:r>
              <a:rPr sz="1400">
                <a:solidFill>
                  <a:srgbClr val="014D63"/>
                </a:solidFill>
                <a:latin typeface="Montserrat"/>
                <a:cs typeface="Arial"/>
              </a:rPr>
              <a:t>your</a:t>
            </a:r>
            <a:r>
              <a:rPr sz="1400" spc="-55">
                <a:solidFill>
                  <a:srgbClr val="014D63"/>
                </a:solidFill>
                <a:latin typeface="Montserrat"/>
                <a:cs typeface="Arial"/>
              </a:rPr>
              <a:t> </a:t>
            </a:r>
            <a:r>
              <a:rPr sz="1400" spc="-20">
                <a:solidFill>
                  <a:srgbClr val="014D63"/>
                </a:solidFill>
                <a:latin typeface="Montserrat"/>
                <a:cs typeface="Arial"/>
              </a:rPr>
              <a:t>community’s</a:t>
            </a:r>
            <a:r>
              <a:rPr lang="en-US" sz="1400" spc="-20">
                <a:solidFill>
                  <a:srgbClr val="014D63"/>
                </a:solidFill>
                <a:latin typeface="Montserrat"/>
                <a:cs typeface="Arial"/>
              </a:rPr>
              <a:t> </a:t>
            </a:r>
            <a:r>
              <a:rPr sz="1400" spc="-10">
                <a:solidFill>
                  <a:srgbClr val="014D63"/>
                </a:solidFill>
                <a:latin typeface="Montserrat"/>
                <a:cs typeface="Arial"/>
              </a:rPr>
              <a:t>agreement.</a:t>
            </a:r>
            <a:r>
              <a:rPr lang="en-US" sz="1400" spc="-10">
                <a:solidFill>
                  <a:srgbClr val="014D63"/>
                </a:solidFill>
                <a:latin typeface="Montserrat"/>
                <a:cs typeface="Arial"/>
              </a:rPr>
              <a:t>  *</a:t>
            </a:r>
            <a:r>
              <a:rPr lang="en-US" sz="1400">
                <a:solidFill>
                  <a:srgbClr val="014D63"/>
                </a:solidFill>
                <a:effectLst/>
                <a:latin typeface="Montserrat"/>
                <a:ea typeface="Calibri" panose="020F0502020204030204" pitchFamily="34" charset="0"/>
              </a:rPr>
              <a:t>After 60 days the current rate for HBO will be applied unless </a:t>
            </a:r>
            <a:r>
              <a:rPr lang="en-US" sz="1400">
                <a:solidFill>
                  <a:srgbClr val="014D63"/>
                </a:solidFill>
                <a:latin typeface="Montserrat"/>
                <a:ea typeface="Calibri" panose="020F0502020204030204" pitchFamily="34" charset="0"/>
              </a:rPr>
              <a:t>canceled</a:t>
            </a:r>
            <a:r>
              <a:rPr lang="en-US" sz="1400">
                <a:solidFill>
                  <a:srgbClr val="014D63"/>
                </a:solidFill>
                <a:effectLst/>
                <a:latin typeface="Montserrat"/>
                <a:ea typeface="Calibri" panose="020F0502020204030204" pitchFamily="34" charset="0"/>
              </a:rPr>
              <a:t> by </a:t>
            </a:r>
            <a:r>
              <a:rPr lang="en-US" sz="1400">
                <a:solidFill>
                  <a:srgbClr val="014D63"/>
                </a:solidFill>
                <a:latin typeface="Montserrat"/>
                <a:ea typeface="Calibri" panose="020F0502020204030204" pitchFamily="34" charset="0"/>
              </a:rPr>
              <a:t>the </a:t>
            </a:r>
            <a:r>
              <a:rPr lang="en-US" sz="1400">
                <a:solidFill>
                  <a:srgbClr val="014D63"/>
                </a:solidFill>
                <a:effectLst/>
                <a:latin typeface="Montserrat"/>
                <a:ea typeface="Calibri" panose="020F0502020204030204" pitchFamily="34" charset="0"/>
              </a:rPr>
              <a:t>customer prior to</a:t>
            </a:r>
            <a:r>
              <a:rPr lang="en-US" sz="1400">
                <a:solidFill>
                  <a:srgbClr val="014D63"/>
                </a:solidFill>
                <a:latin typeface="Montserrat"/>
                <a:ea typeface="Calibri" panose="020F0502020204030204" pitchFamily="34" charset="0"/>
              </a:rPr>
              <a:t> the</a:t>
            </a:r>
            <a:r>
              <a:rPr lang="en-US" sz="1400">
                <a:solidFill>
                  <a:srgbClr val="014D63"/>
                </a:solidFill>
                <a:effectLst/>
                <a:latin typeface="Montserrat"/>
                <a:ea typeface="Calibri" panose="020F0502020204030204" pitchFamily="34" charset="0"/>
              </a:rPr>
              <a:t> end of </a:t>
            </a:r>
            <a:r>
              <a:rPr lang="en-US" sz="1400">
                <a:solidFill>
                  <a:srgbClr val="014D63"/>
                </a:solidFill>
                <a:latin typeface="Montserrat"/>
                <a:ea typeface="Calibri" panose="020F0502020204030204" pitchFamily="34" charset="0"/>
              </a:rPr>
              <a:t>the </a:t>
            </a:r>
            <a:r>
              <a:rPr lang="en-US" sz="1400">
                <a:solidFill>
                  <a:srgbClr val="014D63"/>
                </a:solidFill>
                <a:effectLst/>
                <a:latin typeface="Montserrat"/>
                <a:ea typeface="Calibri" panose="020F0502020204030204" pitchFamily="34" charset="0"/>
              </a:rPr>
              <a:t>complimentary 60-day period</a:t>
            </a:r>
            <a:r>
              <a:rPr lang="en-US" sz="1400" i="1">
                <a:solidFill>
                  <a:srgbClr val="014D63"/>
                </a:solidFill>
                <a:effectLst/>
                <a:latin typeface="Montserrat"/>
                <a:ea typeface="Calibri" panose="020F0502020204030204" pitchFamily="34" charset="0"/>
              </a:rPr>
              <a:t>.</a:t>
            </a:r>
            <a:r>
              <a:rPr lang="en-US" sz="1400" i="1">
                <a:solidFill>
                  <a:srgbClr val="014D63"/>
                </a:solidFill>
                <a:latin typeface="Montserrat"/>
                <a:ea typeface="Calibri" panose="020F0502020204030204" pitchFamily="34" charset="0"/>
              </a:rPr>
              <a:t> </a:t>
            </a:r>
            <a:r>
              <a:rPr lang="en-US" sz="1400" b="0" i="0" u="none" strike="noStrike" baseline="0">
                <a:solidFill>
                  <a:srgbClr val="014D63"/>
                </a:solidFill>
                <a:latin typeface="Montserrat"/>
              </a:rPr>
              <a:t>Pricing </a:t>
            </a:r>
            <a:r>
              <a:rPr lang="en-US" sz="1400">
                <a:solidFill>
                  <a:srgbClr val="014D63"/>
                </a:solidFill>
                <a:latin typeface="Montserrat"/>
              </a:rPr>
              <a:t>is </a:t>
            </a:r>
            <a:r>
              <a:rPr lang="en-US" sz="1400" b="0" i="0" u="none" strike="noStrike" baseline="0">
                <a:solidFill>
                  <a:srgbClr val="014D63"/>
                </a:solidFill>
                <a:latin typeface="Montserrat"/>
              </a:rPr>
              <a:t>subject to </a:t>
            </a:r>
            <a:r>
              <a:rPr lang="en-US" sz="1400">
                <a:solidFill>
                  <a:srgbClr val="014D63"/>
                </a:solidFill>
                <a:latin typeface="Montserrat"/>
              </a:rPr>
              <a:t>change</a:t>
            </a:r>
            <a:r>
              <a:rPr lang="en-US" sz="1400" b="0" i="0" u="none" strike="noStrike" baseline="0">
                <a:solidFill>
                  <a:srgbClr val="014D63"/>
                </a:solidFill>
                <a:latin typeface="Montserrat"/>
              </a:rPr>
              <a:t>.</a:t>
            </a:r>
            <a:r>
              <a:rPr lang="en-US" sz="1400">
                <a:solidFill>
                  <a:srgbClr val="014D63"/>
                </a:solidFill>
                <a:latin typeface="Montserrat"/>
              </a:rPr>
              <a:t> </a:t>
            </a:r>
            <a:r>
              <a:rPr lang="en-US" sz="1400" b="0" i="0" u="none" strike="noStrike" baseline="0">
                <a:solidFill>
                  <a:srgbClr val="014D63"/>
                </a:solidFill>
                <a:latin typeface="Montserrat"/>
              </a:rPr>
              <a:t> For more information on disclaimers, taxes</a:t>
            </a:r>
            <a:r>
              <a:rPr lang="en-US" sz="1400">
                <a:solidFill>
                  <a:srgbClr val="014D63"/>
                </a:solidFill>
                <a:latin typeface="Montserrat"/>
              </a:rPr>
              <a:t>,</a:t>
            </a:r>
            <a:r>
              <a:rPr lang="en-US" sz="1400" b="0" i="0" u="none" strike="noStrike" baseline="0">
                <a:solidFill>
                  <a:srgbClr val="014D63"/>
                </a:solidFill>
                <a:latin typeface="Montserrat"/>
              </a:rPr>
              <a:t> and fees, please visit</a:t>
            </a:r>
            <a:r>
              <a:rPr lang="en-US" sz="1400">
                <a:solidFill>
                  <a:srgbClr val="014D63"/>
                </a:solidFill>
                <a:latin typeface="Montserrat"/>
              </a:rPr>
              <a:t> </a:t>
            </a:r>
            <a:r>
              <a:rPr lang="en-US" sz="1400" b="0" i="0" u="none" strike="noStrike" baseline="0">
                <a:solidFill>
                  <a:srgbClr val="014D63"/>
                </a:solidFill>
                <a:latin typeface="Montserrat"/>
              </a:rPr>
              <a:t> </a:t>
            </a:r>
            <a:r>
              <a:rPr lang="en-US" sz="1400" i="0" u="sng" strike="noStrike" baseline="0">
                <a:solidFill>
                  <a:srgbClr val="014D63"/>
                </a:solidFill>
                <a:latin typeface="Montserrat"/>
              </a:rPr>
              <a:t>www.bluestreamfiber.com</a:t>
            </a:r>
            <a:r>
              <a:rPr lang="en-US" sz="1400" u="sng">
                <a:solidFill>
                  <a:srgbClr val="014D63"/>
                </a:solidFill>
                <a:latin typeface="Montserrat"/>
              </a:rPr>
              <a:t>/taxes-fees</a:t>
            </a:r>
            <a:r>
              <a:rPr lang="en-US" sz="1400">
                <a:solidFill>
                  <a:srgbClr val="014D63"/>
                </a:solidFill>
                <a:latin typeface="Montserrat"/>
              </a:rPr>
              <a:t>. </a:t>
            </a:r>
            <a:endParaRPr lang="en-US" sz="1400" spc="-10">
              <a:solidFill>
                <a:srgbClr val="014D63"/>
              </a:solidFill>
              <a:latin typeface="Montserrat" panose="00000500000000000000" pitchFamily="2" charset="0"/>
              <a:cs typeface="Arial"/>
            </a:endParaRPr>
          </a:p>
        </p:txBody>
      </p:sp>
      <p:sp>
        <p:nvSpPr>
          <p:cNvPr id="12" name="TextBox 11">
            <a:extLst>
              <a:ext uri="{FF2B5EF4-FFF2-40B4-BE49-F238E27FC236}">
                <a16:creationId xmlns:a16="http://schemas.microsoft.com/office/drawing/2014/main" id="{92310D7D-52A6-3B95-2C10-87E2452BBCB6}"/>
              </a:ext>
            </a:extLst>
          </p:cNvPr>
          <p:cNvSpPr txBox="1"/>
          <p:nvPr/>
        </p:nvSpPr>
        <p:spPr>
          <a:xfrm>
            <a:off x="363503" y="5052463"/>
            <a:ext cx="10431684" cy="615553"/>
          </a:xfrm>
          <a:prstGeom prst="rect">
            <a:avLst/>
          </a:prstGeom>
          <a:noFill/>
        </p:spPr>
        <p:txBody>
          <a:bodyPr wrap="square" lIns="91440" tIns="45720" rIns="91440" bIns="45720" rtlCol="0" anchor="t">
            <a:spAutoFit/>
          </a:bodyPr>
          <a:lstStyle/>
          <a:p>
            <a:r>
              <a:rPr lang="en-US" sz="2000" b="1">
                <a:solidFill>
                  <a:srgbClr val="014D63"/>
                </a:solidFill>
                <a:latin typeface="Montserrat"/>
              </a:rPr>
              <a:t>ADD UNLIMITED PHONE SERVICE FOR ONLY $19/</a:t>
            </a:r>
            <a:r>
              <a:rPr lang="en-US" sz="2000" b="1" err="1">
                <a:solidFill>
                  <a:srgbClr val="014D63"/>
                </a:solidFill>
                <a:latin typeface="Montserrat"/>
              </a:rPr>
              <a:t>mo</a:t>
            </a:r>
            <a:r>
              <a:rPr lang="en-US" sz="2000" b="1">
                <a:solidFill>
                  <a:srgbClr val="014D63"/>
                </a:solidFill>
                <a:latin typeface="Montserrat"/>
              </a:rPr>
              <a:t>!</a:t>
            </a:r>
            <a:endParaRPr lang="en-US">
              <a:solidFill>
                <a:srgbClr val="014D63"/>
              </a:solidFill>
              <a:cs typeface="Calibri"/>
            </a:endParaRPr>
          </a:p>
          <a:p>
            <a:endParaRPr lang="en-US" sz="1400">
              <a:solidFill>
                <a:schemeClr val="accent1"/>
              </a:solidFill>
              <a:cs typeface="Calibri"/>
            </a:endParaRPr>
          </a:p>
        </p:txBody>
      </p:sp>
    </p:spTree>
    <p:extLst>
      <p:ext uri="{BB962C8B-B14F-4D97-AF65-F5344CB8AC3E}">
        <p14:creationId xmlns:p14="http://schemas.microsoft.com/office/powerpoint/2010/main" val="12445545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4C3B03-8A06-B16F-FA76-C8A9ED41F96E}"/>
              </a:ext>
            </a:extLst>
          </p:cNvPr>
          <p:cNvSpPr>
            <a:spLocks noGrp="1"/>
          </p:cNvSpPr>
          <p:nvPr>
            <p:ph type="title"/>
          </p:nvPr>
        </p:nvSpPr>
        <p:spPr>
          <a:xfrm>
            <a:off x="123627" y="134380"/>
            <a:ext cx="12243917" cy="801577"/>
          </a:xfrm>
        </p:spPr>
        <p:txBody>
          <a:bodyPr vert="horz" lIns="91440" tIns="45720" rIns="91440" bIns="45720" rtlCol="0" anchor="ctr">
            <a:noAutofit/>
          </a:bodyPr>
          <a:lstStyle/>
          <a:p>
            <a:r>
              <a:rPr lang="en-US" sz="3800">
                <a:solidFill>
                  <a:srgbClr val="007DB2"/>
                </a:solidFill>
                <a:latin typeface="Montserrat"/>
                <a:cs typeface="Arial"/>
              </a:rPr>
              <a:t>OUR MOST POPULAR ADD-ON PACKAGES!</a:t>
            </a:r>
          </a:p>
        </p:txBody>
      </p:sp>
      <p:sp>
        <p:nvSpPr>
          <p:cNvPr id="2" name="Content Placeholder 1">
            <a:extLst>
              <a:ext uri="{FF2B5EF4-FFF2-40B4-BE49-F238E27FC236}">
                <a16:creationId xmlns:a16="http://schemas.microsoft.com/office/drawing/2014/main" id="{842BE1CE-F09B-DB2A-DA88-925137048C54}"/>
              </a:ext>
            </a:extLst>
          </p:cNvPr>
          <p:cNvSpPr>
            <a:spLocks noGrp="1"/>
          </p:cNvSpPr>
          <p:nvPr>
            <p:ph sz="half" idx="18"/>
          </p:nvPr>
        </p:nvSpPr>
        <p:spPr>
          <a:xfrm>
            <a:off x="245857" y="920934"/>
            <a:ext cx="5099375" cy="1038916"/>
          </a:xfrm>
        </p:spPr>
        <p:txBody>
          <a:bodyPr vert="horz" lIns="91440" tIns="45720" rIns="91440" bIns="45720" rtlCol="0" anchor="t">
            <a:noAutofit/>
          </a:bodyPr>
          <a:lstStyle/>
          <a:p>
            <a:r>
              <a:rPr lang="en-US" sz="3000" i="1" dirty="0">
                <a:solidFill>
                  <a:srgbClr val="004161"/>
                </a:solidFill>
                <a:latin typeface="Montserrat"/>
                <a:cs typeface="Arial"/>
              </a:rPr>
              <a:t>CONNECT MORE PACK</a:t>
            </a:r>
          </a:p>
          <a:p>
            <a:r>
              <a:rPr lang="en-US" sz="3000" dirty="0">
                <a:solidFill>
                  <a:srgbClr val="004161"/>
                </a:solidFill>
                <a:latin typeface="Montserrat"/>
                <a:cs typeface="Arial"/>
              </a:rPr>
              <a:t>$19.99/</a:t>
            </a:r>
            <a:r>
              <a:rPr lang="en-US" sz="3000" dirty="0" err="1">
                <a:solidFill>
                  <a:srgbClr val="004161"/>
                </a:solidFill>
                <a:latin typeface="Montserrat"/>
                <a:cs typeface="Arial"/>
              </a:rPr>
              <a:t>mo</a:t>
            </a:r>
            <a:endParaRPr lang="en-US" sz="3000" dirty="0">
              <a:solidFill>
                <a:srgbClr val="004161"/>
              </a:solidFill>
              <a:latin typeface="Montserrat"/>
              <a:cs typeface="Arial"/>
            </a:endParaRPr>
          </a:p>
        </p:txBody>
      </p:sp>
      <p:sp>
        <p:nvSpPr>
          <p:cNvPr id="7" name="Content Placeholder 6">
            <a:extLst>
              <a:ext uri="{FF2B5EF4-FFF2-40B4-BE49-F238E27FC236}">
                <a16:creationId xmlns:a16="http://schemas.microsoft.com/office/drawing/2014/main" id="{9435D6DC-CA42-70CC-DF73-0E77A73B7871}"/>
              </a:ext>
            </a:extLst>
          </p:cNvPr>
          <p:cNvSpPr>
            <a:spLocks noGrp="1"/>
          </p:cNvSpPr>
          <p:nvPr>
            <p:ph sz="half" idx="20"/>
          </p:nvPr>
        </p:nvSpPr>
        <p:spPr>
          <a:xfrm>
            <a:off x="5707679" y="833552"/>
            <a:ext cx="6053788" cy="1154721"/>
          </a:xfrm>
        </p:spPr>
        <p:txBody>
          <a:bodyPr vert="horz" lIns="91440" tIns="45720" rIns="91440" bIns="45720" rtlCol="0" anchor="t">
            <a:noAutofit/>
          </a:bodyPr>
          <a:lstStyle/>
          <a:p>
            <a:r>
              <a:rPr lang="en-US" sz="3000" i="1" dirty="0">
                <a:solidFill>
                  <a:srgbClr val="004161"/>
                </a:solidFill>
                <a:latin typeface="Montserrat"/>
                <a:cs typeface="Arial"/>
              </a:rPr>
              <a:t>COMPLETE CONNECT PACK</a:t>
            </a:r>
          </a:p>
          <a:p>
            <a:r>
              <a:rPr lang="en-US" sz="3000" dirty="0">
                <a:solidFill>
                  <a:srgbClr val="004161"/>
                </a:solidFill>
                <a:latin typeface="Montserrat"/>
                <a:cs typeface="Arial"/>
              </a:rPr>
              <a:t>$24.99/</a:t>
            </a:r>
            <a:r>
              <a:rPr lang="en-US" sz="3000" dirty="0" err="1">
                <a:solidFill>
                  <a:srgbClr val="004161"/>
                </a:solidFill>
                <a:latin typeface="Montserrat"/>
                <a:cs typeface="Arial"/>
              </a:rPr>
              <a:t>mo</a:t>
            </a:r>
            <a:endParaRPr lang="en-US" sz="3000" dirty="0">
              <a:solidFill>
                <a:srgbClr val="004161"/>
              </a:solidFill>
              <a:latin typeface="Montserrat"/>
              <a:cs typeface="Arial"/>
            </a:endParaRPr>
          </a:p>
        </p:txBody>
      </p:sp>
      <p:sp>
        <p:nvSpPr>
          <p:cNvPr id="11" name="TextBox 10">
            <a:extLst>
              <a:ext uri="{FF2B5EF4-FFF2-40B4-BE49-F238E27FC236}">
                <a16:creationId xmlns:a16="http://schemas.microsoft.com/office/drawing/2014/main" id="{8BA0A443-4429-40F1-9C7E-6DB8A302AB41}"/>
              </a:ext>
            </a:extLst>
          </p:cNvPr>
          <p:cNvSpPr txBox="1"/>
          <p:nvPr/>
        </p:nvSpPr>
        <p:spPr>
          <a:xfrm>
            <a:off x="556826" y="5630772"/>
            <a:ext cx="10431684" cy="615553"/>
          </a:xfrm>
          <a:prstGeom prst="rect">
            <a:avLst/>
          </a:prstGeom>
          <a:noFill/>
        </p:spPr>
        <p:txBody>
          <a:bodyPr wrap="square" lIns="91440" tIns="45720" rIns="91440" bIns="45720" rtlCol="0" anchor="t">
            <a:spAutoFit/>
          </a:bodyPr>
          <a:lstStyle/>
          <a:p>
            <a:pPr algn="ctr"/>
            <a:r>
              <a:rPr lang="en-US" sz="2000" b="1" dirty="0">
                <a:solidFill>
                  <a:srgbClr val="014D63"/>
                </a:solidFill>
                <a:latin typeface="Montserrat"/>
              </a:rPr>
              <a:t>ADD UNLIMITED PHONE SERVICE TO EITHER PACK FOR ONLY $19/</a:t>
            </a:r>
            <a:r>
              <a:rPr lang="en-US" sz="2000" b="1" dirty="0" err="1">
                <a:solidFill>
                  <a:srgbClr val="014D63"/>
                </a:solidFill>
                <a:latin typeface="Montserrat"/>
              </a:rPr>
              <a:t>mo</a:t>
            </a:r>
            <a:r>
              <a:rPr lang="en-US" sz="2000" b="1" dirty="0">
                <a:solidFill>
                  <a:srgbClr val="014D63"/>
                </a:solidFill>
                <a:latin typeface="Montserrat"/>
              </a:rPr>
              <a:t>!</a:t>
            </a:r>
            <a:endParaRPr lang="en-US" dirty="0">
              <a:solidFill>
                <a:srgbClr val="014D63"/>
              </a:solidFill>
              <a:cs typeface="Calibri"/>
            </a:endParaRPr>
          </a:p>
          <a:p>
            <a:endParaRPr lang="en-US" sz="1400" dirty="0">
              <a:solidFill>
                <a:schemeClr val="accent1"/>
              </a:solidFill>
              <a:cs typeface="Calibri"/>
            </a:endParaRPr>
          </a:p>
        </p:txBody>
      </p:sp>
      <p:sp>
        <p:nvSpPr>
          <p:cNvPr id="12" name="object 7">
            <a:extLst>
              <a:ext uri="{FF2B5EF4-FFF2-40B4-BE49-F238E27FC236}">
                <a16:creationId xmlns:a16="http://schemas.microsoft.com/office/drawing/2014/main" id="{4873A5A8-EE7B-4BEB-8D60-02E5F6F09F9D}"/>
              </a:ext>
            </a:extLst>
          </p:cNvPr>
          <p:cNvSpPr txBox="1"/>
          <p:nvPr/>
        </p:nvSpPr>
        <p:spPr>
          <a:xfrm>
            <a:off x="192612" y="6080060"/>
            <a:ext cx="11874658" cy="455894"/>
          </a:xfrm>
          <a:prstGeom prst="rect">
            <a:avLst/>
          </a:prstGeom>
        </p:spPr>
        <p:txBody>
          <a:bodyPr vert="horz" wrap="square" lIns="0" tIns="12065" rIns="0" bIns="0" rtlCol="0" anchor="t">
            <a:spAutoFit/>
          </a:bodyPr>
          <a:lstStyle/>
          <a:p>
            <a:pPr marL="12700" algn="ctr">
              <a:spcBef>
                <a:spcPts val="95"/>
              </a:spcBef>
            </a:pPr>
            <a:r>
              <a:rPr sz="1400" b="1" spc="-55" dirty="0">
                <a:solidFill>
                  <a:srgbClr val="014D63"/>
                </a:solidFill>
                <a:latin typeface="Montserrat"/>
                <a:cs typeface="Arial"/>
              </a:rPr>
              <a:t>NOTE</a:t>
            </a:r>
            <a:r>
              <a:rPr sz="1400" spc="-55" dirty="0">
                <a:solidFill>
                  <a:srgbClr val="014D63"/>
                </a:solidFill>
                <a:latin typeface="Montserrat"/>
                <a:cs typeface="Arial"/>
              </a:rPr>
              <a:t>:</a:t>
            </a:r>
            <a:r>
              <a:rPr lang="en-US" sz="1400" spc="-165" dirty="0">
                <a:solidFill>
                  <a:srgbClr val="014D63"/>
                </a:solidFill>
                <a:latin typeface="Montserrat"/>
                <a:cs typeface="Arial"/>
              </a:rPr>
              <a:t>  *</a:t>
            </a:r>
            <a:r>
              <a:rPr lang="en-US" sz="1400" dirty="0">
                <a:solidFill>
                  <a:srgbClr val="014D63"/>
                </a:solidFill>
                <a:latin typeface="Montserrat"/>
              </a:rPr>
              <a:t>All-you-need set-top boxes or </a:t>
            </a:r>
            <a:r>
              <a:rPr lang="en-US" sz="1400" dirty="0" err="1">
                <a:solidFill>
                  <a:srgbClr val="014D63"/>
                </a:solidFill>
                <a:latin typeface="Montserrat"/>
              </a:rPr>
              <a:t>WiFi</a:t>
            </a:r>
            <a:r>
              <a:rPr lang="en-US" sz="1400" dirty="0">
                <a:solidFill>
                  <a:srgbClr val="014D63"/>
                </a:solidFill>
                <a:latin typeface="Montserrat"/>
              </a:rPr>
              <a:t> pods per our professional technician evaluation. </a:t>
            </a:r>
          </a:p>
          <a:p>
            <a:pPr marL="12700" algn="ctr">
              <a:spcBef>
                <a:spcPts val="95"/>
              </a:spcBef>
            </a:pPr>
            <a:r>
              <a:rPr lang="en-US" sz="1400" b="0" i="0" u="none" strike="noStrike" baseline="0" dirty="0">
                <a:solidFill>
                  <a:srgbClr val="014D63"/>
                </a:solidFill>
                <a:latin typeface="Montserrat"/>
              </a:rPr>
              <a:t>For more information on disclaimers, taxes</a:t>
            </a:r>
            <a:r>
              <a:rPr lang="en-US" sz="1400" dirty="0">
                <a:solidFill>
                  <a:srgbClr val="014D63"/>
                </a:solidFill>
                <a:latin typeface="Montserrat"/>
              </a:rPr>
              <a:t>,</a:t>
            </a:r>
            <a:r>
              <a:rPr lang="en-US" sz="1400" b="0" i="0" u="none" strike="noStrike" baseline="0" dirty="0">
                <a:solidFill>
                  <a:srgbClr val="014D63"/>
                </a:solidFill>
                <a:latin typeface="Montserrat"/>
              </a:rPr>
              <a:t> and fees, please visit</a:t>
            </a:r>
            <a:r>
              <a:rPr lang="en-US" sz="1400" dirty="0">
                <a:solidFill>
                  <a:srgbClr val="014D63"/>
                </a:solidFill>
                <a:latin typeface="Montserrat"/>
              </a:rPr>
              <a:t> </a:t>
            </a:r>
            <a:r>
              <a:rPr lang="en-US" sz="1400" b="0" i="0" u="none" strike="noStrike" baseline="0" dirty="0">
                <a:solidFill>
                  <a:srgbClr val="014D63"/>
                </a:solidFill>
                <a:latin typeface="Montserrat"/>
              </a:rPr>
              <a:t> </a:t>
            </a:r>
            <a:r>
              <a:rPr lang="en-US" sz="1400" i="0" u="sng" strike="noStrike" baseline="0" dirty="0">
                <a:solidFill>
                  <a:srgbClr val="014D63"/>
                </a:solidFill>
                <a:latin typeface="Montserrat"/>
              </a:rPr>
              <a:t>www.bluestreamfiber.com</a:t>
            </a:r>
            <a:r>
              <a:rPr lang="en-US" sz="1400" u="sng" dirty="0">
                <a:solidFill>
                  <a:srgbClr val="014D63"/>
                </a:solidFill>
                <a:latin typeface="Montserrat"/>
              </a:rPr>
              <a:t>/taxes-fees</a:t>
            </a:r>
            <a:r>
              <a:rPr lang="en-US" sz="1400" dirty="0">
                <a:solidFill>
                  <a:srgbClr val="014D63"/>
                </a:solidFill>
                <a:latin typeface="Montserrat"/>
              </a:rPr>
              <a:t>. </a:t>
            </a:r>
            <a:endParaRPr lang="en-US" sz="1400" spc="-10" dirty="0">
              <a:solidFill>
                <a:srgbClr val="014D63"/>
              </a:solidFill>
              <a:latin typeface="Montserrat" panose="00000500000000000000" pitchFamily="2" charset="0"/>
              <a:cs typeface="Arial"/>
            </a:endParaRPr>
          </a:p>
        </p:txBody>
      </p:sp>
      <p:sp>
        <p:nvSpPr>
          <p:cNvPr id="14" name="TextBox 13">
            <a:extLst>
              <a:ext uri="{FF2B5EF4-FFF2-40B4-BE49-F238E27FC236}">
                <a16:creationId xmlns:a16="http://schemas.microsoft.com/office/drawing/2014/main" id="{A81C454B-7A6B-4201-CFA2-21E9D5D2C02E}"/>
              </a:ext>
            </a:extLst>
          </p:cNvPr>
          <p:cNvSpPr txBox="1"/>
          <p:nvPr/>
        </p:nvSpPr>
        <p:spPr>
          <a:xfrm>
            <a:off x="608304" y="1863080"/>
            <a:ext cx="5279161" cy="29540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dirty="0">
                <a:solidFill>
                  <a:schemeClr val="tx2"/>
                </a:solidFill>
                <a:latin typeface="Montserrat"/>
              </a:rPr>
              <a:t>• Up to 2 GIG / 2 GIG Upgrade</a:t>
            </a:r>
          </a:p>
          <a:p>
            <a:pPr>
              <a:lnSpc>
                <a:spcPct val="150000"/>
              </a:lnSpc>
            </a:pPr>
            <a:r>
              <a:rPr lang="en-US" dirty="0">
                <a:solidFill>
                  <a:schemeClr val="tx2"/>
                </a:solidFill>
                <a:latin typeface="Montserrat"/>
              </a:rPr>
              <a:t>• Home Protection Plan</a:t>
            </a:r>
          </a:p>
          <a:p>
            <a:pPr>
              <a:lnSpc>
                <a:spcPct val="150000"/>
              </a:lnSpc>
            </a:pPr>
            <a:r>
              <a:rPr lang="en-US" dirty="0">
                <a:solidFill>
                  <a:schemeClr val="tx2"/>
                </a:solidFill>
                <a:latin typeface="Montserrat"/>
              </a:rPr>
              <a:t>• </a:t>
            </a:r>
            <a:r>
              <a:rPr lang="en-US" dirty="0">
                <a:solidFill>
                  <a:srgbClr val="014D63"/>
                </a:solidFill>
                <a:latin typeface="Montserrat"/>
                <a:ea typeface="+mn-lt"/>
                <a:cs typeface="+mn-lt"/>
              </a:rPr>
              <a:t>In Home Tech Visits</a:t>
            </a:r>
          </a:p>
          <a:p>
            <a:pPr>
              <a:lnSpc>
                <a:spcPct val="150000"/>
              </a:lnSpc>
            </a:pPr>
            <a:r>
              <a:rPr lang="en-US" dirty="0">
                <a:solidFill>
                  <a:schemeClr val="tx2"/>
                </a:solidFill>
                <a:latin typeface="Montserrat"/>
              </a:rPr>
              <a:t>• Home Protection Plan</a:t>
            </a:r>
            <a:endParaRPr lang="en-US" dirty="0">
              <a:solidFill>
                <a:srgbClr val="014D63"/>
              </a:solidFill>
              <a:latin typeface="Montserrat"/>
              <a:ea typeface="+mn-lt"/>
              <a:cs typeface="+mn-lt"/>
            </a:endParaRPr>
          </a:p>
          <a:p>
            <a:pPr>
              <a:lnSpc>
                <a:spcPct val="150000"/>
              </a:lnSpc>
            </a:pPr>
            <a:r>
              <a:rPr lang="en-US" dirty="0">
                <a:solidFill>
                  <a:schemeClr val="tx2"/>
                </a:solidFill>
                <a:latin typeface="Montserrat"/>
              </a:rPr>
              <a:t>• 1 additional </a:t>
            </a:r>
            <a:r>
              <a:rPr lang="en-US" dirty="0" err="1">
                <a:solidFill>
                  <a:schemeClr val="tx2"/>
                </a:solidFill>
                <a:latin typeface="Montserrat"/>
              </a:rPr>
              <a:t>WiFi</a:t>
            </a:r>
            <a:r>
              <a:rPr lang="en-US" dirty="0">
                <a:solidFill>
                  <a:schemeClr val="tx2"/>
                </a:solidFill>
                <a:latin typeface="Montserrat"/>
              </a:rPr>
              <a:t> Pod</a:t>
            </a:r>
          </a:p>
          <a:p>
            <a:pPr>
              <a:lnSpc>
                <a:spcPct val="150000"/>
              </a:lnSpc>
            </a:pPr>
            <a:r>
              <a:rPr lang="en-US" dirty="0">
                <a:solidFill>
                  <a:schemeClr val="tx2"/>
                </a:solidFill>
                <a:latin typeface="Montserrat"/>
              </a:rPr>
              <a:t>• 1 Set-Top Box</a:t>
            </a:r>
          </a:p>
          <a:p>
            <a:pPr>
              <a:lnSpc>
                <a:spcPct val="150000"/>
              </a:lnSpc>
            </a:pPr>
            <a:r>
              <a:rPr lang="en-US" dirty="0">
                <a:solidFill>
                  <a:schemeClr val="tx2"/>
                </a:solidFill>
                <a:latin typeface="Montserrat"/>
              </a:rPr>
              <a:t>• 300 DVR Hours</a:t>
            </a:r>
          </a:p>
        </p:txBody>
      </p:sp>
      <p:sp>
        <p:nvSpPr>
          <p:cNvPr id="16" name="TextBox 15">
            <a:extLst>
              <a:ext uri="{FF2B5EF4-FFF2-40B4-BE49-F238E27FC236}">
                <a16:creationId xmlns:a16="http://schemas.microsoft.com/office/drawing/2014/main" id="{FE50C557-3372-504C-C6B5-136020AF96BB}"/>
              </a:ext>
            </a:extLst>
          </p:cNvPr>
          <p:cNvSpPr txBox="1"/>
          <p:nvPr/>
        </p:nvSpPr>
        <p:spPr>
          <a:xfrm>
            <a:off x="6468128" y="1817707"/>
            <a:ext cx="5375029" cy="36054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dirty="0">
                <a:solidFill>
                  <a:schemeClr val="tx2"/>
                </a:solidFill>
                <a:latin typeface="Montserrat"/>
              </a:rPr>
              <a:t>• Up to 2.5 GIG / 2.5 GIG Speed Upgrade </a:t>
            </a:r>
            <a:endParaRPr lang="en-US" dirty="0">
              <a:solidFill>
                <a:schemeClr val="tx2"/>
              </a:solidFill>
              <a:latin typeface="Montserrat"/>
              <a:cs typeface="Calibri"/>
            </a:endParaRPr>
          </a:p>
          <a:p>
            <a:pPr>
              <a:lnSpc>
                <a:spcPct val="150000"/>
              </a:lnSpc>
            </a:pPr>
            <a:r>
              <a:rPr lang="en-US" dirty="0">
                <a:solidFill>
                  <a:schemeClr val="tx2"/>
                </a:solidFill>
                <a:latin typeface="Montserrat"/>
              </a:rPr>
              <a:t>• </a:t>
            </a:r>
            <a:r>
              <a:rPr lang="en-US" dirty="0" err="1">
                <a:solidFill>
                  <a:schemeClr val="tx2"/>
                </a:solidFill>
                <a:latin typeface="Montserrat"/>
              </a:rPr>
              <a:t>WiFi</a:t>
            </a:r>
            <a:r>
              <a:rPr lang="en-US" dirty="0">
                <a:solidFill>
                  <a:schemeClr val="tx2"/>
                </a:solidFill>
                <a:latin typeface="Montserrat"/>
              </a:rPr>
              <a:t> pods where needed for full in-home *</a:t>
            </a:r>
            <a:endParaRPr lang="en-US" dirty="0">
              <a:solidFill>
                <a:schemeClr val="tx2"/>
              </a:solidFill>
              <a:latin typeface="Montserrat"/>
              <a:cs typeface="Calibri"/>
            </a:endParaRPr>
          </a:p>
          <a:p>
            <a:r>
              <a:rPr lang="en-US" dirty="0">
                <a:solidFill>
                  <a:schemeClr val="tx2"/>
                </a:solidFill>
                <a:latin typeface="Montserrat"/>
              </a:rPr>
              <a:t>• Home Protection Plan </a:t>
            </a:r>
            <a:endParaRPr lang="en-US" dirty="0">
              <a:solidFill>
                <a:schemeClr val="tx2"/>
              </a:solidFill>
              <a:latin typeface="Montserrat"/>
              <a:cs typeface="Calibri"/>
            </a:endParaRPr>
          </a:p>
          <a:p>
            <a:pPr>
              <a:lnSpc>
                <a:spcPct val="150000"/>
              </a:lnSpc>
            </a:pPr>
            <a:r>
              <a:rPr lang="en-US" dirty="0">
                <a:solidFill>
                  <a:schemeClr val="tx2"/>
                </a:solidFill>
                <a:latin typeface="Montserrat"/>
              </a:rPr>
              <a:t>• Additional Set-Top boxes for all your TV’s* </a:t>
            </a:r>
            <a:endParaRPr lang="en-US" dirty="0">
              <a:solidFill>
                <a:schemeClr val="tx2"/>
              </a:solidFill>
              <a:latin typeface="Montserrat"/>
              <a:cs typeface="Calibri"/>
            </a:endParaRPr>
          </a:p>
          <a:p>
            <a:pPr>
              <a:lnSpc>
                <a:spcPct val="150000"/>
              </a:lnSpc>
            </a:pPr>
            <a:r>
              <a:rPr lang="en-US" dirty="0">
                <a:solidFill>
                  <a:schemeClr val="tx2"/>
                </a:solidFill>
                <a:latin typeface="Montserrat"/>
              </a:rPr>
              <a:t>• 500 DVR Hours </a:t>
            </a:r>
          </a:p>
          <a:p>
            <a:pPr>
              <a:lnSpc>
                <a:spcPct val="150000"/>
              </a:lnSpc>
            </a:pPr>
            <a:r>
              <a:rPr lang="en-US" dirty="0">
                <a:solidFill>
                  <a:schemeClr val="tx2"/>
                </a:solidFill>
                <a:latin typeface="Montserrat"/>
              </a:rPr>
              <a:t>• </a:t>
            </a:r>
            <a:r>
              <a:rPr lang="en-US" dirty="0">
                <a:solidFill>
                  <a:srgbClr val="014D63"/>
                </a:solidFill>
                <a:latin typeface="Montserrat"/>
                <a:ea typeface="+mn-lt"/>
                <a:cs typeface="+mn-lt"/>
              </a:rPr>
              <a:t>In Home Tech Visits</a:t>
            </a:r>
          </a:p>
          <a:p>
            <a:pPr>
              <a:lnSpc>
                <a:spcPct val="150000"/>
              </a:lnSpc>
            </a:pPr>
            <a:r>
              <a:rPr lang="en-US" dirty="0">
                <a:solidFill>
                  <a:schemeClr val="tx2"/>
                </a:solidFill>
                <a:latin typeface="Montserrat"/>
              </a:rPr>
              <a:t>• Home Protection Plan</a:t>
            </a:r>
            <a:endParaRPr lang="en-US" dirty="0">
              <a:solidFill>
                <a:srgbClr val="014D63"/>
              </a:solidFill>
              <a:latin typeface="Montserrat"/>
              <a:ea typeface="+mn-lt"/>
              <a:cs typeface="+mn-lt"/>
            </a:endParaRPr>
          </a:p>
          <a:p>
            <a:pPr>
              <a:lnSpc>
                <a:spcPct val="150000"/>
              </a:lnSpc>
            </a:pPr>
            <a:r>
              <a:rPr lang="en-US" dirty="0">
                <a:solidFill>
                  <a:schemeClr val="tx2"/>
                </a:solidFill>
                <a:latin typeface="Montserrat"/>
              </a:rPr>
              <a:t>• Unlimited In-home Concurrent Streams</a:t>
            </a:r>
          </a:p>
          <a:p>
            <a:pPr>
              <a:lnSpc>
                <a:spcPct val="150000"/>
              </a:lnSpc>
            </a:pPr>
            <a:r>
              <a:rPr lang="en-US" sz="1600" i="1" dirty="0">
                <a:solidFill>
                  <a:schemeClr val="tx2"/>
                </a:solidFill>
                <a:latin typeface="Montserrat"/>
              </a:rPr>
              <a:t>(Refer to Service and Price Guide for explanation)</a:t>
            </a:r>
          </a:p>
        </p:txBody>
      </p:sp>
      <p:sp>
        <p:nvSpPr>
          <p:cNvPr id="4" name="TextBox 3">
            <a:extLst>
              <a:ext uri="{FF2B5EF4-FFF2-40B4-BE49-F238E27FC236}">
                <a16:creationId xmlns:a16="http://schemas.microsoft.com/office/drawing/2014/main" id="{E68BE753-605A-E904-9D1F-6AA9BFB31343}"/>
              </a:ext>
            </a:extLst>
          </p:cNvPr>
          <p:cNvSpPr txBox="1"/>
          <p:nvPr/>
        </p:nvSpPr>
        <p:spPr>
          <a:xfrm>
            <a:off x="9902594" y="1439503"/>
            <a:ext cx="216758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solidFill>
                <a:srgbClr val="FF0000"/>
              </a:solidFill>
              <a:highlight>
                <a:srgbClr val="FFFF00"/>
              </a:highlight>
              <a:cs typeface="Calibri"/>
            </a:endParaRPr>
          </a:p>
        </p:txBody>
      </p:sp>
    </p:spTree>
    <p:extLst>
      <p:ext uri="{BB962C8B-B14F-4D97-AF65-F5344CB8AC3E}">
        <p14:creationId xmlns:p14="http://schemas.microsoft.com/office/powerpoint/2010/main" val="3926132999"/>
      </p:ext>
    </p:extLst>
  </p:cSld>
  <p:clrMapOvr>
    <a:masterClrMapping/>
  </p:clrMapOvr>
  <p:extLst>
    <p:ext uri="{6950BFC3-D8DA-4A85-94F7-54DA5524770B}">
      <p188:commentRel xmlns:p188="http://schemas.microsoft.com/office/powerpoint/2018/8/main" r:id="rId3"/>
    </p:ext>
  </p:extLs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4C3B03-8A06-B16F-FA76-C8A9ED41F96E}"/>
              </a:ext>
            </a:extLst>
          </p:cNvPr>
          <p:cNvSpPr>
            <a:spLocks noGrp="1"/>
          </p:cNvSpPr>
          <p:nvPr>
            <p:ph type="title"/>
          </p:nvPr>
        </p:nvSpPr>
        <p:spPr>
          <a:xfrm>
            <a:off x="246895" y="-69608"/>
            <a:ext cx="11136984" cy="1325563"/>
          </a:xfrm>
        </p:spPr>
        <p:txBody>
          <a:bodyPr vert="horz" lIns="91440" tIns="45720" rIns="91440" bIns="45720" rtlCol="0" anchor="ctr">
            <a:noAutofit/>
          </a:bodyPr>
          <a:lstStyle/>
          <a:p>
            <a:r>
              <a:rPr lang="en-US" sz="4000">
                <a:solidFill>
                  <a:srgbClr val="04617B"/>
                </a:solidFill>
                <a:latin typeface="Montserrat" panose="00000500000000000000" pitchFamily="2" charset="0"/>
              </a:rPr>
              <a:t>Phone Services</a:t>
            </a:r>
          </a:p>
        </p:txBody>
      </p:sp>
      <p:pic>
        <p:nvPicPr>
          <p:cNvPr id="9" name="Picture 8">
            <a:extLst>
              <a:ext uri="{FF2B5EF4-FFF2-40B4-BE49-F238E27FC236}">
                <a16:creationId xmlns:a16="http://schemas.microsoft.com/office/drawing/2014/main" id="{6031F457-8D19-4C48-A19D-63601D8CA40B}"/>
              </a:ext>
            </a:extLst>
          </p:cNvPr>
          <p:cNvPicPr>
            <a:picLocks noChangeAspect="1"/>
          </p:cNvPicPr>
          <p:nvPr/>
        </p:nvPicPr>
        <p:blipFill>
          <a:blip r:embed="rId3"/>
          <a:stretch>
            <a:fillRect/>
          </a:stretch>
        </p:blipFill>
        <p:spPr>
          <a:xfrm>
            <a:off x="6496693" y="124768"/>
            <a:ext cx="3054367" cy="2904647"/>
          </a:xfrm>
          <a:prstGeom prst="rect">
            <a:avLst/>
          </a:prstGeom>
        </p:spPr>
      </p:pic>
      <p:sp>
        <p:nvSpPr>
          <p:cNvPr id="13" name="object 12">
            <a:extLst>
              <a:ext uri="{FF2B5EF4-FFF2-40B4-BE49-F238E27FC236}">
                <a16:creationId xmlns:a16="http://schemas.microsoft.com/office/drawing/2014/main" id="{04C06CFD-5CC7-43F3-8D27-72CB16E19507}"/>
              </a:ext>
            </a:extLst>
          </p:cNvPr>
          <p:cNvSpPr txBox="1"/>
          <p:nvPr/>
        </p:nvSpPr>
        <p:spPr>
          <a:xfrm>
            <a:off x="6705611" y="903304"/>
            <a:ext cx="3043649" cy="1276985"/>
          </a:xfrm>
          <a:prstGeom prst="rect">
            <a:avLst/>
          </a:prstGeom>
        </p:spPr>
        <p:txBody>
          <a:bodyPr vert="horz" wrap="square" lIns="0" tIns="12065" rIns="0" bIns="0" rtlCol="0" anchor="t">
            <a:spAutoFit/>
          </a:bodyPr>
          <a:lstStyle/>
          <a:p>
            <a:pPr marL="50800" marR="113030" indent="-1270" algn="ctr">
              <a:lnSpc>
                <a:spcPct val="100000"/>
              </a:lnSpc>
              <a:spcBef>
                <a:spcPts val="95"/>
              </a:spcBef>
            </a:pPr>
            <a:r>
              <a:rPr sz="2000" b="1" i="1" spc="-10">
                <a:solidFill>
                  <a:srgbClr val="0086BA"/>
                </a:solidFill>
                <a:latin typeface="Montserrat"/>
                <a:cs typeface="Arial"/>
              </a:rPr>
              <a:t>Special </a:t>
            </a:r>
            <a:r>
              <a:rPr sz="2000" b="1" i="1" spc="-60">
                <a:solidFill>
                  <a:srgbClr val="0086BA"/>
                </a:solidFill>
                <a:latin typeface="Montserrat"/>
                <a:cs typeface="Arial"/>
              </a:rPr>
              <a:t>Community</a:t>
            </a:r>
            <a:r>
              <a:rPr sz="2000" b="1" i="1" spc="-65">
                <a:solidFill>
                  <a:srgbClr val="0086BA"/>
                </a:solidFill>
                <a:latin typeface="Montserrat"/>
                <a:cs typeface="Arial"/>
              </a:rPr>
              <a:t> </a:t>
            </a:r>
            <a:r>
              <a:rPr sz="2000" b="1" i="1" spc="-20">
                <a:solidFill>
                  <a:srgbClr val="0086BA"/>
                </a:solidFill>
                <a:latin typeface="Montserrat"/>
                <a:cs typeface="Arial"/>
              </a:rPr>
              <a:t>Rate!</a:t>
            </a:r>
            <a:endParaRPr lang="en-US" sz="2000">
              <a:latin typeface="Montserrat"/>
              <a:cs typeface="Arial"/>
            </a:endParaRPr>
          </a:p>
          <a:p>
            <a:pPr algn="ctr">
              <a:lnSpc>
                <a:spcPct val="100000"/>
              </a:lnSpc>
              <a:spcBef>
                <a:spcPts val="735"/>
              </a:spcBef>
            </a:pPr>
            <a:r>
              <a:rPr sz="3600" b="1" spc="-10">
                <a:solidFill>
                  <a:srgbClr val="171616"/>
                </a:solidFill>
                <a:latin typeface="Montserrat"/>
                <a:cs typeface="Arial"/>
              </a:rPr>
              <a:t>$19.95/</a:t>
            </a:r>
            <a:r>
              <a:rPr lang="en-US" sz="3600" b="1" spc="-10" err="1">
                <a:solidFill>
                  <a:srgbClr val="171616"/>
                </a:solidFill>
                <a:latin typeface="Montserrat"/>
                <a:cs typeface="Arial"/>
              </a:rPr>
              <a:t>mo</a:t>
            </a:r>
            <a:endParaRPr sz="3600" err="1">
              <a:latin typeface="Montserrat" panose="00000500000000000000" pitchFamily="2" charset="0"/>
              <a:cs typeface="Arial"/>
            </a:endParaRPr>
          </a:p>
        </p:txBody>
      </p:sp>
      <p:sp>
        <p:nvSpPr>
          <p:cNvPr id="15" name="object 11">
            <a:extLst>
              <a:ext uri="{FF2B5EF4-FFF2-40B4-BE49-F238E27FC236}">
                <a16:creationId xmlns:a16="http://schemas.microsoft.com/office/drawing/2014/main" id="{2AA9EB91-F45E-4A42-B70D-D6C31BFF4C30}"/>
              </a:ext>
            </a:extLst>
          </p:cNvPr>
          <p:cNvSpPr txBox="1"/>
          <p:nvPr/>
        </p:nvSpPr>
        <p:spPr>
          <a:xfrm>
            <a:off x="356883" y="876145"/>
            <a:ext cx="6581055" cy="4149854"/>
          </a:xfrm>
          <a:prstGeom prst="rect">
            <a:avLst/>
          </a:prstGeom>
        </p:spPr>
        <p:txBody>
          <a:bodyPr vert="horz" wrap="square" lIns="0" tIns="193040" rIns="0" bIns="0" rtlCol="0" anchor="t">
            <a:spAutoFit/>
          </a:bodyPr>
          <a:lstStyle/>
          <a:p>
            <a:pPr>
              <a:spcAft>
                <a:spcPts val="600"/>
              </a:spcAft>
              <a:buClr>
                <a:srgbClr val="067AAB"/>
              </a:buClr>
              <a:tabLst>
                <a:tab pos="241300" algn="l"/>
              </a:tabLst>
            </a:pPr>
            <a:r>
              <a:rPr lang="en-US" sz="2800" b="1">
                <a:solidFill>
                  <a:srgbClr val="007CB1"/>
                </a:solidFill>
                <a:latin typeface="Montserrat" panose="00000500000000000000" pitchFamily="2" charset="0"/>
                <a:cs typeface="Arial"/>
              </a:rPr>
              <a:t>A</a:t>
            </a:r>
            <a:r>
              <a:rPr lang="en-US" sz="2800" b="1" spc="-220">
                <a:solidFill>
                  <a:srgbClr val="007CB1"/>
                </a:solidFill>
                <a:latin typeface="Montserrat" panose="00000500000000000000" pitchFamily="2" charset="0"/>
                <a:cs typeface="Arial"/>
              </a:rPr>
              <a:t> </a:t>
            </a:r>
            <a:r>
              <a:rPr lang="en-US" sz="2800" b="1" spc="-85">
                <a:solidFill>
                  <a:srgbClr val="007CB1"/>
                </a:solidFill>
                <a:latin typeface="Montserrat" panose="00000500000000000000" pitchFamily="2" charset="0"/>
                <a:cs typeface="Arial"/>
              </a:rPr>
              <a:t>Service</a:t>
            </a:r>
            <a:r>
              <a:rPr lang="en-US" sz="2800" b="1" spc="-90">
                <a:solidFill>
                  <a:srgbClr val="007CB1"/>
                </a:solidFill>
                <a:latin typeface="Montserrat" panose="00000500000000000000" pitchFamily="2" charset="0"/>
                <a:cs typeface="Arial"/>
              </a:rPr>
              <a:t> </a:t>
            </a:r>
            <a:r>
              <a:rPr lang="en-US" sz="2800" b="1" spc="-60">
                <a:solidFill>
                  <a:srgbClr val="007CB1"/>
                </a:solidFill>
                <a:latin typeface="Montserrat" panose="00000500000000000000" pitchFamily="2" charset="0"/>
                <a:cs typeface="Arial"/>
              </a:rPr>
              <a:t>You</a:t>
            </a:r>
            <a:r>
              <a:rPr lang="en-US" sz="2800" b="1" spc="-165">
                <a:solidFill>
                  <a:srgbClr val="007CB1"/>
                </a:solidFill>
                <a:latin typeface="Montserrat" panose="00000500000000000000" pitchFamily="2" charset="0"/>
                <a:cs typeface="Arial"/>
              </a:rPr>
              <a:t> </a:t>
            </a:r>
            <a:r>
              <a:rPr lang="en-US" sz="2800" b="1" spc="-50">
                <a:solidFill>
                  <a:srgbClr val="007CB1"/>
                </a:solidFill>
                <a:latin typeface="Montserrat" panose="00000500000000000000" pitchFamily="2" charset="0"/>
                <a:cs typeface="Arial"/>
              </a:rPr>
              <a:t>Can</a:t>
            </a:r>
            <a:r>
              <a:rPr lang="en-US" sz="2800" b="1" spc="-150">
                <a:solidFill>
                  <a:srgbClr val="007CB1"/>
                </a:solidFill>
                <a:latin typeface="Montserrat" panose="00000500000000000000" pitchFamily="2" charset="0"/>
                <a:cs typeface="Arial"/>
              </a:rPr>
              <a:t> </a:t>
            </a:r>
            <a:r>
              <a:rPr lang="en-US" sz="2800" b="1" spc="-65">
                <a:solidFill>
                  <a:srgbClr val="007CB1"/>
                </a:solidFill>
                <a:latin typeface="Montserrat" panose="00000500000000000000" pitchFamily="2" charset="0"/>
                <a:cs typeface="Arial"/>
              </a:rPr>
              <a:t>Count </a:t>
            </a:r>
            <a:r>
              <a:rPr lang="en-US" sz="2800" b="1" spc="-25">
                <a:solidFill>
                  <a:srgbClr val="007CB1"/>
                </a:solidFill>
                <a:latin typeface="Montserrat" panose="00000500000000000000" pitchFamily="2" charset="0"/>
                <a:cs typeface="Arial"/>
              </a:rPr>
              <a:t>On</a:t>
            </a:r>
            <a:endParaRPr lang="en-US" sz="2800">
              <a:latin typeface="Montserrat" panose="00000500000000000000" pitchFamily="2" charset="0"/>
              <a:cs typeface="Arial"/>
            </a:endParaRPr>
          </a:p>
          <a:p>
            <a:pPr marL="91440" indent="-342900">
              <a:spcAft>
                <a:spcPts val="600"/>
              </a:spcAft>
              <a:buClr>
                <a:srgbClr val="067AAB"/>
              </a:buClr>
              <a:buFont typeface="Arial" panose="020B0604020202020204" pitchFamily="34" charset="0"/>
              <a:buChar char="•"/>
              <a:tabLst>
                <a:tab pos="241300" algn="l"/>
              </a:tabLst>
            </a:pPr>
            <a:r>
              <a:rPr lang="en-US" sz="2200">
                <a:solidFill>
                  <a:srgbClr val="393D43"/>
                </a:solidFill>
                <a:latin typeface="Montserrat"/>
                <a:cs typeface="Arial"/>
              </a:rPr>
              <a:t>Perfect sounding connection</a:t>
            </a:r>
          </a:p>
          <a:p>
            <a:pPr marL="91440" indent="-342900">
              <a:spcAft>
                <a:spcPts val="600"/>
              </a:spcAft>
              <a:buClr>
                <a:srgbClr val="067AAB"/>
              </a:buClr>
              <a:buFont typeface="Arial" panose="020B0604020202020204" pitchFamily="34" charset="0"/>
              <a:buChar char="•"/>
              <a:tabLst>
                <a:tab pos="241300" algn="l"/>
              </a:tabLst>
            </a:pPr>
            <a:r>
              <a:rPr sz="2200">
                <a:solidFill>
                  <a:srgbClr val="393D43"/>
                </a:solidFill>
                <a:latin typeface="Montserrat"/>
                <a:cs typeface="Arial"/>
              </a:rPr>
              <a:t>Never</a:t>
            </a:r>
            <a:r>
              <a:rPr sz="2200" spc="-90">
                <a:solidFill>
                  <a:srgbClr val="393D43"/>
                </a:solidFill>
                <a:latin typeface="Montserrat"/>
                <a:cs typeface="Arial"/>
              </a:rPr>
              <a:t> </a:t>
            </a:r>
            <a:r>
              <a:rPr sz="2200">
                <a:solidFill>
                  <a:srgbClr val="393D43"/>
                </a:solidFill>
                <a:latin typeface="Montserrat"/>
                <a:cs typeface="Arial"/>
              </a:rPr>
              <a:t>worry</a:t>
            </a:r>
            <a:r>
              <a:rPr sz="2200" spc="-90">
                <a:solidFill>
                  <a:srgbClr val="393D43"/>
                </a:solidFill>
                <a:latin typeface="Montserrat"/>
                <a:cs typeface="Arial"/>
              </a:rPr>
              <a:t> </a:t>
            </a:r>
            <a:r>
              <a:rPr sz="2200">
                <a:solidFill>
                  <a:srgbClr val="393D43"/>
                </a:solidFill>
                <a:latin typeface="Montserrat"/>
                <a:cs typeface="Arial"/>
              </a:rPr>
              <a:t>about</a:t>
            </a:r>
            <a:r>
              <a:rPr sz="2200" spc="-30">
                <a:solidFill>
                  <a:srgbClr val="393D43"/>
                </a:solidFill>
                <a:latin typeface="Montserrat"/>
                <a:cs typeface="Arial"/>
              </a:rPr>
              <a:t> </a:t>
            </a:r>
            <a:r>
              <a:rPr sz="2200">
                <a:solidFill>
                  <a:srgbClr val="393D43"/>
                </a:solidFill>
                <a:latin typeface="Montserrat"/>
                <a:cs typeface="Arial"/>
              </a:rPr>
              <a:t>your</a:t>
            </a:r>
            <a:r>
              <a:rPr sz="2200" spc="-65">
                <a:solidFill>
                  <a:srgbClr val="393D43"/>
                </a:solidFill>
                <a:latin typeface="Montserrat"/>
                <a:cs typeface="Arial"/>
              </a:rPr>
              <a:t> </a:t>
            </a:r>
            <a:r>
              <a:rPr sz="2200">
                <a:solidFill>
                  <a:srgbClr val="393D43"/>
                </a:solidFill>
                <a:latin typeface="Montserrat"/>
                <a:cs typeface="Arial"/>
              </a:rPr>
              <a:t>call</a:t>
            </a:r>
            <a:r>
              <a:rPr sz="2200" spc="-85">
                <a:solidFill>
                  <a:srgbClr val="393D43"/>
                </a:solidFill>
                <a:latin typeface="Montserrat"/>
                <a:cs typeface="Arial"/>
              </a:rPr>
              <a:t> </a:t>
            </a:r>
            <a:r>
              <a:rPr sz="2200" spc="-10">
                <a:solidFill>
                  <a:srgbClr val="393D43"/>
                </a:solidFill>
                <a:latin typeface="Montserrat"/>
                <a:cs typeface="Arial"/>
              </a:rPr>
              <a:t>coverage</a:t>
            </a:r>
            <a:endParaRPr sz="2200">
              <a:latin typeface="Montserrat"/>
              <a:cs typeface="Arial"/>
            </a:endParaRPr>
          </a:p>
          <a:p>
            <a:pPr marL="91440" marR="5080" indent="-342900">
              <a:spcAft>
                <a:spcPts val="600"/>
              </a:spcAft>
              <a:buClr>
                <a:srgbClr val="067AAB"/>
              </a:buClr>
              <a:buFont typeface="Arial" panose="020B0604020202020204" pitchFamily="34" charset="0"/>
              <a:buChar char="•"/>
              <a:tabLst>
                <a:tab pos="241300" algn="l"/>
              </a:tabLst>
            </a:pPr>
            <a:r>
              <a:rPr sz="2200">
                <a:solidFill>
                  <a:srgbClr val="393D43"/>
                </a:solidFill>
                <a:latin typeface="Montserrat"/>
                <a:cs typeface="Arial"/>
              </a:rPr>
              <a:t>29</a:t>
            </a:r>
            <a:r>
              <a:rPr sz="2200" spc="30">
                <a:solidFill>
                  <a:srgbClr val="393D43"/>
                </a:solidFill>
                <a:latin typeface="Montserrat"/>
                <a:cs typeface="Arial"/>
              </a:rPr>
              <a:t> </a:t>
            </a:r>
            <a:r>
              <a:rPr sz="2200">
                <a:solidFill>
                  <a:srgbClr val="393D43"/>
                </a:solidFill>
                <a:latin typeface="Montserrat"/>
                <a:cs typeface="Arial"/>
              </a:rPr>
              <a:t>popular</a:t>
            </a:r>
            <a:r>
              <a:rPr sz="2200" spc="-85">
                <a:solidFill>
                  <a:srgbClr val="393D43"/>
                </a:solidFill>
                <a:latin typeface="Montserrat"/>
                <a:cs typeface="Arial"/>
              </a:rPr>
              <a:t> </a:t>
            </a:r>
            <a:r>
              <a:rPr sz="2200">
                <a:solidFill>
                  <a:srgbClr val="393D43"/>
                </a:solidFill>
                <a:latin typeface="Montserrat"/>
                <a:cs typeface="Arial"/>
              </a:rPr>
              <a:t>calling</a:t>
            </a:r>
            <a:r>
              <a:rPr sz="2200" spc="-40">
                <a:solidFill>
                  <a:srgbClr val="393D43"/>
                </a:solidFill>
                <a:latin typeface="Montserrat"/>
                <a:cs typeface="Arial"/>
              </a:rPr>
              <a:t> </a:t>
            </a:r>
            <a:r>
              <a:rPr sz="2200" spc="-10">
                <a:solidFill>
                  <a:srgbClr val="393D43"/>
                </a:solidFill>
                <a:latin typeface="Montserrat"/>
                <a:cs typeface="Arial"/>
              </a:rPr>
              <a:t>features</a:t>
            </a:r>
            <a:r>
              <a:rPr sz="2200" spc="-110">
                <a:solidFill>
                  <a:srgbClr val="393D43"/>
                </a:solidFill>
                <a:latin typeface="Montserrat"/>
                <a:cs typeface="Arial"/>
              </a:rPr>
              <a:t> </a:t>
            </a:r>
            <a:r>
              <a:rPr sz="2200">
                <a:solidFill>
                  <a:srgbClr val="393D43"/>
                </a:solidFill>
                <a:latin typeface="Montserrat"/>
                <a:cs typeface="Arial"/>
              </a:rPr>
              <a:t>including</a:t>
            </a:r>
            <a:r>
              <a:rPr sz="2200" spc="-10">
                <a:solidFill>
                  <a:srgbClr val="393D43"/>
                </a:solidFill>
                <a:latin typeface="Montserrat"/>
                <a:cs typeface="Arial"/>
              </a:rPr>
              <a:t> </a:t>
            </a:r>
            <a:r>
              <a:rPr sz="2200">
                <a:solidFill>
                  <a:srgbClr val="393D43"/>
                </a:solidFill>
                <a:latin typeface="Montserrat"/>
                <a:cs typeface="Arial"/>
              </a:rPr>
              <a:t>call</a:t>
            </a:r>
            <a:r>
              <a:rPr sz="2200" spc="-65">
                <a:solidFill>
                  <a:srgbClr val="393D43"/>
                </a:solidFill>
                <a:latin typeface="Montserrat"/>
                <a:cs typeface="Arial"/>
              </a:rPr>
              <a:t> </a:t>
            </a:r>
            <a:r>
              <a:rPr sz="2200" spc="-10">
                <a:solidFill>
                  <a:srgbClr val="393D43"/>
                </a:solidFill>
                <a:latin typeface="Montserrat"/>
                <a:cs typeface="Arial"/>
              </a:rPr>
              <a:t>waiting </a:t>
            </a:r>
            <a:r>
              <a:rPr sz="2200">
                <a:solidFill>
                  <a:srgbClr val="393D43"/>
                </a:solidFill>
                <a:latin typeface="Montserrat"/>
                <a:cs typeface="Arial"/>
              </a:rPr>
              <a:t>and</a:t>
            </a:r>
            <a:r>
              <a:rPr sz="2200" spc="-114">
                <a:solidFill>
                  <a:srgbClr val="393D43"/>
                </a:solidFill>
                <a:latin typeface="Montserrat"/>
                <a:cs typeface="Arial"/>
              </a:rPr>
              <a:t> </a:t>
            </a:r>
            <a:r>
              <a:rPr sz="2200" spc="-10">
                <a:solidFill>
                  <a:srgbClr val="393D43"/>
                </a:solidFill>
                <a:latin typeface="Montserrat"/>
                <a:cs typeface="Arial"/>
              </a:rPr>
              <a:t>anonymous</a:t>
            </a:r>
            <a:r>
              <a:rPr sz="2200" spc="-155">
                <a:solidFill>
                  <a:srgbClr val="393D43"/>
                </a:solidFill>
                <a:latin typeface="Montserrat"/>
                <a:cs typeface="Arial"/>
              </a:rPr>
              <a:t> </a:t>
            </a:r>
            <a:r>
              <a:rPr sz="2200">
                <a:solidFill>
                  <a:srgbClr val="393D43"/>
                </a:solidFill>
                <a:latin typeface="Montserrat"/>
                <a:cs typeface="Arial"/>
              </a:rPr>
              <a:t>call</a:t>
            </a:r>
            <a:r>
              <a:rPr sz="2200" spc="-120">
                <a:solidFill>
                  <a:srgbClr val="393D43"/>
                </a:solidFill>
                <a:latin typeface="Montserrat"/>
                <a:cs typeface="Arial"/>
              </a:rPr>
              <a:t> </a:t>
            </a:r>
            <a:r>
              <a:rPr sz="2200" spc="-10">
                <a:solidFill>
                  <a:srgbClr val="393D43"/>
                </a:solidFill>
                <a:latin typeface="Montserrat"/>
                <a:cs typeface="Arial"/>
              </a:rPr>
              <a:t>rejection</a:t>
            </a:r>
            <a:endParaRPr sz="2200">
              <a:latin typeface="Montserrat"/>
              <a:cs typeface="Arial"/>
            </a:endParaRPr>
          </a:p>
          <a:p>
            <a:pPr>
              <a:spcAft>
                <a:spcPts val="600"/>
              </a:spcAft>
            </a:pPr>
            <a:endParaRPr lang="en-US" sz="1200" b="1" spc="-40">
              <a:solidFill>
                <a:srgbClr val="067AAB"/>
              </a:solidFill>
              <a:latin typeface="Montserrat" panose="00000500000000000000" pitchFamily="2" charset="0"/>
              <a:cs typeface="Arial"/>
            </a:endParaRPr>
          </a:p>
          <a:p>
            <a:pPr>
              <a:spcAft>
                <a:spcPts val="600"/>
              </a:spcAft>
            </a:pPr>
            <a:r>
              <a:rPr sz="2800" b="1" spc="-40">
                <a:solidFill>
                  <a:srgbClr val="067AAB"/>
                </a:solidFill>
                <a:latin typeface="Montserrat" panose="00000500000000000000" pitchFamily="2" charset="0"/>
                <a:cs typeface="Arial"/>
              </a:rPr>
              <a:t>Great</a:t>
            </a:r>
            <a:r>
              <a:rPr sz="2800" b="1" spc="-90">
                <a:solidFill>
                  <a:srgbClr val="067AAB"/>
                </a:solidFill>
                <a:latin typeface="Montserrat" panose="00000500000000000000" pitchFamily="2" charset="0"/>
                <a:cs typeface="Arial"/>
              </a:rPr>
              <a:t> </a:t>
            </a:r>
            <a:r>
              <a:rPr sz="2800" b="1" spc="-50">
                <a:solidFill>
                  <a:srgbClr val="067AAB"/>
                </a:solidFill>
                <a:latin typeface="Montserrat" panose="00000500000000000000" pitchFamily="2" charset="0"/>
                <a:cs typeface="Arial"/>
              </a:rPr>
              <a:t>International</a:t>
            </a:r>
            <a:r>
              <a:rPr sz="2800" b="1" spc="-195">
                <a:solidFill>
                  <a:srgbClr val="067AAB"/>
                </a:solidFill>
                <a:latin typeface="Montserrat" panose="00000500000000000000" pitchFamily="2" charset="0"/>
                <a:cs typeface="Arial"/>
              </a:rPr>
              <a:t> </a:t>
            </a:r>
            <a:r>
              <a:rPr sz="2800" b="1" spc="-10">
                <a:solidFill>
                  <a:srgbClr val="067AAB"/>
                </a:solidFill>
                <a:latin typeface="Montserrat" panose="00000500000000000000" pitchFamily="2" charset="0"/>
                <a:cs typeface="Arial"/>
              </a:rPr>
              <a:t>Rates</a:t>
            </a:r>
            <a:endParaRPr sz="2800">
              <a:latin typeface="Montserrat" panose="00000500000000000000" pitchFamily="2" charset="0"/>
              <a:cs typeface="Arial"/>
            </a:endParaRPr>
          </a:p>
          <a:p>
            <a:pPr marL="205740" indent="-342900">
              <a:spcAft>
                <a:spcPts val="600"/>
              </a:spcAft>
              <a:buClr>
                <a:srgbClr val="067AAB"/>
              </a:buClr>
              <a:buFont typeface="Arial" panose="020B0604020202020204" pitchFamily="34" charset="0"/>
              <a:buChar char="•"/>
              <a:tabLst>
                <a:tab pos="241300" algn="l"/>
              </a:tabLst>
            </a:pPr>
            <a:r>
              <a:rPr sz="2200">
                <a:solidFill>
                  <a:srgbClr val="393D43"/>
                </a:solidFill>
                <a:latin typeface="Montserrat"/>
                <a:cs typeface="Arial"/>
              </a:rPr>
              <a:t>Competitive</a:t>
            </a:r>
            <a:r>
              <a:rPr sz="2200" spc="-80">
                <a:solidFill>
                  <a:srgbClr val="393D43"/>
                </a:solidFill>
                <a:latin typeface="Montserrat"/>
                <a:cs typeface="Arial"/>
              </a:rPr>
              <a:t> </a:t>
            </a:r>
            <a:r>
              <a:rPr sz="2200" spc="-10">
                <a:solidFill>
                  <a:srgbClr val="393D43"/>
                </a:solidFill>
                <a:latin typeface="Montserrat"/>
                <a:cs typeface="Arial"/>
              </a:rPr>
              <a:t>rates</a:t>
            </a:r>
            <a:r>
              <a:rPr sz="2200" spc="-120">
                <a:solidFill>
                  <a:srgbClr val="393D43"/>
                </a:solidFill>
                <a:latin typeface="Montserrat"/>
                <a:cs typeface="Arial"/>
              </a:rPr>
              <a:t> </a:t>
            </a:r>
            <a:r>
              <a:rPr sz="2200">
                <a:solidFill>
                  <a:srgbClr val="393D43"/>
                </a:solidFill>
                <a:latin typeface="Montserrat"/>
                <a:cs typeface="Arial"/>
              </a:rPr>
              <a:t>for</a:t>
            </a:r>
            <a:r>
              <a:rPr sz="2200" spc="-60">
                <a:solidFill>
                  <a:srgbClr val="393D43"/>
                </a:solidFill>
                <a:latin typeface="Montserrat"/>
                <a:cs typeface="Arial"/>
              </a:rPr>
              <a:t> </a:t>
            </a:r>
            <a:r>
              <a:rPr sz="2200">
                <a:solidFill>
                  <a:srgbClr val="393D43"/>
                </a:solidFill>
                <a:latin typeface="Montserrat"/>
                <a:cs typeface="Arial"/>
              </a:rPr>
              <a:t>international</a:t>
            </a:r>
            <a:r>
              <a:rPr sz="2200" spc="-100">
                <a:solidFill>
                  <a:srgbClr val="393D43"/>
                </a:solidFill>
                <a:latin typeface="Montserrat"/>
                <a:cs typeface="Arial"/>
              </a:rPr>
              <a:t> </a:t>
            </a:r>
            <a:r>
              <a:rPr sz="2200" spc="-10">
                <a:solidFill>
                  <a:srgbClr val="393D43"/>
                </a:solidFill>
                <a:latin typeface="Montserrat"/>
                <a:cs typeface="Arial"/>
              </a:rPr>
              <a:t>calling</a:t>
            </a:r>
            <a:endParaRPr sz="2200">
              <a:latin typeface="Montserrat"/>
              <a:cs typeface="Arial"/>
            </a:endParaRPr>
          </a:p>
          <a:p>
            <a:pPr marL="205740" marR="1208405" indent="-342900">
              <a:spcAft>
                <a:spcPts val="600"/>
              </a:spcAft>
              <a:buClr>
                <a:srgbClr val="067AAB"/>
              </a:buClr>
              <a:buFont typeface="Arial" panose="020B0604020202020204" pitchFamily="34" charset="0"/>
              <a:buChar char="•"/>
              <a:tabLst>
                <a:tab pos="241300" algn="l"/>
              </a:tabLst>
            </a:pPr>
            <a:r>
              <a:rPr sz="2200" spc="-50">
                <a:solidFill>
                  <a:srgbClr val="393D43"/>
                </a:solidFill>
                <a:latin typeface="Montserrat"/>
                <a:cs typeface="Arial"/>
              </a:rPr>
              <a:t>Stay</a:t>
            </a:r>
            <a:r>
              <a:rPr sz="2200" spc="-90">
                <a:solidFill>
                  <a:srgbClr val="393D43"/>
                </a:solidFill>
                <a:latin typeface="Montserrat"/>
                <a:cs typeface="Arial"/>
              </a:rPr>
              <a:t> </a:t>
            </a:r>
            <a:r>
              <a:rPr sz="2200">
                <a:solidFill>
                  <a:srgbClr val="393D43"/>
                </a:solidFill>
                <a:latin typeface="Montserrat"/>
                <a:cs typeface="Arial"/>
              </a:rPr>
              <a:t>connected</a:t>
            </a:r>
            <a:r>
              <a:rPr sz="2200" spc="25">
                <a:solidFill>
                  <a:srgbClr val="393D43"/>
                </a:solidFill>
                <a:latin typeface="Montserrat"/>
                <a:cs typeface="Arial"/>
              </a:rPr>
              <a:t> </a:t>
            </a:r>
            <a:r>
              <a:rPr sz="2200">
                <a:solidFill>
                  <a:srgbClr val="393D43"/>
                </a:solidFill>
                <a:latin typeface="Montserrat"/>
                <a:cs typeface="Arial"/>
              </a:rPr>
              <a:t>with</a:t>
            </a:r>
            <a:r>
              <a:rPr sz="2200" spc="-20">
                <a:solidFill>
                  <a:srgbClr val="393D43"/>
                </a:solidFill>
                <a:latin typeface="Montserrat"/>
                <a:cs typeface="Arial"/>
              </a:rPr>
              <a:t> </a:t>
            </a:r>
            <a:r>
              <a:rPr sz="2200" spc="-30">
                <a:solidFill>
                  <a:srgbClr val="393D43"/>
                </a:solidFill>
                <a:latin typeface="Montserrat"/>
                <a:cs typeface="Arial"/>
              </a:rPr>
              <a:t>family,</a:t>
            </a:r>
            <a:r>
              <a:rPr sz="2200" spc="-125">
                <a:solidFill>
                  <a:srgbClr val="393D43"/>
                </a:solidFill>
                <a:latin typeface="Montserrat"/>
                <a:cs typeface="Arial"/>
              </a:rPr>
              <a:t> </a:t>
            </a:r>
            <a:r>
              <a:rPr sz="2200">
                <a:solidFill>
                  <a:srgbClr val="393D43"/>
                </a:solidFill>
                <a:latin typeface="Montserrat"/>
                <a:cs typeface="Arial"/>
              </a:rPr>
              <a:t>friends</a:t>
            </a:r>
            <a:r>
              <a:rPr sz="2200" spc="-70">
                <a:solidFill>
                  <a:srgbClr val="393D43"/>
                </a:solidFill>
                <a:latin typeface="Montserrat"/>
                <a:cs typeface="Arial"/>
              </a:rPr>
              <a:t> </a:t>
            </a:r>
            <a:r>
              <a:rPr sz="2200" spc="-25">
                <a:solidFill>
                  <a:srgbClr val="393D43"/>
                </a:solidFill>
                <a:latin typeface="Montserrat"/>
                <a:cs typeface="Arial"/>
              </a:rPr>
              <a:t>and </a:t>
            </a:r>
            <a:r>
              <a:rPr sz="2200">
                <a:solidFill>
                  <a:srgbClr val="393D43"/>
                </a:solidFill>
                <a:latin typeface="Montserrat"/>
                <a:cs typeface="Arial"/>
              </a:rPr>
              <a:t>colleagues</a:t>
            </a:r>
            <a:r>
              <a:rPr sz="2200" spc="-120">
                <a:solidFill>
                  <a:srgbClr val="393D43"/>
                </a:solidFill>
                <a:latin typeface="Montserrat"/>
                <a:cs typeface="Arial"/>
              </a:rPr>
              <a:t> </a:t>
            </a:r>
            <a:r>
              <a:rPr sz="2200" spc="-10">
                <a:solidFill>
                  <a:srgbClr val="393D43"/>
                </a:solidFill>
                <a:latin typeface="Montserrat"/>
                <a:cs typeface="Arial"/>
              </a:rPr>
              <a:t>overseas</a:t>
            </a:r>
            <a:endParaRPr sz="2200">
              <a:latin typeface="Montserrat"/>
              <a:cs typeface="Arial"/>
            </a:endParaRPr>
          </a:p>
        </p:txBody>
      </p:sp>
      <p:pic>
        <p:nvPicPr>
          <p:cNvPr id="16" name="object 7">
            <a:extLst>
              <a:ext uri="{FF2B5EF4-FFF2-40B4-BE49-F238E27FC236}">
                <a16:creationId xmlns:a16="http://schemas.microsoft.com/office/drawing/2014/main" id="{FC71091A-B54B-49AF-9CD9-89574B48D56B}"/>
              </a:ext>
            </a:extLst>
          </p:cNvPr>
          <p:cNvPicPr/>
          <p:nvPr/>
        </p:nvPicPr>
        <p:blipFill rotWithShape="1">
          <a:blip r:embed="rId4" cstate="print"/>
          <a:srcRect l="6383" t="3741" r="4255" b="4082"/>
          <a:stretch/>
        </p:blipFill>
        <p:spPr>
          <a:xfrm>
            <a:off x="8810330" y="2159945"/>
            <a:ext cx="2562056" cy="2791142"/>
          </a:xfrm>
          <a:prstGeom prst="rect">
            <a:avLst/>
          </a:prstGeom>
        </p:spPr>
      </p:pic>
      <p:sp>
        <p:nvSpPr>
          <p:cNvPr id="2" name="TextBox 1">
            <a:extLst>
              <a:ext uri="{FF2B5EF4-FFF2-40B4-BE49-F238E27FC236}">
                <a16:creationId xmlns:a16="http://schemas.microsoft.com/office/drawing/2014/main" id="{8CDC2012-D5FD-BA63-4075-D0E598C4B290}"/>
              </a:ext>
            </a:extLst>
          </p:cNvPr>
          <p:cNvSpPr txBox="1"/>
          <p:nvPr/>
        </p:nvSpPr>
        <p:spPr>
          <a:xfrm>
            <a:off x="319713" y="5253592"/>
            <a:ext cx="11778874" cy="6155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700" b="1">
                <a:solidFill>
                  <a:schemeClr val="accent1"/>
                </a:solidFill>
                <a:latin typeface="Montserrat"/>
              </a:rPr>
              <a:t>*NOTE:  If you select to add phone option, </a:t>
            </a:r>
            <a:r>
              <a:rPr lang="en-US" sz="1700" b="1" u="sng">
                <a:solidFill>
                  <a:schemeClr val="accent1"/>
                </a:solidFill>
                <a:latin typeface="Montserrat"/>
              </a:rPr>
              <a:t>great news</a:t>
            </a:r>
            <a:r>
              <a:rPr lang="en-US" sz="1700" b="1">
                <a:solidFill>
                  <a:schemeClr val="accent1"/>
                </a:solidFill>
                <a:latin typeface="Montserrat"/>
              </a:rPr>
              <a:t>, you can keep your current phone number! Please call Blue Stream Fiber prior to confirm the process to port your phone number.</a:t>
            </a:r>
            <a:endParaRPr lang="en-US">
              <a:solidFill>
                <a:schemeClr val="accent1"/>
              </a:solidFill>
              <a:latin typeface="Montserrat"/>
            </a:endParaRPr>
          </a:p>
        </p:txBody>
      </p:sp>
      <p:sp>
        <p:nvSpPr>
          <p:cNvPr id="5" name="object 7">
            <a:extLst>
              <a:ext uri="{FF2B5EF4-FFF2-40B4-BE49-F238E27FC236}">
                <a16:creationId xmlns:a16="http://schemas.microsoft.com/office/drawing/2014/main" id="{C88F50EB-C6A1-35ED-CC1A-62F3A299A89D}"/>
              </a:ext>
            </a:extLst>
          </p:cNvPr>
          <p:cNvSpPr txBox="1"/>
          <p:nvPr/>
        </p:nvSpPr>
        <p:spPr>
          <a:xfrm>
            <a:off x="360180" y="6032781"/>
            <a:ext cx="11210981" cy="443070"/>
          </a:xfrm>
          <a:prstGeom prst="rect">
            <a:avLst/>
          </a:prstGeom>
        </p:spPr>
        <p:txBody>
          <a:bodyPr vert="horz" wrap="square" lIns="0" tIns="12065" rIns="0" bIns="0" rtlCol="0" anchor="t">
            <a:spAutoFit/>
          </a:bodyPr>
          <a:lstStyle/>
          <a:p>
            <a:pPr marL="12700">
              <a:spcBef>
                <a:spcPts val="95"/>
              </a:spcBef>
            </a:pPr>
            <a:r>
              <a:rPr sz="1400" b="1" spc="-55">
                <a:solidFill>
                  <a:schemeClr val="tx2"/>
                </a:solidFill>
                <a:latin typeface="Montserrat" panose="00000500000000000000" pitchFamily="2" charset="0"/>
                <a:cs typeface="Arial"/>
              </a:rPr>
              <a:t>NOTE</a:t>
            </a:r>
            <a:r>
              <a:rPr sz="1400" spc="-55">
                <a:solidFill>
                  <a:schemeClr val="tx2"/>
                </a:solidFill>
                <a:latin typeface="Montserrat" panose="00000500000000000000" pitchFamily="2" charset="0"/>
                <a:cs typeface="Arial"/>
              </a:rPr>
              <a:t>:</a:t>
            </a:r>
            <a:r>
              <a:rPr lang="en-US" sz="1400" spc="-165">
                <a:solidFill>
                  <a:schemeClr val="tx2"/>
                </a:solidFill>
                <a:latin typeface="Montserrat" panose="00000500000000000000" pitchFamily="2" charset="0"/>
                <a:cs typeface="Arial"/>
              </a:rPr>
              <a:t>  </a:t>
            </a:r>
            <a:r>
              <a:rPr sz="1400" spc="-25">
                <a:solidFill>
                  <a:schemeClr val="tx2"/>
                </a:solidFill>
                <a:latin typeface="Montserrat" panose="00000500000000000000" pitchFamily="2" charset="0"/>
                <a:cs typeface="Arial"/>
              </a:rPr>
              <a:t>Package</a:t>
            </a:r>
            <a:r>
              <a:rPr sz="1400" spc="-60">
                <a:solidFill>
                  <a:schemeClr val="tx2"/>
                </a:solidFill>
                <a:latin typeface="Montserrat" panose="00000500000000000000" pitchFamily="2" charset="0"/>
                <a:cs typeface="Arial"/>
              </a:rPr>
              <a:t> </a:t>
            </a:r>
            <a:r>
              <a:rPr sz="1400" spc="-10">
                <a:solidFill>
                  <a:schemeClr val="tx2"/>
                </a:solidFill>
                <a:latin typeface="Montserrat" panose="00000500000000000000" pitchFamily="2" charset="0"/>
                <a:cs typeface="Arial"/>
              </a:rPr>
              <a:t>components</a:t>
            </a:r>
            <a:r>
              <a:rPr sz="1400" spc="-80">
                <a:solidFill>
                  <a:schemeClr val="tx2"/>
                </a:solidFill>
                <a:latin typeface="Montserrat" panose="00000500000000000000" pitchFamily="2" charset="0"/>
                <a:cs typeface="Arial"/>
              </a:rPr>
              <a:t> </a:t>
            </a:r>
            <a:r>
              <a:rPr sz="1400" spc="-25">
                <a:solidFill>
                  <a:schemeClr val="tx2"/>
                </a:solidFill>
                <a:latin typeface="Montserrat" panose="00000500000000000000" pitchFamily="2" charset="0"/>
                <a:cs typeface="Arial"/>
              </a:rPr>
              <a:t>may</a:t>
            </a:r>
            <a:r>
              <a:rPr sz="1400" spc="-90">
                <a:solidFill>
                  <a:schemeClr val="tx2"/>
                </a:solidFill>
                <a:latin typeface="Montserrat" panose="00000500000000000000" pitchFamily="2" charset="0"/>
                <a:cs typeface="Arial"/>
              </a:rPr>
              <a:t> </a:t>
            </a:r>
            <a:r>
              <a:rPr sz="1400" spc="-10">
                <a:solidFill>
                  <a:schemeClr val="tx2"/>
                </a:solidFill>
                <a:latin typeface="Montserrat" panose="00000500000000000000" pitchFamily="2" charset="0"/>
                <a:cs typeface="Arial"/>
              </a:rPr>
              <a:t>vary</a:t>
            </a:r>
            <a:r>
              <a:rPr sz="1400" spc="-85">
                <a:solidFill>
                  <a:schemeClr val="tx2"/>
                </a:solidFill>
                <a:latin typeface="Montserrat" panose="00000500000000000000" pitchFamily="2" charset="0"/>
                <a:cs typeface="Arial"/>
              </a:rPr>
              <a:t> </a:t>
            </a:r>
            <a:r>
              <a:rPr sz="1400" spc="-10">
                <a:solidFill>
                  <a:schemeClr val="tx2"/>
                </a:solidFill>
                <a:latin typeface="Montserrat" panose="00000500000000000000" pitchFamily="2" charset="0"/>
                <a:cs typeface="Arial"/>
              </a:rPr>
              <a:t>based</a:t>
            </a:r>
            <a:r>
              <a:rPr sz="1400" spc="-35">
                <a:solidFill>
                  <a:schemeClr val="tx2"/>
                </a:solidFill>
                <a:latin typeface="Montserrat" panose="00000500000000000000" pitchFamily="2" charset="0"/>
                <a:cs typeface="Arial"/>
              </a:rPr>
              <a:t> </a:t>
            </a:r>
            <a:r>
              <a:rPr sz="1400">
                <a:solidFill>
                  <a:schemeClr val="tx2"/>
                </a:solidFill>
                <a:latin typeface="Montserrat" panose="00000500000000000000" pitchFamily="2" charset="0"/>
                <a:cs typeface="Arial"/>
              </a:rPr>
              <a:t>on</a:t>
            </a:r>
            <a:r>
              <a:rPr sz="1400" spc="-45">
                <a:solidFill>
                  <a:schemeClr val="tx2"/>
                </a:solidFill>
                <a:latin typeface="Montserrat" panose="00000500000000000000" pitchFamily="2" charset="0"/>
                <a:cs typeface="Arial"/>
              </a:rPr>
              <a:t> </a:t>
            </a:r>
            <a:r>
              <a:rPr sz="1400">
                <a:solidFill>
                  <a:schemeClr val="tx2"/>
                </a:solidFill>
                <a:latin typeface="Montserrat" panose="00000500000000000000" pitchFamily="2" charset="0"/>
                <a:cs typeface="Arial"/>
              </a:rPr>
              <a:t>what</a:t>
            </a:r>
            <a:r>
              <a:rPr sz="1400" spc="-55">
                <a:solidFill>
                  <a:schemeClr val="tx2"/>
                </a:solidFill>
                <a:latin typeface="Montserrat" panose="00000500000000000000" pitchFamily="2" charset="0"/>
                <a:cs typeface="Arial"/>
              </a:rPr>
              <a:t> </a:t>
            </a:r>
            <a:r>
              <a:rPr sz="1400">
                <a:solidFill>
                  <a:schemeClr val="tx2"/>
                </a:solidFill>
                <a:latin typeface="Montserrat" panose="00000500000000000000" pitchFamily="2" charset="0"/>
                <a:cs typeface="Arial"/>
              </a:rPr>
              <a:t>is</a:t>
            </a:r>
            <a:r>
              <a:rPr sz="1400" spc="-95">
                <a:solidFill>
                  <a:schemeClr val="tx2"/>
                </a:solidFill>
                <a:latin typeface="Montserrat" panose="00000500000000000000" pitchFamily="2" charset="0"/>
                <a:cs typeface="Arial"/>
              </a:rPr>
              <a:t> </a:t>
            </a:r>
            <a:r>
              <a:rPr sz="1400">
                <a:solidFill>
                  <a:schemeClr val="tx2"/>
                </a:solidFill>
                <a:latin typeface="Montserrat" panose="00000500000000000000" pitchFamily="2" charset="0"/>
                <a:cs typeface="Arial"/>
              </a:rPr>
              <a:t>included</a:t>
            </a:r>
            <a:r>
              <a:rPr sz="1400" spc="-20">
                <a:solidFill>
                  <a:schemeClr val="tx2"/>
                </a:solidFill>
                <a:latin typeface="Montserrat" panose="00000500000000000000" pitchFamily="2" charset="0"/>
                <a:cs typeface="Arial"/>
              </a:rPr>
              <a:t> </a:t>
            </a:r>
            <a:r>
              <a:rPr sz="1400">
                <a:solidFill>
                  <a:schemeClr val="tx2"/>
                </a:solidFill>
                <a:latin typeface="Montserrat" panose="00000500000000000000" pitchFamily="2" charset="0"/>
                <a:cs typeface="Arial"/>
              </a:rPr>
              <a:t>in</a:t>
            </a:r>
            <a:r>
              <a:rPr sz="1400" spc="-60">
                <a:solidFill>
                  <a:schemeClr val="tx2"/>
                </a:solidFill>
                <a:latin typeface="Montserrat" panose="00000500000000000000" pitchFamily="2" charset="0"/>
                <a:cs typeface="Arial"/>
              </a:rPr>
              <a:t> </a:t>
            </a:r>
            <a:r>
              <a:rPr sz="1400">
                <a:solidFill>
                  <a:schemeClr val="tx2"/>
                </a:solidFill>
                <a:latin typeface="Montserrat" panose="00000500000000000000" pitchFamily="2" charset="0"/>
                <a:cs typeface="Arial"/>
              </a:rPr>
              <a:t>your</a:t>
            </a:r>
            <a:r>
              <a:rPr sz="1400" spc="-55">
                <a:solidFill>
                  <a:schemeClr val="tx2"/>
                </a:solidFill>
                <a:latin typeface="Montserrat" panose="00000500000000000000" pitchFamily="2" charset="0"/>
                <a:cs typeface="Arial"/>
              </a:rPr>
              <a:t> </a:t>
            </a:r>
            <a:r>
              <a:rPr sz="1400" spc="-20">
                <a:solidFill>
                  <a:schemeClr val="tx2"/>
                </a:solidFill>
                <a:latin typeface="Montserrat" panose="00000500000000000000" pitchFamily="2" charset="0"/>
                <a:cs typeface="Arial"/>
              </a:rPr>
              <a:t>community’s</a:t>
            </a:r>
            <a:r>
              <a:rPr lang="en-US" sz="1400" spc="-20">
                <a:solidFill>
                  <a:schemeClr val="tx2"/>
                </a:solidFill>
                <a:latin typeface="Montserrat" panose="00000500000000000000" pitchFamily="2" charset="0"/>
                <a:cs typeface="Arial"/>
              </a:rPr>
              <a:t> </a:t>
            </a:r>
            <a:r>
              <a:rPr sz="1400" spc="-10">
                <a:solidFill>
                  <a:schemeClr val="tx2"/>
                </a:solidFill>
                <a:latin typeface="Montserrat" panose="00000500000000000000" pitchFamily="2" charset="0"/>
                <a:cs typeface="Arial"/>
              </a:rPr>
              <a:t>agreement.</a:t>
            </a:r>
            <a:r>
              <a:rPr lang="en-US" sz="1400" spc="-10">
                <a:solidFill>
                  <a:schemeClr val="tx2"/>
                </a:solidFill>
                <a:latin typeface="Montserrat" panose="00000500000000000000" pitchFamily="2" charset="0"/>
                <a:cs typeface="Arial"/>
              </a:rPr>
              <a:t>  </a:t>
            </a:r>
            <a:r>
              <a:rPr lang="en-US" sz="1400" b="0" i="0" u="none" strike="noStrike" baseline="0">
                <a:solidFill>
                  <a:schemeClr val="tx2"/>
                </a:solidFill>
                <a:latin typeface="Montserrat" panose="00000500000000000000" pitchFamily="2" charset="0"/>
              </a:rPr>
              <a:t>Pricing subject to change. </a:t>
            </a:r>
          </a:p>
          <a:p>
            <a:r>
              <a:rPr lang="en-US" sz="1400" b="0" i="0" u="none" strike="noStrike" baseline="0">
                <a:solidFill>
                  <a:schemeClr val="tx2"/>
                </a:solidFill>
                <a:latin typeface="Montserrat" panose="00000500000000000000" pitchFamily="2" charset="0"/>
              </a:rPr>
              <a:t> For more information on disclaimers, taxes and fees, please visit: </a:t>
            </a:r>
            <a:r>
              <a:rPr lang="en-US" sz="1400" i="0" u="sng" strike="noStrike" baseline="0">
                <a:solidFill>
                  <a:schemeClr val="tx2"/>
                </a:solidFill>
                <a:latin typeface="Montserrat" panose="00000500000000000000" pitchFamily="2" charset="0"/>
              </a:rPr>
              <a:t>www.bluestreamfiber.com/legal</a:t>
            </a:r>
            <a:r>
              <a:rPr lang="en-US" sz="1400" i="0" u="none" strike="noStrike" baseline="0">
                <a:solidFill>
                  <a:schemeClr val="tx2"/>
                </a:solidFill>
                <a:latin typeface="Montserrat" panose="00000500000000000000" pitchFamily="2" charset="0"/>
              </a:rPr>
              <a:t>. </a:t>
            </a:r>
            <a:endParaRPr lang="en-US" sz="1400" spc="-10">
              <a:solidFill>
                <a:schemeClr val="tx2"/>
              </a:solidFill>
              <a:latin typeface="Montserrat" panose="00000500000000000000" pitchFamily="2" charset="0"/>
              <a:cs typeface="Arial"/>
            </a:endParaRPr>
          </a:p>
        </p:txBody>
      </p:sp>
    </p:spTree>
    <p:extLst>
      <p:ext uri="{BB962C8B-B14F-4D97-AF65-F5344CB8AC3E}">
        <p14:creationId xmlns:p14="http://schemas.microsoft.com/office/powerpoint/2010/main" val="1412946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E65CF-5FEC-3DE9-380E-C70E133B5BCA}"/>
              </a:ext>
            </a:extLst>
          </p:cNvPr>
          <p:cNvSpPr>
            <a:spLocks noGrp="1"/>
          </p:cNvSpPr>
          <p:nvPr>
            <p:ph type="ctrTitle"/>
          </p:nvPr>
        </p:nvSpPr>
        <p:spPr>
          <a:xfrm>
            <a:off x="-851210" y="-1536599"/>
            <a:ext cx="13846097" cy="2387600"/>
          </a:xfrm>
        </p:spPr>
        <p:txBody>
          <a:bodyPr>
            <a:normAutofit/>
          </a:bodyPr>
          <a:lstStyle/>
          <a:p>
            <a:pPr algn="ctr"/>
            <a:r>
              <a:rPr lang="en-US" sz="4000">
                <a:latin typeface="Montserrat" panose="00000500000000000000" pitchFamily="2" charset="0"/>
              </a:rPr>
              <a:t>What Makes Blue Stream Fiber Different?</a:t>
            </a:r>
            <a:r>
              <a:rPr lang="en-US">
                <a:latin typeface="Montserrat" panose="00000500000000000000" pitchFamily="2" charset="0"/>
              </a:rPr>
              <a:t> </a:t>
            </a:r>
          </a:p>
        </p:txBody>
      </p:sp>
      <p:sp>
        <p:nvSpPr>
          <p:cNvPr id="5" name="TextBox 4">
            <a:extLst>
              <a:ext uri="{FF2B5EF4-FFF2-40B4-BE49-F238E27FC236}">
                <a16:creationId xmlns:a16="http://schemas.microsoft.com/office/drawing/2014/main" id="{2D1F81CE-C23F-4926-B0BD-D1BBA80B00E8}"/>
              </a:ext>
            </a:extLst>
          </p:cNvPr>
          <p:cNvSpPr txBox="1"/>
          <p:nvPr/>
        </p:nvSpPr>
        <p:spPr>
          <a:xfrm>
            <a:off x="171360" y="1253151"/>
            <a:ext cx="5547720" cy="5121915"/>
          </a:xfrm>
          <a:prstGeom prst="rect">
            <a:avLst/>
          </a:prstGeom>
          <a:noFill/>
        </p:spPr>
        <p:txBody>
          <a:bodyPr wrap="square" lIns="91440" tIns="45720" rIns="91440" bIns="45720" rtlCol="0" anchor="t">
            <a:spAutoFit/>
          </a:bodyPr>
          <a:lstStyle/>
          <a:p>
            <a:pPr marL="12700" algn="ctr">
              <a:lnSpc>
                <a:spcPct val="100000"/>
              </a:lnSpc>
              <a:spcBef>
                <a:spcPts val="1050"/>
              </a:spcBef>
            </a:pPr>
            <a:r>
              <a:rPr lang="en-US" sz="2400" b="1" u="sng" spc="-45" dirty="0">
                <a:latin typeface="Montserrat" panose="00000500000000000000" pitchFamily="2" charset="0"/>
              </a:rPr>
              <a:t>RELIABILITY</a:t>
            </a:r>
          </a:p>
          <a:p>
            <a:pPr marL="354965" indent="-342265">
              <a:lnSpc>
                <a:spcPct val="150000"/>
              </a:lnSpc>
              <a:spcBef>
                <a:spcPts val="750"/>
              </a:spcBef>
              <a:buClr>
                <a:srgbClr val="46A8B8"/>
              </a:buClr>
              <a:buChar char="•"/>
              <a:tabLst>
                <a:tab pos="354965" algn="l"/>
                <a:tab pos="355600" algn="l"/>
              </a:tabLst>
            </a:pPr>
            <a:r>
              <a:rPr lang="en-US" sz="2200" b="0" dirty="0">
                <a:solidFill>
                  <a:srgbClr val="004160"/>
                </a:solidFill>
                <a:latin typeface="Montserrat" panose="00000500000000000000" pitchFamily="2" charset="0"/>
              </a:rPr>
              <a:t>Fiber</a:t>
            </a:r>
            <a:r>
              <a:rPr lang="en-US" sz="2200" b="0" spc="-125" dirty="0">
                <a:solidFill>
                  <a:srgbClr val="004160"/>
                </a:solidFill>
                <a:latin typeface="Montserrat" panose="00000500000000000000" pitchFamily="2" charset="0"/>
              </a:rPr>
              <a:t> </a:t>
            </a:r>
            <a:r>
              <a:rPr lang="en-US" sz="2200" b="0" dirty="0">
                <a:solidFill>
                  <a:srgbClr val="004160"/>
                </a:solidFill>
                <a:latin typeface="Montserrat" panose="00000500000000000000" pitchFamily="2" charset="0"/>
              </a:rPr>
              <a:t>Optics</a:t>
            </a:r>
            <a:r>
              <a:rPr lang="en-US" sz="2200" b="0" spc="-155" dirty="0">
                <a:solidFill>
                  <a:srgbClr val="004160"/>
                </a:solidFill>
                <a:latin typeface="Montserrat" panose="00000500000000000000" pitchFamily="2" charset="0"/>
              </a:rPr>
              <a:t> </a:t>
            </a:r>
            <a:r>
              <a:rPr lang="en-US" sz="2200" b="0" spc="-60" dirty="0">
                <a:solidFill>
                  <a:srgbClr val="004160"/>
                </a:solidFill>
                <a:latin typeface="Montserrat" panose="00000500000000000000" pitchFamily="2" charset="0"/>
              </a:rPr>
              <a:t>(No</a:t>
            </a:r>
            <a:r>
              <a:rPr lang="en-US" sz="2200" b="0" spc="-100" dirty="0">
                <a:solidFill>
                  <a:srgbClr val="004160"/>
                </a:solidFill>
                <a:latin typeface="Montserrat" panose="00000500000000000000" pitchFamily="2" charset="0"/>
              </a:rPr>
              <a:t> </a:t>
            </a:r>
            <a:r>
              <a:rPr lang="en-US" sz="2200" b="0" spc="-20" dirty="0">
                <a:solidFill>
                  <a:srgbClr val="004160"/>
                </a:solidFill>
                <a:latin typeface="Montserrat" panose="00000500000000000000" pitchFamily="2" charset="0"/>
              </a:rPr>
              <a:t>Shared</a:t>
            </a:r>
            <a:r>
              <a:rPr lang="en-US" sz="2200" b="0" spc="-55" dirty="0">
                <a:solidFill>
                  <a:srgbClr val="004160"/>
                </a:solidFill>
                <a:latin typeface="Montserrat" panose="00000500000000000000" pitchFamily="2" charset="0"/>
              </a:rPr>
              <a:t> </a:t>
            </a:r>
            <a:r>
              <a:rPr lang="en-US" sz="2200" b="0" spc="-10" dirty="0">
                <a:solidFill>
                  <a:srgbClr val="004160"/>
                </a:solidFill>
                <a:latin typeface="Montserrat" panose="00000500000000000000" pitchFamily="2" charset="0"/>
              </a:rPr>
              <a:t>Network)</a:t>
            </a:r>
            <a:endParaRPr lang="en-US" sz="2200" dirty="0">
              <a:latin typeface="Montserrat" panose="00000500000000000000" pitchFamily="2" charset="0"/>
            </a:endParaRPr>
          </a:p>
          <a:p>
            <a:pPr marL="354965" indent="-342265">
              <a:lnSpc>
                <a:spcPct val="150000"/>
              </a:lnSpc>
              <a:spcBef>
                <a:spcPts val="740"/>
              </a:spcBef>
              <a:buClr>
                <a:srgbClr val="46A8B8"/>
              </a:buClr>
              <a:buChar char="•"/>
              <a:tabLst>
                <a:tab pos="354965" algn="l"/>
                <a:tab pos="355600" algn="l"/>
              </a:tabLst>
            </a:pPr>
            <a:r>
              <a:rPr lang="en-US" sz="2200" dirty="0">
                <a:solidFill>
                  <a:srgbClr val="004160"/>
                </a:solidFill>
                <a:latin typeface="Montserrat" panose="00000500000000000000" pitchFamily="2" charset="0"/>
              </a:rPr>
              <a:t>R</a:t>
            </a:r>
            <a:r>
              <a:rPr lang="en-US" sz="2200" b="0" dirty="0">
                <a:solidFill>
                  <a:srgbClr val="004160"/>
                </a:solidFill>
                <a:latin typeface="Montserrat" panose="00000500000000000000" pitchFamily="2" charset="0"/>
              </a:rPr>
              <a:t>edundant Network</a:t>
            </a:r>
            <a:r>
              <a:rPr lang="en-US" sz="2200" b="0" spc="-70" dirty="0">
                <a:solidFill>
                  <a:srgbClr val="004160"/>
                </a:solidFill>
                <a:latin typeface="Montserrat" panose="00000500000000000000" pitchFamily="2" charset="0"/>
              </a:rPr>
              <a:t> </a:t>
            </a:r>
          </a:p>
          <a:p>
            <a:pPr marL="354965" indent="-342265">
              <a:lnSpc>
                <a:spcPct val="150000"/>
              </a:lnSpc>
              <a:spcBef>
                <a:spcPts val="740"/>
              </a:spcBef>
              <a:buClr>
                <a:srgbClr val="46A8B8"/>
              </a:buClr>
              <a:buChar char="•"/>
              <a:tabLst>
                <a:tab pos="354965" algn="l"/>
                <a:tab pos="355600" algn="l"/>
              </a:tabLst>
            </a:pPr>
            <a:r>
              <a:rPr lang="en-US" sz="2200" b="0" spc="-55" dirty="0">
                <a:solidFill>
                  <a:srgbClr val="004160"/>
                </a:solidFill>
                <a:latin typeface="Montserrat" panose="00000500000000000000" pitchFamily="2" charset="0"/>
              </a:rPr>
              <a:t>Wall-</a:t>
            </a:r>
            <a:r>
              <a:rPr lang="en-US" sz="2200" b="0" spc="-30" dirty="0">
                <a:solidFill>
                  <a:srgbClr val="004160"/>
                </a:solidFill>
                <a:latin typeface="Montserrat" panose="00000500000000000000" pitchFamily="2" charset="0"/>
              </a:rPr>
              <a:t>to-</a:t>
            </a:r>
            <a:r>
              <a:rPr lang="en-US" sz="2200" b="0" spc="-25" dirty="0">
                <a:solidFill>
                  <a:srgbClr val="004160"/>
                </a:solidFill>
                <a:latin typeface="Montserrat" panose="00000500000000000000" pitchFamily="2" charset="0"/>
              </a:rPr>
              <a:t>Wall</a:t>
            </a:r>
            <a:r>
              <a:rPr lang="en-US" sz="2200" b="0" spc="-80" dirty="0">
                <a:solidFill>
                  <a:srgbClr val="004160"/>
                </a:solidFill>
                <a:latin typeface="Montserrat" panose="00000500000000000000" pitchFamily="2" charset="0"/>
              </a:rPr>
              <a:t> </a:t>
            </a:r>
            <a:r>
              <a:rPr lang="en-US" sz="2200" b="0" spc="-55" dirty="0" err="1">
                <a:solidFill>
                  <a:srgbClr val="004160"/>
                </a:solidFill>
                <a:latin typeface="Montserrat" panose="00000500000000000000" pitchFamily="2" charset="0"/>
              </a:rPr>
              <a:t>WiFi</a:t>
            </a:r>
            <a:r>
              <a:rPr lang="en-US" sz="2200" b="0" spc="-65" dirty="0">
                <a:solidFill>
                  <a:srgbClr val="004160"/>
                </a:solidFill>
                <a:latin typeface="Montserrat" panose="00000500000000000000" pitchFamily="2" charset="0"/>
              </a:rPr>
              <a:t> </a:t>
            </a:r>
            <a:r>
              <a:rPr lang="en-US" sz="2200" b="0" spc="-10" dirty="0">
                <a:solidFill>
                  <a:srgbClr val="004160"/>
                </a:solidFill>
                <a:latin typeface="Montserrat" panose="00000500000000000000" pitchFamily="2" charset="0"/>
              </a:rPr>
              <a:t>Coverage</a:t>
            </a:r>
          </a:p>
          <a:p>
            <a:pPr>
              <a:lnSpc>
                <a:spcPct val="100000"/>
              </a:lnSpc>
              <a:spcBef>
                <a:spcPts val="5"/>
              </a:spcBef>
              <a:buClr>
                <a:srgbClr val="46A8B8"/>
              </a:buClr>
              <a:buFont typeface="Arial"/>
              <a:buChar char="•"/>
            </a:pPr>
            <a:endParaRPr lang="en-US" sz="2400" dirty="0">
              <a:latin typeface="Montserrat" panose="00000500000000000000" pitchFamily="2" charset="0"/>
            </a:endParaRPr>
          </a:p>
          <a:p>
            <a:pPr marL="12700" algn="ctr">
              <a:lnSpc>
                <a:spcPct val="100000"/>
              </a:lnSpc>
            </a:pPr>
            <a:r>
              <a:rPr lang="en-US" sz="2400" b="1" u="sng" spc="-75" dirty="0">
                <a:latin typeface="Montserrat" panose="00000500000000000000" pitchFamily="2" charset="0"/>
              </a:rPr>
              <a:t>CUSTOMER</a:t>
            </a:r>
            <a:r>
              <a:rPr lang="en-US" sz="2400" b="1" u="sng" spc="-180" dirty="0">
                <a:latin typeface="Montserrat" panose="00000500000000000000" pitchFamily="2" charset="0"/>
              </a:rPr>
              <a:t> </a:t>
            </a:r>
            <a:r>
              <a:rPr lang="en-US" sz="2400" b="1" u="sng" spc="-10" dirty="0">
                <a:latin typeface="Montserrat" panose="00000500000000000000" pitchFamily="2" charset="0"/>
              </a:rPr>
              <a:t>SERVICE</a:t>
            </a:r>
            <a:endParaRPr lang="en-US" sz="2400" b="1" u="sng" dirty="0">
              <a:latin typeface="Montserrat" panose="00000500000000000000" pitchFamily="2" charset="0"/>
            </a:endParaRPr>
          </a:p>
          <a:p>
            <a:pPr marL="354965" indent="-342265">
              <a:lnSpc>
                <a:spcPct val="150000"/>
              </a:lnSpc>
              <a:spcBef>
                <a:spcPts val="740"/>
              </a:spcBef>
              <a:buClr>
                <a:srgbClr val="46A8B8"/>
              </a:buClr>
              <a:buChar char="•"/>
              <a:tabLst>
                <a:tab pos="354965" algn="l"/>
                <a:tab pos="355600" algn="l"/>
              </a:tabLst>
            </a:pPr>
            <a:r>
              <a:rPr lang="en-US" sz="2200" b="0" dirty="0">
                <a:solidFill>
                  <a:srgbClr val="004160"/>
                </a:solidFill>
                <a:latin typeface="Montserrat" panose="00000500000000000000" pitchFamily="2" charset="0"/>
              </a:rPr>
              <a:t>Dedicated Account</a:t>
            </a:r>
            <a:r>
              <a:rPr lang="en-US" sz="2200" b="0" spc="-70" dirty="0">
                <a:solidFill>
                  <a:srgbClr val="004160"/>
                </a:solidFill>
                <a:latin typeface="Montserrat" panose="00000500000000000000" pitchFamily="2" charset="0"/>
              </a:rPr>
              <a:t> </a:t>
            </a:r>
            <a:r>
              <a:rPr lang="en-US" sz="2200" b="0" spc="-10" dirty="0">
                <a:solidFill>
                  <a:srgbClr val="004160"/>
                </a:solidFill>
                <a:latin typeface="Montserrat" panose="00000500000000000000" pitchFamily="2" charset="0"/>
              </a:rPr>
              <a:t>Manager</a:t>
            </a:r>
          </a:p>
          <a:p>
            <a:pPr marL="354965" indent="-342265">
              <a:lnSpc>
                <a:spcPct val="150000"/>
              </a:lnSpc>
              <a:spcBef>
                <a:spcPts val="740"/>
              </a:spcBef>
              <a:buClr>
                <a:srgbClr val="46A8B8"/>
              </a:buClr>
              <a:buFontTx/>
              <a:buChar char="•"/>
              <a:tabLst>
                <a:tab pos="354965" algn="l"/>
                <a:tab pos="355600" algn="l"/>
              </a:tabLst>
            </a:pPr>
            <a:r>
              <a:rPr lang="en-US" sz="2400" dirty="0">
                <a:solidFill>
                  <a:srgbClr val="03617B"/>
                </a:solidFill>
                <a:latin typeface="Montserrat" panose="00000500000000000000" pitchFamily="2" charset="0"/>
              </a:rPr>
              <a:t>100% US-based customer service</a:t>
            </a:r>
          </a:p>
          <a:p>
            <a:pPr marL="354965" indent="-342265">
              <a:lnSpc>
                <a:spcPct val="150000"/>
              </a:lnSpc>
              <a:spcBef>
                <a:spcPts val="740"/>
              </a:spcBef>
              <a:buClr>
                <a:srgbClr val="46A8B8"/>
              </a:buClr>
              <a:buChar char="•"/>
              <a:tabLst>
                <a:tab pos="354965" algn="l"/>
                <a:tab pos="355600" algn="l"/>
              </a:tabLst>
            </a:pPr>
            <a:endParaRPr lang="en-US" sz="2200" dirty="0">
              <a:latin typeface="Montserrat" panose="00000500000000000000" pitchFamily="2" charset="0"/>
            </a:endParaRPr>
          </a:p>
          <a:p>
            <a:endParaRPr lang="en-US" dirty="0"/>
          </a:p>
        </p:txBody>
      </p:sp>
      <p:sp>
        <p:nvSpPr>
          <p:cNvPr id="6" name="TextBox 5">
            <a:extLst>
              <a:ext uri="{FF2B5EF4-FFF2-40B4-BE49-F238E27FC236}">
                <a16:creationId xmlns:a16="http://schemas.microsoft.com/office/drawing/2014/main" id="{401982B2-3311-4172-9503-D55E65066A78}"/>
              </a:ext>
            </a:extLst>
          </p:cNvPr>
          <p:cNvSpPr txBox="1"/>
          <p:nvPr/>
        </p:nvSpPr>
        <p:spPr>
          <a:xfrm>
            <a:off x="6004610" y="1254228"/>
            <a:ext cx="5954520" cy="3636893"/>
          </a:xfrm>
          <a:prstGeom prst="rect">
            <a:avLst/>
          </a:prstGeom>
          <a:noFill/>
        </p:spPr>
        <p:txBody>
          <a:bodyPr wrap="square" lIns="91440" tIns="45720" rIns="91440" bIns="45720" rtlCol="0" anchor="t">
            <a:spAutoFit/>
          </a:bodyPr>
          <a:lstStyle/>
          <a:p>
            <a:pPr marL="12700" algn="ctr">
              <a:lnSpc>
                <a:spcPct val="100000"/>
              </a:lnSpc>
              <a:spcBef>
                <a:spcPts val="750"/>
              </a:spcBef>
              <a:buClr>
                <a:srgbClr val="46A8B8"/>
              </a:buClr>
              <a:tabLst>
                <a:tab pos="354965" algn="l"/>
                <a:tab pos="355600" algn="l"/>
              </a:tabLst>
            </a:pPr>
            <a:r>
              <a:rPr lang="en-US" sz="2400" b="1" u="sng" spc="-35">
                <a:solidFill>
                  <a:srgbClr val="004160"/>
                </a:solidFill>
                <a:latin typeface="Montserrat" panose="00000500000000000000" pitchFamily="2" charset="0"/>
                <a:cs typeface="Arial"/>
              </a:rPr>
              <a:t>BEST TECHNOLOGY</a:t>
            </a:r>
          </a:p>
          <a:p>
            <a:pPr marL="354965" indent="-342265">
              <a:lnSpc>
                <a:spcPct val="150000"/>
              </a:lnSpc>
              <a:spcBef>
                <a:spcPts val="750"/>
              </a:spcBef>
              <a:buClr>
                <a:srgbClr val="46A8B8"/>
              </a:buClr>
              <a:buChar char="•"/>
              <a:tabLst>
                <a:tab pos="354965" algn="l"/>
                <a:tab pos="355600" algn="l"/>
              </a:tabLst>
            </a:pPr>
            <a:r>
              <a:rPr lang="en-US" sz="2200" spc="-35">
                <a:solidFill>
                  <a:srgbClr val="004160"/>
                </a:solidFill>
                <a:latin typeface="Montserrat" panose="00000500000000000000" pitchFamily="2" charset="0"/>
                <a:cs typeface="Arial"/>
              </a:rPr>
              <a:t>Symmetrical</a:t>
            </a:r>
            <a:r>
              <a:rPr lang="en-US" sz="2200" spc="-120">
                <a:solidFill>
                  <a:srgbClr val="004160"/>
                </a:solidFill>
                <a:latin typeface="Montserrat" panose="00000500000000000000" pitchFamily="2" charset="0"/>
                <a:cs typeface="Arial"/>
              </a:rPr>
              <a:t> </a:t>
            </a:r>
            <a:r>
              <a:rPr lang="en-US" sz="2200" spc="-10">
                <a:solidFill>
                  <a:srgbClr val="004160"/>
                </a:solidFill>
                <a:latin typeface="Montserrat" panose="00000500000000000000" pitchFamily="2" charset="0"/>
                <a:cs typeface="Arial"/>
              </a:rPr>
              <a:t>Speeds</a:t>
            </a:r>
            <a:r>
              <a:rPr lang="en-US" sz="2200" spc="-70">
                <a:solidFill>
                  <a:srgbClr val="004160"/>
                </a:solidFill>
                <a:latin typeface="Montserrat" panose="00000500000000000000" pitchFamily="2" charset="0"/>
                <a:cs typeface="Arial"/>
              </a:rPr>
              <a:t> </a:t>
            </a:r>
            <a:r>
              <a:rPr lang="en-US" sz="2200">
                <a:solidFill>
                  <a:srgbClr val="004160"/>
                </a:solidFill>
                <a:latin typeface="Montserrat" panose="00000500000000000000" pitchFamily="2" charset="0"/>
                <a:cs typeface="Arial"/>
              </a:rPr>
              <a:t>from</a:t>
            </a:r>
            <a:r>
              <a:rPr lang="en-US" sz="2200" spc="-95">
                <a:solidFill>
                  <a:srgbClr val="004160"/>
                </a:solidFill>
                <a:latin typeface="Montserrat" panose="00000500000000000000" pitchFamily="2" charset="0"/>
                <a:cs typeface="Arial"/>
              </a:rPr>
              <a:t> </a:t>
            </a:r>
            <a:r>
              <a:rPr lang="en-US" sz="2200" spc="-10">
                <a:solidFill>
                  <a:srgbClr val="004160"/>
                </a:solidFill>
                <a:latin typeface="Montserrat" panose="00000500000000000000" pitchFamily="2" charset="0"/>
                <a:cs typeface="Arial"/>
              </a:rPr>
              <a:t>Fiber</a:t>
            </a:r>
            <a:endParaRPr lang="en-US" sz="2200">
              <a:latin typeface="Montserrat" panose="00000500000000000000" pitchFamily="2" charset="0"/>
              <a:cs typeface="Arial"/>
            </a:endParaRPr>
          </a:p>
          <a:p>
            <a:pPr marL="354965" marR="5080" indent="-342265">
              <a:lnSpc>
                <a:spcPct val="150000"/>
              </a:lnSpc>
              <a:spcBef>
                <a:spcPts val="1035"/>
              </a:spcBef>
              <a:buClr>
                <a:srgbClr val="46A8B8"/>
              </a:buClr>
              <a:buChar char="•"/>
              <a:tabLst>
                <a:tab pos="354965" algn="l"/>
                <a:tab pos="355600" algn="l"/>
              </a:tabLst>
            </a:pPr>
            <a:r>
              <a:rPr lang="en-US" sz="2200">
                <a:solidFill>
                  <a:srgbClr val="004160"/>
                </a:solidFill>
                <a:latin typeface="Montserrat" panose="00000500000000000000" pitchFamily="2" charset="0"/>
                <a:cs typeface="Arial"/>
              </a:rPr>
              <a:t>World-Class </a:t>
            </a:r>
            <a:r>
              <a:rPr lang="en-US" sz="2200" spc="-40">
                <a:solidFill>
                  <a:srgbClr val="004160"/>
                </a:solidFill>
                <a:latin typeface="Montserrat" panose="00000500000000000000" pitchFamily="2" charset="0"/>
                <a:cs typeface="Arial"/>
              </a:rPr>
              <a:t>TV:</a:t>
            </a:r>
            <a:r>
              <a:rPr lang="en-US" sz="2200" spc="-140">
                <a:solidFill>
                  <a:srgbClr val="004160"/>
                </a:solidFill>
                <a:latin typeface="Montserrat" panose="00000500000000000000" pitchFamily="2" charset="0"/>
                <a:cs typeface="Arial"/>
              </a:rPr>
              <a:t> </a:t>
            </a:r>
            <a:r>
              <a:rPr lang="en-US" sz="2200">
                <a:solidFill>
                  <a:srgbClr val="004160"/>
                </a:solidFill>
                <a:latin typeface="Montserrat" panose="00000500000000000000" pitchFamily="2" charset="0"/>
                <a:cs typeface="Arial"/>
              </a:rPr>
              <a:t>TiVo</a:t>
            </a:r>
            <a:r>
              <a:rPr lang="en-US" sz="2200" spc="-70">
                <a:solidFill>
                  <a:srgbClr val="004160"/>
                </a:solidFill>
                <a:latin typeface="Montserrat" panose="00000500000000000000" pitchFamily="2" charset="0"/>
                <a:cs typeface="Arial"/>
              </a:rPr>
              <a:t> </a:t>
            </a:r>
            <a:r>
              <a:rPr lang="en-US" sz="2200" spc="-85">
                <a:solidFill>
                  <a:srgbClr val="004160"/>
                </a:solidFill>
                <a:latin typeface="Montserrat" panose="00000500000000000000" pitchFamily="2" charset="0"/>
                <a:cs typeface="Arial"/>
              </a:rPr>
              <a:t>DVR,</a:t>
            </a:r>
            <a:r>
              <a:rPr lang="en-US" sz="2200" spc="-204">
                <a:solidFill>
                  <a:srgbClr val="004160"/>
                </a:solidFill>
                <a:latin typeface="Montserrat" panose="00000500000000000000" pitchFamily="2" charset="0"/>
                <a:cs typeface="Arial"/>
              </a:rPr>
              <a:t> </a:t>
            </a:r>
            <a:r>
              <a:rPr lang="en-US" sz="2200" spc="-10">
                <a:solidFill>
                  <a:srgbClr val="004160"/>
                </a:solidFill>
                <a:latin typeface="Montserrat" panose="00000500000000000000" pitchFamily="2" charset="0"/>
                <a:cs typeface="Arial"/>
              </a:rPr>
              <a:t>Google </a:t>
            </a:r>
            <a:r>
              <a:rPr lang="en-US" sz="2200" spc="-20">
                <a:solidFill>
                  <a:srgbClr val="004160"/>
                </a:solidFill>
                <a:latin typeface="Montserrat" panose="00000500000000000000" pitchFamily="2" charset="0"/>
                <a:cs typeface="Arial"/>
              </a:rPr>
              <a:t>Apps,</a:t>
            </a:r>
            <a:r>
              <a:rPr lang="en-US" sz="2200" spc="-120">
                <a:solidFill>
                  <a:srgbClr val="004160"/>
                </a:solidFill>
                <a:latin typeface="Montserrat" panose="00000500000000000000" pitchFamily="2" charset="0"/>
                <a:cs typeface="Arial"/>
              </a:rPr>
              <a:t> </a:t>
            </a:r>
            <a:r>
              <a:rPr lang="en-US" sz="2200">
                <a:solidFill>
                  <a:srgbClr val="004160"/>
                </a:solidFill>
                <a:latin typeface="Montserrat" panose="00000500000000000000" pitchFamily="2" charset="0"/>
                <a:cs typeface="Arial"/>
              </a:rPr>
              <a:t>Voice</a:t>
            </a:r>
            <a:r>
              <a:rPr lang="en-US" sz="2200" spc="-110">
                <a:solidFill>
                  <a:srgbClr val="004160"/>
                </a:solidFill>
                <a:latin typeface="Montserrat" panose="00000500000000000000" pitchFamily="2" charset="0"/>
                <a:cs typeface="Arial"/>
              </a:rPr>
              <a:t> </a:t>
            </a:r>
            <a:r>
              <a:rPr lang="en-US" sz="2200" spc="-10">
                <a:solidFill>
                  <a:srgbClr val="004160"/>
                </a:solidFill>
                <a:latin typeface="Montserrat" panose="00000500000000000000" pitchFamily="2" charset="0"/>
                <a:cs typeface="Arial"/>
              </a:rPr>
              <a:t>Remote</a:t>
            </a:r>
            <a:endParaRPr lang="en-US" sz="2200">
              <a:latin typeface="Montserrat" panose="00000500000000000000" pitchFamily="2" charset="0"/>
              <a:cs typeface="Arial"/>
            </a:endParaRPr>
          </a:p>
          <a:p>
            <a:pPr marL="354965" marR="428625" indent="-342265">
              <a:lnSpc>
                <a:spcPct val="150000"/>
              </a:lnSpc>
              <a:spcBef>
                <a:spcPts val="990"/>
              </a:spcBef>
              <a:buClr>
                <a:srgbClr val="46A8B8"/>
              </a:buClr>
              <a:buChar char="•"/>
              <a:tabLst>
                <a:tab pos="354965" algn="l"/>
                <a:tab pos="355600" algn="l"/>
              </a:tabLst>
            </a:pPr>
            <a:r>
              <a:rPr lang="en-US" sz="2200" spc="-20">
                <a:solidFill>
                  <a:srgbClr val="004160"/>
                </a:solidFill>
                <a:latin typeface="Montserrat" panose="00000500000000000000" pitchFamily="2" charset="0"/>
                <a:cs typeface="Arial"/>
              </a:rPr>
              <a:t>Future</a:t>
            </a:r>
            <a:r>
              <a:rPr lang="en-US" sz="2200" spc="-125">
                <a:solidFill>
                  <a:srgbClr val="004160"/>
                </a:solidFill>
                <a:latin typeface="Montserrat" panose="00000500000000000000" pitchFamily="2" charset="0"/>
                <a:cs typeface="Arial"/>
              </a:rPr>
              <a:t> </a:t>
            </a:r>
            <a:r>
              <a:rPr lang="en-US" sz="2200">
                <a:solidFill>
                  <a:srgbClr val="004160"/>
                </a:solidFill>
                <a:latin typeface="Montserrat" panose="00000500000000000000" pitchFamily="2" charset="0"/>
                <a:cs typeface="Arial"/>
              </a:rPr>
              <a:t>Proof</a:t>
            </a:r>
            <a:r>
              <a:rPr lang="en-US" sz="2200" spc="-40">
                <a:solidFill>
                  <a:srgbClr val="004160"/>
                </a:solidFill>
                <a:latin typeface="Montserrat" panose="00000500000000000000" pitchFamily="2" charset="0"/>
                <a:cs typeface="Arial"/>
              </a:rPr>
              <a:t> </a:t>
            </a:r>
            <a:r>
              <a:rPr lang="en-US" sz="2200">
                <a:solidFill>
                  <a:srgbClr val="004160"/>
                </a:solidFill>
                <a:latin typeface="Montserrat" panose="00000500000000000000" pitchFamily="2" charset="0"/>
                <a:cs typeface="Arial"/>
              </a:rPr>
              <a:t>with</a:t>
            </a:r>
            <a:r>
              <a:rPr lang="en-US" sz="2200" spc="-75">
                <a:solidFill>
                  <a:srgbClr val="004160"/>
                </a:solidFill>
                <a:latin typeface="Montserrat" panose="00000500000000000000" pitchFamily="2" charset="0"/>
                <a:cs typeface="Arial"/>
              </a:rPr>
              <a:t> </a:t>
            </a:r>
            <a:r>
              <a:rPr lang="en-US" sz="2200" spc="-10">
                <a:solidFill>
                  <a:srgbClr val="004160"/>
                </a:solidFill>
                <a:latin typeface="Montserrat" panose="00000500000000000000" pitchFamily="2" charset="0"/>
                <a:cs typeface="Arial"/>
              </a:rPr>
              <a:t>Contractual Upgrades</a:t>
            </a:r>
            <a:endParaRPr lang="en-US" sz="2200">
              <a:latin typeface="Montserrat" panose="00000500000000000000" pitchFamily="2" charset="0"/>
              <a:cs typeface="Arial"/>
            </a:endParaRPr>
          </a:p>
          <a:p>
            <a:endParaRPr lang="en-US"/>
          </a:p>
        </p:txBody>
      </p:sp>
      <p:pic>
        <p:nvPicPr>
          <p:cNvPr id="7" name="object 5">
            <a:extLst>
              <a:ext uri="{FF2B5EF4-FFF2-40B4-BE49-F238E27FC236}">
                <a16:creationId xmlns:a16="http://schemas.microsoft.com/office/drawing/2014/main" id="{87B3904C-30C7-4479-94C6-9FFDA919AF13}"/>
              </a:ext>
            </a:extLst>
          </p:cNvPr>
          <p:cNvPicPr/>
          <p:nvPr/>
        </p:nvPicPr>
        <p:blipFill>
          <a:blip r:embed="rId3" cstate="print"/>
          <a:stretch>
            <a:fillRect/>
          </a:stretch>
        </p:blipFill>
        <p:spPr>
          <a:xfrm>
            <a:off x="5561146" y="851001"/>
            <a:ext cx="603619" cy="5844767"/>
          </a:xfrm>
          <a:prstGeom prst="rect">
            <a:avLst/>
          </a:prstGeom>
        </p:spPr>
      </p:pic>
    </p:spTree>
    <p:extLst>
      <p:ext uri="{BB962C8B-B14F-4D97-AF65-F5344CB8AC3E}">
        <p14:creationId xmlns:p14="http://schemas.microsoft.com/office/powerpoint/2010/main" val="13703759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a:extLst>
              <a:ext uri="{FF2B5EF4-FFF2-40B4-BE49-F238E27FC236}">
                <a16:creationId xmlns:a16="http://schemas.microsoft.com/office/drawing/2014/main" id="{3DF1CC65-B675-6B04-E840-739D7B096DF8}"/>
              </a:ext>
            </a:extLst>
          </p:cNvPr>
          <p:cNvSpPr>
            <a:spLocks noGrp="1"/>
          </p:cNvSpPr>
          <p:nvPr>
            <p:ph type="title"/>
          </p:nvPr>
        </p:nvSpPr>
        <p:spPr>
          <a:xfrm>
            <a:off x="310718" y="194874"/>
            <a:ext cx="11690192" cy="797430"/>
          </a:xfrm>
        </p:spPr>
        <p:txBody>
          <a:bodyPr>
            <a:normAutofit/>
          </a:bodyPr>
          <a:lstStyle/>
          <a:p>
            <a:r>
              <a:rPr lang="en-US">
                <a:solidFill>
                  <a:schemeClr val="accent1"/>
                </a:solidFill>
                <a:latin typeface="Montserrat"/>
              </a:rPr>
              <a:t>E-bill, Proration, Taxes and Fees</a:t>
            </a:r>
            <a:endParaRPr lang="en-US">
              <a:solidFill>
                <a:schemeClr val="accent1"/>
              </a:solidFill>
            </a:endParaRPr>
          </a:p>
        </p:txBody>
      </p:sp>
      <p:sp>
        <p:nvSpPr>
          <p:cNvPr id="13" name="TextBox 12">
            <a:extLst>
              <a:ext uri="{FF2B5EF4-FFF2-40B4-BE49-F238E27FC236}">
                <a16:creationId xmlns:a16="http://schemas.microsoft.com/office/drawing/2014/main" id="{952AB268-14AD-1573-BF51-7569C4E3B644}"/>
              </a:ext>
            </a:extLst>
          </p:cNvPr>
          <p:cNvSpPr txBox="1"/>
          <p:nvPr/>
        </p:nvSpPr>
        <p:spPr>
          <a:xfrm>
            <a:off x="381413" y="1353424"/>
            <a:ext cx="9789282"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Clr>
                <a:srgbClr val="007DB2"/>
              </a:buClr>
              <a:buFont typeface="Arial"/>
              <a:buChar char="•"/>
            </a:pPr>
            <a:r>
              <a:rPr lang="en-US" sz="1800" b="0" i="0" u="none" strike="noStrike" dirty="0">
                <a:solidFill>
                  <a:srgbClr val="004161"/>
                </a:solidFill>
                <a:effectLst/>
                <a:latin typeface="Montserrat" panose="00000500000000000000" pitchFamily="2" charset="0"/>
              </a:rPr>
              <a:t>Your first bill for any upgraded services will cover the cost of your first month. Please note that due to us following a standard bill-in-advance schedule, you will receive a second bill soon for your following month's services. This is normal. You’ll then fall into a regular monthly cadence for future bills</a:t>
            </a:r>
            <a:endParaRPr lang="en-US" dirty="0">
              <a:solidFill>
                <a:schemeClr val="tx2"/>
              </a:solidFill>
              <a:latin typeface="Montserrat"/>
              <a:ea typeface="+mn-lt"/>
              <a:cs typeface="+mn-lt"/>
            </a:endParaRPr>
          </a:p>
          <a:p>
            <a:pPr marL="285750" indent="-285750">
              <a:buClr>
                <a:srgbClr val="007DB2"/>
              </a:buClr>
              <a:buFont typeface="Arial"/>
              <a:buChar char="•"/>
            </a:pPr>
            <a:r>
              <a:rPr lang="en-US" dirty="0">
                <a:solidFill>
                  <a:schemeClr val="tx2"/>
                </a:solidFill>
                <a:latin typeface="Montserrat"/>
                <a:ea typeface="+mn-lt"/>
                <a:cs typeface="+mn-lt"/>
              </a:rPr>
              <a:t>If the resident signs up for an e-bill, they can save the $6.49 monthly paper bill fee. </a:t>
            </a:r>
            <a:endParaRPr lang="en-US" dirty="0">
              <a:solidFill>
                <a:schemeClr val="tx2"/>
              </a:solidFill>
              <a:latin typeface="Montserrat"/>
              <a:cs typeface="Calibri"/>
            </a:endParaRPr>
          </a:p>
        </p:txBody>
      </p:sp>
      <p:sp>
        <p:nvSpPr>
          <p:cNvPr id="15" name="TextBox 14">
            <a:extLst>
              <a:ext uri="{FF2B5EF4-FFF2-40B4-BE49-F238E27FC236}">
                <a16:creationId xmlns:a16="http://schemas.microsoft.com/office/drawing/2014/main" id="{8B4F4B47-B6E8-16F8-0784-5256C09AC49B}"/>
              </a:ext>
            </a:extLst>
          </p:cNvPr>
          <p:cNvSpPr txBox="1"/>
          <p:nvPr/>
        </p:nvSpPr>
        <p:spPr>
          <a:xfrm>
            <a:off x="243765" y="3302556"/>
            <a:ext cx="11984463" cy="3847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900" b="1">
                <a:latin typeface="Montserrat"/>
                <a:ea typeface="+mn-lt"/>
                <a:cs typeface="+mn-lt"/>
              </a:rPr>
              <a:t>Here are our fees for those residents who add-on to their bulk package and what they cover:</a:t>
            </a:r>
            <a:endParaRPr lang="en-US" sz="1900" b="1">
              <a:latin typeface="Montserrat"/>
            </a:endParaRPr>
          </a:p>
        </p:txBody>
      </p:sp>
      <p:sp>
        <p:nvSpPr>
          <p:cNvPr id="16" name="TextBox 15">
            <a:extLst>
              <a:ext uri="{FF2B5EF4-FFF2-40B4-BE49-F238E27FC236}">
                <a16:creationId xmlns:a16="http://schemas.microsoft.com/office/drawing/2014/main" id="{81854FD9-94EC-9495-DCEA-719131F0D95B}"/>
              </a:ext>
            </a:extLst>
          </p:cNvPr>
          <p:cNvSpPr txBox="1"/>
          <p:nvPr/>
        </p:nvSpPr>
        <p:spPr>
          <a:xfrm>
            <a:off x="269348" y="3739249"/>
            <a:ext cx="5646852"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b="1" kern="1200" dirty="0">
                <a:solidFill>
                  <a:schemeClr val="accent1"/>
                </a:solidFill>
                <a:latin typeface="Montserrat"/>
                <a:ea typeface="+mn-ea"/>
                <a:cs typeface="+mn-cs"/>
              </a:rPr>
              <a:t>Network Recover Fee </a:t>
            </a:r>
            <a:r>
              <a:rPr lang="en-US" b="1" dirty="0">
                <a:solidFill>
                  <a:schemeClr val="accent1"/>
                </a:solidFill>
                <a:latin typeface="Montserrat"/>
              </a:rPr>
              <a:t>$6.99</a:t>
            </a:r>
            <a:endParaRPr lang="en-US" dirty="0">
              <a:solidFill>
                <a:schemeClr val="accent1"/>
              </a:solidFill>
            </a:endParaRPr>
          </a:p>
          <a:p>
            <a:r>
              <a:rPr lang="en-US" b="1" dirty="0">
                <a:solidFill>
                  <a:schemeClr val="accent1"/>
                </a:solidFill>
                <a:latin typeface="Montserrat"/>
              </a:rPr>
              <a:t> (IF ADD SERVICE ABOVE BULK AGREEMENT)</a:t>
            </a:r>
            <a:endParaRPr lang="en-US" dirty="0">
              <a:solidFill>
                <a:schemeClr val="accent1"/>
              </a:solidFill>
              <a:ea typeface="+mn-ea"/>
              <a:cs typeface="+mn-cs"/>
            </a:endParaRPr>
          </a:p>
          <a:p>
            <a:r>
              <a:rPr lang="en-US" sz="1400" kern="1200" dirty="0">
                <a:solidFill>
                  <a:schemeClr val="tx2"/>
                </a:solidFill>
                <a:latin typeface="Montserrat"/>
                <a:ea typeface="+mn-ea"/>
                <a:cs typeface="+mn-cs"/>
              </a:rPr>
              <a:t>Helps defray costs associated with building and maintaining Blue Stream’s fiber-rich TV and broadband network and enables us to expand network capacity.</a:t>
            </a:r>
            <a:r>
              <a:rPr lang="en-US" sz="1400" dirty="0">
                <a:solidFill>
                  <a:schemeClr val="tx2"/>
                </a:solidFill>
                <a:latin typeface="Montserrat"/>
              </a:rPr>
              <a:t> </a:t>
            </a:r>
            <a:endParaRPr lang="en-US" sz="1400" kern="1200" dirty="0">
              <a:solidFill>
                <a:schemeClr val="tx2"/>
              </a:solidFill>
              <a:latin typeface="Montserrat"/>
            </a:endParaRPr>
          </a:p>
        </p:txBody>
      </p:sp>
      <p:sp>
        <p:nvSpPr>
          <p:cNvPr id="17" name="TextBox 16">
            <a:extLst>
              <a:ext uri="{FF2B5EF4-FFF2-40B4-BE49-F238E27FC236}">
                <a16:creationId xmlns:a16="http://schemas.microsoft.com/office/drawing/2014/main" id="{A3AC0E9F-6C33-ACD7-C7CC-50E1B6A5FDA8}"/>
              </a:ext>
            </a:extLst>
          </p:cNvPr>
          <p:cNvSpPr txBox="1"/>
          <p:nvPr/>
        </p:nvSpPr>
        <p:spPr>
          <a:xfrm>
            <a:off x="6030950" y="3759829"/>
            <a:ext cx="5962803" cy="123110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dirty="0">
                <a:solidFill>
                  <a:schemeClr val="accent1"/>
                </a:solidFill>
                <a:latin typeface="Montserrat"/>
                <a:ea typeface="+mn-lt"/>
                <a:cs typeface="+mn-lt"/>
              </a:rPr>
              <a:t>Taxes</a:t>
            </a:r>
            <a:endParaRPr lang="en-US" b="1" dirty="0">
              <a:solidFill>
                <a:schemeClr val="accent1"/>
              </a:solidFill>
              <a:latin typeface="Montserrat"/>
            </a:endParaRPr>
          </a:p>
          <a:p>
            <a:r>
              <a:rPr lang="en-US" sz="1400" dirty="0">
                <a:solidFill>
                  <a:schemeClr val="tx2"/>
                </a:solidFill>
                <a:latin typeface="Montserrat"/>
                <a:ea typeface="+mn-lt"/>
                <a:cs typeface="+mn-lt"/>
              </a:rPr>
              <a:t>Sales and other taxes are required </a:t>
            </a:r>
            <a:r>
              <a:rPr lang="en-US" sz="1400" kern="1200" dirty="0">
                <a:solidFill>
                  <a:schemeClr val="tx2"/>
                </a:solidFill>
                <a:latin typeface="Montserrat"/>
                <a:ea typeface="+mn-lt"/>
                <a:cs typeface="+mn-lt"/>
              </a:rPr>
              <a:t>to </a:t>
            </a:r>
            <a:r>
              <a:rPr lang="en-US" sz="1400" dirty="0">
                <a:solidFill>
                  <a:schemeClr val="tx2"/>
                </a:solidFill>
                <a:latin typeface="Montserrat"/>
                <a:ea typeface="+mn-lt"/>
                <a:cs typeface="+mn-lt"/>
              </a:rPr>
              <a:t>be collected </a:t>
            </a:r>
            <a:r>
              <a:rPr lang="en-US" sz="1400" kern="1200" dirty="0">
                <a:solidFill>
                  <a:schemeClr val="tx2"/>
                </a:solidFill>
                <a:latin typeface="Montserrat"/>
                <a:ea typeface="+mn-lt"/>
                <a:cs typeface="+mn-lt"/>
              </a:rPr>
              <a:t>by Blue Stream Fiber as part of </a:t>
            </a:r>
            <a:r>
              <a:rPr lang="en-US" sz="1400" dirty="0">
                <a:solidFill>
                  <a:schemeClr val="tx2"/>
                </a:solidFill>
                <a:latin typeface="Montserrat"/>
                <a:ea typeface="+mn-lt"/>
                <a:cs typeface="+mn-lt"/>
              </a:rPr>
              <a:t>normal local, state, and federal regulations</a:t>
            </a:r>
            <a:r>
              <a:rPr lang="en-US" sz="1400" kern="1200" dirty="0">
                <a:solidFill>
                  <a:schemeClr val="tx2"/>
                </a:solidFill>
                <a:latin typeface="Montserrat"/>
                <a:ea typeface="+mn-lt"/>
                <a:cs typeface="+mn-lt"/>
              </a:rPr>
              <a:t>.</a:t>
            </a:r>
            <a:r>
              <a:rPr lang="en-US" sz="1400" dirty="0">
                <a:solidFill>
                  <a:schemeClr val="tx2"/>
                </a:solidFill>
                <a:latin typeface="Montserrat"/>
                <a:ea typeface="+mn-lt"/>
                <a:cs typeface="+mn-lt"/>
              </a:rPr>
              <a:t> </a:t>
            </a:r>
            <a:r>
              <a:rPr lang="en-US" sz="1400" b="0" i="0" u="none" strike="noStrike" baseline="0" dirty="0">
                <a:solidFill>
                  <a:schemeClr val="tx2"/>
                </a:solidFill>
                <a:latin typeface="Montserrat"/>
              </a:rPr>
              <a:t>For more information on disclaimers, taxes, and fees, please visit </a:t>
            </a:r>
            <a:r>
              <a:rPr lang="en-US" sz="1400" i="0" u="sng" strike="noStrike" baseline="0" dirty="0">
                <a:solidFill>
                  <a:schemeClr val="tx2"/>
                </a:solidFill>
                <a:latin typeface="Montserrat"/>
              </a:rPr>
              <a:t>www.bluestreamfiber.com/</a:t>
            </a:r>
            <a:r>
              <a:rPr lang="en-US" sz="1400" u="sng" dirty="0">
                <a:solidFill>
                  <a:schemeClr val="tx2"/>
                </a:solidFill>
                <a:latin typeface="Montserrat"/>
              </a:rPr>
              <a:t>taxes-fees</a:t>
            </a:r>
            <a:r>
              <a:rPr lang="en-US" sz="1400" i="0" u="none" strike="noStrike" baseline="0" dirty="0">
                <a:solidFill>
                  <a:schemeClr val="tx2"/>
                </a:solidFill>
                <a:latin typeface="Montserrat"/>
              </a:rPr>
              <a:t>.</a:t>
            </a:r>
            <a:r>
              <a:rPr lang="en-US" sz="1400" dirty="0">
                <a:solidFill>
                  <a:schemeClr val="tx2"/>
                </a:solidFill>
                <a:latin typeface="Montserrat"/>
              </a:rPr>
              <a:t> </a:t>
            </a:r>
          </a:p>
        </p:txBody>
      </p:sp>
      <p:sp>
        <p:nvSpPr>
          <p:cNvPr id="2" name="TextBox 1">
            <a:extLst>
              <a:ext uri="{FF2B5EF4-FFF2-40B4-BE49-F238E27FC236}">
                <a16:creationId xmlns:a16="http://schemas.microsoft.com/office/drawing/2014/main" id="{AF2A3F44-E9D7-88DF-6CE4-4B8F90FE4416}"/>
              </a:ext>
            </a:extLst>
          </p:cNvPr>
          <p:cNvSpPr txBox="1"/>
          <p:nvPr/>
        </p:nvSpPr>
        <p:spPr>
          <a:xfrm>
            <a:off x="-65050" y="1475986"/>
            <a:ext cx="11984463" cy="3847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900" b="1">
              <a:latin typeface="Montserrat"/>
              <a:cs typeface="Calibri"/>
            </a:endParaRPr>
          </a:p>
        </p:txBody>
      </p:sp>
      <p:sp>
        <p:nvSpPr>
          <p:cNvPr id="3" name="TextBox 2">
            <a:extLst>
              <a:ext uri="{FF2B5EF4-FFF2-40B4-BE49-F238E27FC236}">
                <a16:creationId xmlns:a16="http://schemas.microsoft.com/office/drawing/2014/main" id="{C4519D8F-9231-14DE-D2BA-82B47F42B61C}"/>
              </a:ext>
            </a:extLst>
          </p:cNvPr>
          <p:cNvSpPr txBox="1"/>
          <p:nvPr/>
        </p:nvSpPr>
        <p:spPr>
          <a:xfrm>
            <a:off x="262735" y="1002474"/>
            <a:ext cx="81853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latin typeface="Montserrat" panose="00000500000000000000" pitchFamily="2" charset="0"/>
                <a:ea typeface="+mn-lt"/>
                <a:cs typeface="+mn-lt"/>
              </a:rPr>
              <a:t>Understanding the billing process and billing cycle:</a:t>
            </a:r>
            <a:endParaRPr lang="en-US" sz="2000">
              <a:latin typeface="Montserrat" panose="00000500000000000000" pitchFamily="2" charset="0"/>
            </a:endParaRPr>
          </a:p>
        </p:txBody>
      </p:sp>
    </p:spTree>
    <p:extLst>
      <p:ext uri="{BB962C8B-B14F-4D97-AF65-F5344CB8AC3E}">
        <p14:creationId xmlns:p14="http://schemas.microsoft.com/office/powerpoint/2010/main" val="12432146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2">
            <a:extLst>
              <a:ext uri="{FF2B5EF4-FFF2-40B4-BE49-F238E27FC236}">
                <a16:creationId xmlns:a16="http://schemas.microsoft.com/office/drawing/2014/main" id="{EEECE3E0-F9CD-C792-4261-3445A0BFE3BE}"/>
              </a:ext>
            </a:extLst>
          </p:cNvPr>
          <p:cNvPicPr>
            <a:picLocks noChangeAspect="1"/>
          </p:cNvPicPr>
          <p:nvPr/>
        </p:nvPicPr>
        <p:blipFill>
          <a:blip r:embed="rId2"/>
          <a:stretch>
            <a:fillRect/>
          </a:stretch>
        </p:blipFill>
        <p:spPr>
          <a:xfrm>
            <a:off x="6720114" y="-1815"/>
            <a:ext cx="6861628" cy="6861629"/>
          </a:xfrm>
          <a:prstGeom prst="rect">
            <a:avLst/>
          </a:prstGeom>
        </p:spPr>
      </p:pic>
      <p:sp>
        <p:nvSpPr>
          <p:cNvPr id="13" name="TextBox 12">
            <a:extLst>
              <a:ext uri="{FF2B5EF4-FFF2-40B4-BE49-F238E27FC236}">
                <a16:creationId xmlns:a16="http://schemas.microsoft.com/office/drawing/2014/main" id="{BF772BB3-97D7-DE48-1F63-5C789444C3DF}"/>
              </a:ext>
            </a:extLst>
          </p:cNvPr>
          <p:cNvSpPr txBox="1"/>
          <p:nvPr/>
        </p:nvSpPr>
        <p:spPr>
          <a:xfrm>
            <a:off x="988718" y="1204708"/>
            <a:ext cx="4353339" cy="35394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200" b="1" dirty="0">
                <a:solidFill>
                  <a:srgbClr val="FFFFFF"/>
                </a:solidFill>
                <a:latin typeface="Montserrat"/>
                <a:cs typeface="Calibri"/>
              </a:rPr>
              <a:t>For questions or informational updates, please call your dedicated customer service line at </a:t>
            </a:r>
            <a:endParaRPr lang="en-US" b="1" dirty="0">
              <a:latin typeface="Montserrat" panose="00000500000000000000" pitchFamily="2" charset="0"/>
            </a:endParaRPr>
          </a:p>
          <a:p>
            <a:pPr algn="ctr"/>
            <a:r>
              <a:rPr lang="en-US" sz="3200" b="1" dirty="0">
                <a:solidFill>
                  <a:srgbClr val="FFFFFF"/>
                </a:solidFill>
                <a:latin typeface="Montserrat"/>
                <a:cs typeface="Calibri"/>
              </a:rPr>
              <a:t>561-264-2889.</a:t>
            </a:r>
            <a:endParaRPr lang="en-US" b="1" dirty="0">
              <a:latin typeface="Montserrat" panose="00000500000000000000" pitchFamily="2" charset="0"/>
            </a:endParaRPr>
          </a:p>
        </p:txBody>
      </p:sp>
    </p:spTree>
    <p:extLst>
      <p:ext uri="{BB962C8B-B14F-4D97-AF65-F5344CB8AC3E}">
        <p14:creationId xmlns:p14="http://schemas.microsoft.com/office/powerpoint/2010/main" val="16042604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BEFC6-4FDC-34F9-8943-BFDD97ADBF59}"/>
              </a:ext>
            </a:extLst>
          </p:cNvPr>
          <p:cNvSpPr>
            <a:spLocks noGrp="1"/>
          </p:cNvSpPr>
          <p:nvPr>
            <p:ph type="title"/>
          </p:nvPr>
        </p:nvSpPr>
        <p:spPr/>
        <p:txBody>
          <a:bodyPr/>
          <a:lstStyle/>
          <a:p>
            <a:r>
              <a:rPr lang="en-US"/>
              <a:t>Customer Education Resources</a:t>
            </a:r>
          </a:p>
        </p:txBody>
      </p:sp>
    </p:spTree>
    <p:extLst>
      <p:ext uri="{BB962C8B-B14F-4D97-AF65-F5344CB8AC3E}">
        <p14:creationId xmlns:p14="http://schemas.microsoft.com/office/powerpoint/2010/main" val="32744101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D3F3E-A978-0C7D-58E4-158AF2C39A9C}"/>
              </a:ext>
            </a:extLst>
          </p:cNvPr>
          <p:cNvSpPr>
            <a:spLocks noGrp="1"/>
          </p:cNvSpPr>
          <p:nvPr>
            <p:ph type="title"/>
          </p:nvPr>
        </p:nvSpPr>
        <p:spPr/>
        <p:txBody>
          <a:bodyPr/>
          <a:lstStyle/>
          <a:p>
            <a:r>
              <a:rPr lang="en-US">
                <a:latin typeface="Montserrat" panose="00000500000000000000" pitchFamily="2" charset="0"/>
              </a:rPr>
              <a:t>Customer Education Resources</a:t>
            </a:r>
          </a:p>
        </p:txBody>
      </p:sp>
      <p:sp>
        <p:nvSpPr>
          <p:cNvPr id="3" name="Content Placeholder 2">
            <a:extLst>
              <a:ext uri="{FF2B5EF4-FFF2-40B4-BE49-F238E27FC236}">
                <a16:creationId xmlns:a16="http://schemas.microsoft.com/office/drawing/2014/main" id="{A1AA80F4-19ED-ECD8-5230-DAD769CD4B37}"/>
              </a:ext>
            </a:extLst>
          </p:cNvPr>
          <p:cNvSpPr>
            <a:spLocks noGrp="1"/>
          </p:cNvSpPr>
          <p:nvPr>
            <p:ph idx="1"/>
          </p:nvPr>
        </p:nvSpPr>
        <p:spPr>
          <a:xfrm>
            <a:off x="119269" y="1690688"/>
            <a:ext cx="11728174" cy="3060217"/>
          </a:xfrm>
        </p:spPr>
        <p:txBody>
          <a:bodyPr>
            <a:normAutofit fontScale="92500" lnSpcReduction="10000"/>
          </a:bodyPr>
          <a:lstStyle/>
          <a:p>
            <a:r>
              <a:rPr lang="en-US" b="1" i="0" dirty="0">
                <a:solidFill>
                  <a:srgbClr val="000000"/>
                </a:solidFill>
                <a:effectLst/>
                <a:latin typeface="Montserrat" panose="00000500000000000000" pitchFamily="2" charset="0"/>
              </a:rPr>
              <a:t>Welcome Kit Booklet</a:t>
            </a:r>
            <a:r>
              <a:rPr lang="en-US" b="0" i="0" dirty="0">
                <a:solidFill>
                  <a:srgbClr val="000000"/>
                </a:solidFill>
                <a:effectLst/>
                <a:latin typeface="Montserrat" panose="00000500000000000000" pitchFamily="2" charset="0"/>
              </a:rPr>
              <a:t> walked through and left behind during install</a:t>
            </a:r>
          </a:p>
          <a:p>
            <a:r>
              <a:rPr lang="en-US" b="1" dirty="0">
                <a:solidFill>
                  <a:srgbClr val="000000"/>
                </a:solidFill>
                <a:latin typeface="Montserrat" panose="00000500000000000000" pitchFamily="2" charset="0"/>
              </a:rPr>
              <a:t>Personal in-home training </a:t>
            </a:r>
            <a:r>
              <a:rPr lang="en-US" dirty="0">
                <a:solidFill>
                  <a:srgbClr val="000000"/>
                </a:solidFill>
                <a:latin typeface="Montserrat" panose="00000500000000000000" pitchFamily="2" charset="0"/>
              </a:rPr>
              <a:t>during install</a:t>
            </a:r>
          </a:p>
          <a:p>
            <a:r>
              <a:rPr lang="en-US" b="1" dirty="0">
                <a:solidFill>
                  <a:srgbClr val="000000"/>
                </a:solidFill>
                <a:latin typeface="Montserrat" panose="00000500000000000000" pitchFamily="2" charset="0"/>
              </a:rPr>
              <a:t>On-site group training </a:t>
            </a:r>
            <a:r>
              <a:rPr lang="en-US" dirty="0">
                <a:solidFill>
                  <a:srgbClr val="000000"/>
                </a:solidFill>
                <a:latin typeface="Montserrat" panose="00000500000000000000" pitchFamily="2" charset="0"/>
              </a:rPr>
              <a:t>sessions</a:t>
            </a:r>
          </a:p>
          <a:p>
            <a:r>
              <a:rPr lang="en-US" b="1" dirty="0">
                <a:solidFill>
                  <a:srgbClr val="000000"/>
                </a:solidFill>
                <a:latin typeface="Montserrat" panose="00000500000000000000" pitchFamily="2" charset="0"/>
              </a:rPr>
              <a:t>Online resource hub </a:t>
            </a:r>
            <a:r>
              <a:rPr lang="en-US" dirty="0">
                <a:solidFill>
                  <a:srgbClr val="000000"/>
                </a:solidFill>
                <a:latin typeface="Montserrat" panose="00000500000000000000" pitchFamily="2" charset="0"/>
              </a:rPr>
              <a:t>with a variety of resources tailored to all learning styles</a:t>
            </a:r>
          </a:p>
          <a:p>
            <a:r>
              <a:rPr lang="en-US" b="1" dirty="0">
                <a:solidFill>
                  <a:srgbClr val="000000"/>
                </a:solidFill>
                <a:latin typeface="Montserrat" panose="00000500000000000000" pitchFamily="2" charset="0"/>
              </a:rPr>
              <a:t>Instructional videos </a:t>
            </a:r>
            <a:r>
              <a:rPr lang="en-US" dirty="0">
                <a:solidFill>
                  <a:srgbClr val="000000"/>
                </a:solidFill>
                <a:latin typeface="Montserrat" panose="00000500000000000000" pitchFamily="2" charset="0"/>
              </a:rPr>
              <a:t>with step-by-step instructions on how to master new services and features included</a:t>
            </a:r>
          </a:p>
          <a:p>
            <a:pPr marL="0" indent="0">
              <a:buNone/>
            </a:pPr>
            <a:endParaRPr lang="en-US" dirty="0">
              <a:solidFill>
                <a:srgbClr val="000000"/>
              </a:solidFill>
              <a:latin typeface="Calibri" panose="020F0502020204030204" pitchFamily="34" charset="0"/>
            </a:endParaRPr>
          </a:p>
          <a:p>
            <a:endParaRPr lang="en-US" dirty="0">
              <a:solidFill>
                <a:srgbClr val="000000"/>
              </a:solidFill>
              <a:latin typeface="Calibri" panose="020F0502020204030204" pitchFamily="34" charset="0"/>
            </a:endParaRPr>
          </a:p>
        </p:txBody>
      </p:sp>
      <p:pic>
        <p:nvPicPr>
          <p:cNvPr id="6" name="Picture 5">
            <a:extLst>
              <a:ext uri="{FF2B5EF4-FFF2-40B4-BE49-F238E27FC236}">
                <a16:creationId xmlns:a16="http://schemas.microsoft.com/office/drawing/2014/main" id="{B39AB9AA-D11B-57F1-A9C8-B61FF4BA983E}"/>
              </a:ext>
            </a:extLst>
          </p:cNvPr>
          <p:cNvPicPr>
            <a:picLocks noChangeAspect="1"/>
          </p:cNvPicPr>
          <p:nvPr/>
        </p:nvPicPr>
        <p:blipFill>
          <a:blip r:embed="rId2"/>
          <a:stretch>
            <a:fillRect/>
          </a:stretch>
        </p:blipFill>
        <p:spPr>
          <a:xfrm>
            <a:off x="7815469" y="4608506"/>
            <a:ext cx="3740426" cy="1884369"/>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77E4880A-60C9-5CF0-1761-25FB3977A8D2}"/>
              </a:ext>
            </a:extLst>
          </p:cNvPr>
          <p:cNvSpPr txBox="1"/>
          <p:nvPr/>
        </p:nvSpPr>
        <p:spPr>
          <a:xfrm>
            <a:off x="119268" y="4901323"/>
            <a:ext cx="7516443" cy="1477328"/>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sz="1800" i="1">
                <a:solidFill>
                  <a:srgbClr val="000000"/>
                </a:solidFill>
                <a:latin typeface="Montserrat"/>
              </a:rPr>
              <a:t>If additional support is needed beyond these comprehensive resources, </a:t>
            </a:r>
            <a:r>
              <a:rPr lang="en-US" i="1">
                <a:solidFill>
                  <a:srgbClr val="000000"/>
                </a:solidFill>
                <a:latin typeface="Montserrat"/>
              </a:rPr>
              <a:t>an additional</a:t>
            </a:r>
            <a:r>
              <a:rPr lang="en-US" sz="1800" i="1">
                <a:solidFill>
                  <a:srgbClr val="000000"/>
                </a:solidFill>
                <a:latin typeface="Montserrat"/>
              </a:rPr>
              <a:t> one-hour in-home training </a:t>
            </a:r>
            <a:r>
              <a:rPr lang="en-US" i="1">
                <a:solidFill>
                  <a:srgbClr val="000000"/>
                </a:solidFill>
                <a:latin typeface="Montserrat"/>
              </a:rPr>
              <a:t>is available</a:t>
            </a:r>
            <a:r>
              <a:rPr lang="en-US" sz="1800" i="1">
                <a:solidFill>
                  <a:srgbClr val="000000"/>
                </a:solidFill>
                <a:latin typeface="Montserrat"/>
              </a:rPr>
              <a:t> </a:t>
            </a:r>
            <a:r>
              <a:rPr lang="en-US" i="1">
                <a:solidFill>
                  <a:srgbClr val="000000"/>
                </a:solidFill>
                <a:latin typeface="Montserrat"/>
              </a:rPr>
              <a:t>with a tech education specialist </a:t>
            </a:r>
            <a:r>
              <a:rPr lang="en-US" sz="1800" i="1">
                <a:solidFill>
                  <a:srgbClr val="000000"/>
                </a:solidFill>
                <a:latin typeface="Montserrat"/>
              </a:rPr>
              <a:t>during </a:t>
            </a:r>
            <a:r>
              <a:rPr lang="en-US" i="1">
                <a:solidFill>
                  <a:srgbClr val="000000"/>
                </a:solidFill>
                <a:latin typeface="Montserrat"/>
              </a:rPr>
              <a:t>the </a:t>
            </a:r>
            <a:r>
              <a:rPr lang="en-US" sz="1800" i="1">
                <a:solidFill>
                  <a:srgbClr val="000000"/>
                </a:solidFill>
                <a:latin typeface="Montserrat"/>
              </a:rPr>
              <a:t>installation phase through two weeks after </a:t>
            </a:r>
            <a:r>
              <a:rPr lang="en-US" i="1">
                <a:solidFill>
                  <a:srgbClr val="000000"/>
                </a:solidFill>
                <a:latin typeface="Montserrat"/>
              </a:rPr>
              <a:t>our go-live</a:t>
            </a:r>
            <a:r>
              <a:rPr lang="en-US" sz="1800" i="1">
                <a:solidFill>
                  <a:srgbClr val="000000"/>
                </a:solidFill>
                <a:latin typeface="Montserrat"/>
              </a:rPr>
              <a:t> date.</a:t>
            </a:r>
          </a:p>
          <a:p>
            <a:endParaRPr lang="en-US"/>
          </a:p>
        </p:txBody>
      </p:sp>
    </p:spTree>
    <p:extLst>
      <p:ext uri="{BB962C8B-B14F-4D97-AF65-F5344CB8AC3E}">
        <p14:creationId xmlns:p14="http://schemas.microsoft.com/office/powerpoint/2010/main" val="6753951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04D32-B0BE-D738-E036-31B05B8D6C93}"/>
              </a:ext>
            </a:extLst>
          </p:cNvPr>
          <p:cNvSpPr>
            <a:spLocks noGrp="1"/>
          </p:cNvSpPr>
          <p:nvPr>
            <p:ph type="ctrTitle"/>
          </p:nvPr>
        </p:nvSpPr>
        <p:spPr>
          <a:xfrm>
            <a:off x="1117031" y="1804679"/>
            <a:ext cx="9957937" cy="3248641"/>
          </a:xfrm>
        </p:spPr>
        <p:txBody>
          <a:bodyPr/>
          <a:lstStyle/>
          <a:p>
            <a:r>
              <a:rPr lang="en-US">
                <a:latin typeface="Montserrat" panose="00000500000000000000" pitchFamily="2" charset="0"/>
              </a:rPr>
              <a:t>QUESTIONS?</a:t>
            </a:r>
          </a:p>
        </p:txBody>
      </p:sp>
    </p:spTree>
    <p:extLst>
      <p:ext uri="{BB962C8B-B14F-4D97-AF65-F5344CB8AC3E}">
        <p14:creationId xmlns:p14="http://schemas.microsoft.com/office/powerpoint/2010/main" val="10367302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16353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83431-9B52-9DE6-99E5-81058CEE5055}"/>
              </a:ext>
            </a:extLst>
          </p:cNvPr>
          <p:cNvSpPr>
            <a:spLocks noGrp="1"/>
          </p:cNvSpPr>
          <p:nvPr>
            <p:ph type="title"/>
          </p:nvPr>
        </p:nvSpPr>
        <p:spPr>
          <a:xfrm>
            <a:off x="702852" y="192697"/>
            <a:ext cx="11331018" cy="666652"/>
          </a:xfrm>
        </p:spPr>
        <p:txBody>
          <a:bodyPr>
            <a:noAutofit/>
          </a:bodyPr>
          <a:lstStyle/>
          <a:p>
            <a:pPr algn="ctr"/>
            <a:r>
              <a:rPr lang="en-US" sz="4400">
                <a:latin typeface="Montserrat" panose="00000500000000000000" pitchFamily="2" charset="0"/>
              </a:rPr>
              <a:t>What Makes Fiber Different?</a:t>
            </a:r>
          </a:p>
        </p:txBody>
      </p:sp>
      <p:pic>
        <p:nvPicPr>
          <p:cNvPr id="15" name="object 7">
            <a:extLst>
              <a:ext uri="{FF2B5EF4-FFF2-40B4-BE49-F238E27FC236}">
                <a16:creationId xmlns:a16="http://schemas.microsoft.com/office/drawing/2014/main" id="{D6B7832F-D193-4C12-B626-2D822389E5CD}"/>
              </a:ext>
            </a:extLst>
          </p:cNvPr>
          <p:cNvPicPr/>
          <p:nvPr/>
        </p:nvPicPr>
        <p:blipFill>
          <a:blip r:embed="rId2" cstate="print"/>
          <a:stretch>
            <a:fillRect/>
          </a:stretch>
        </p:blipFill>
        <p:spPr>
          <a:xfrm>
            <a:off x="842509" y="2493794"/>
            <a:ext cx="4547888" cy="1966215"/>
          </a:xfrm>
          <a:prstGeom prst="rect">
            <a:avLst/>
          </a:prstGeom>
        </p:spPr>
      </p:pic>
      <p:pic>
        <p:nvPicPr>
          <p:cNvPr id="16" name="object 6">
            <a:extLst>
              <a:ext uri="{FF2B5EF4-FFF2-40B4-BE49-F238E27FC236}">
                <a16:creationId xmlns:a16="http://schemas.microsoft.com/office/drawing/2014/main" id="{461FE254-0456-46A0-AE95-20925BF42DF7}"/>
              </a:ext>
            </a:extLst>
          </p:cNvPr>
          <p:cNvPicPr/>
          <p:nvPr/>
        </p:nvPicPr>
        <p:blipFill>
          <a:blip r:embed="rId3" cstate="print"/>
          <a:stretch>
            <a:fillRect/>
          </a:stretch>
        </p:blipFill>
        <p:spPr>
          <a:xfrm>
            <a:off x="6824534" y="2376867"/>
            <a:ext cx="4789289" cy="2279974"/>
          </a:xfrm>
          <a:prstGeom prst="rect">
            <a:avLst/>
          </a:prstGeom>
        </p:spPr>
      </p:pic>
      <p:pic>
        <p:nvPicPr>
          <p:cNvPr id="17" name="object 72">
            <a:extLst>
              <a:ext uri="{FF2B5EF4-FFF2-40B4-BE49-F238E27FC236}">
                <a16:creationId xmlns:a16="http://schemas.microsoft.com/office/drawing/2014/main" id="{442455D4-7C10-457E-9F1E-53C33A8D9C90}"/>
              </a:ext>
            </a:extLst>
          </p:cNvPr>
          <p:cNvPicPr/>
          <p:nvPr/>
        </p:nvPicPr>
        <p:blipFill>
          <a:blip r:embed="rId4" cstate="print"/>
          <a:stretch>
            <a:fillRect/>
          </a:stretch>
        </p:blipFill>
        <p:spPr>
          <a:xfrm>
            <a:off x="5604826" y="1240181"/>
            <a:ext cx="1135379" cy="5344535"/>
          </a:xfrm>
          <a:prstGeom prst="rect">
            <a:avLst/>
          </a:prstGeom>
        </p:spPr>
      </p:pic>
      <p:sp>
        <p:nvSpPr>
          <p:cNvPr id="27" name="TextBox 26">
            <a:extLst>
              <a:ext uri="{FF2B5EF4-FFF2-40B4-BE49-F238E27FC236}">
                <a16:creationId xmlns:a16="http://schemas.microsoft.com/office/drawing/2014/main" id="{B418399D-3389-4E19-B855-B9864B2400E9}"/>
              </a:ext>
            </a:extLst>
          </p:cNvPr>
          <p:cNvSpPr txBox="1"/>
          <p:nvPr/>
        </p:nvSpPr>
        <p:spPr>
          <a:xfrm>
            <a:off x="1321114" y="4934505"/>
            <a:ext cx="4334424" cy="1571199"/>
          </a:xfrm>
          <a:prstGeom prst="rect">
            <a:avLst/>
          </a:prstGeom>
          <a:noFill/>
        </p:spPr>
        <p:txBody>
          <a:bodyPr wrap="square" rtlCol="0">
            <a:spAutoFit/>
          </a:bodyPr>
          <a:lstStyle/>
          <a:p>
            <a:pPr marL="12700" marR="5080" indent="-635">
              <a:lnSpc>
                <a:spcPct val="114700"/>
              </a:lnSpc>
              <a:spcBef>
                <a:spcPts val="100"/>
              </a:spcBef>
            </a:pPr>
            <a:r>
              <a:rPr lang="en-US" sz="1700" spc="-30">
                <a:solidFill>
                  <a:srgbClr val="004160"/>
                </a:solidFill>
                <a:latin typeface="Montserrat" panose="00000500000000000000" pitchFamily="2" charset="0"/>
                <a:cs typeface="Arial"/>
              </a:rPr>
              <a:t>Shared</a:t>
            </a:r>
            <a:r>
              <a:rPr lang="en-US" sz="1700" spc="-45">
                <a:solidFill>
                  <a:srgbClr val="004160"/>
                </a:solidFill>
                <a:latin typeface="Montserrat" panose="00000500000000000000" pitchFamily="2" charset="0"/>
                <a:cs typeface="Arial"/>
              </a:rPr>
              <a:t> </a:t>
            </a:r>
            <a:r>
              <a:rPr lang="en-US" sz="1700">
                <a:solidFill>
                  <a:srgbClr val="004160"/>
                </a:solidFill>
                <a:latin typeface="Montserrat" panose="00000500000000000000" pitchFamily="2" charset="0"/>
                <a:cs typeface="Arial"/>
              </a:rPr>
              <a:t>Bandwidth</a:t>
            </a:r>
            <a:r>
              <a:rPr lang="en-US" sz="1700" spc="5">
                <a:solidFill>
                  <a:srgbClr val="004160"/>
                </a:solidFill>
                <a:latin typeface="Montserrat" panose="00000500000000000000" pitchFamily="2" charset="0"/>
                <a:cs typeface="Arial"/>
              </a:rPr>
              <a:t> </a:t>
            </a:r>
            <a:r>
              <a:rPr lang="en-US" sz="1700">
                <a:solidFill>
                  <a:srgbClr val="004160"/>
                </a:solidFill>
                <a:latin typeface="Montserrat" panose="00000500000000000000" pitchFamily="2" charset="0"/>
                <a:cs typeface="Arial"/>
              </a:rPr>
              <a:t>with</a:t>
            </a:r>
            <a:r>
              <a:rPr lang="en-US" sz="1700" spc="-75">
                <a:solidFill>
                  <a:srgbClr val="004160"/>
                </a:solidFill>
                <a:latin typeface="Montserrat" panose="00000500000000000000" pitchFamily="2" charset="0"/>
                <a:cs typeface="Arial"/>
              </a:rPr>
              <a:t> </a:t>
            </a:r>
            <a:r>
              <a:rPr lang="en-US" sz="1700" spc="-10">
                <a:solidFill>
                  <a:srgbClr val="004160"/>
                </a:solidFill>
                <a:latin typeface="Montserrat" panose="00000500000000000000" pitchFamily="2" charset="0"/>
                <a:cs typeface="Arial"/>
              </a:rPr>
              <a:t>~</a:t>
            </a:r>
            <a:r>
              <a:rPr lang="en-US" sz="1700" spc="-130">
                <a:solidFill>
                  <a:srgbClr val="004160"/>
                </a:solidFill>
                <a:latin typeface="Montserrat" panose="00000500000000000000" pitchFamily="2" charset="0"/>
                <a:cs typeface="Arial"/>
              </a:rPr>
              <a:t> </a:t>
            </a:r>
            <a:r>
              <a:rPr lang="en-US" sz="1700">
                <a:solidFill>
                  <a:srgbClr val="004160"/>
                </a:solidFill>
                <a:latin typeface="Montserrat" panose="00000500000000000000" pitchFamily="2" charset="0"/>
                <a:cs typeface="Arial"/>
              </a:rPr>
              <a:t>300</a:t>
            </a:r>
            <a:r>
              <a:rPr lang="en-US" sz="1700" spc="65">
                <a:solidFill>
                  <a:srgbClr val="004160"/>
                </a:solidFill>
                <a:latin typeface="Montserrat" panose="00000500000000000000" pitchFamily="2" charset="0"/>
                <a:cs typeface="Arial"/>
              </a:rPr>
              <a:t> </a:t>
            </a:r>
            <a:r>
              <a:rPr lang="en-US" sz="1700" spc="-10">
                <a:solidFill>
                  <a:srgbClr val="004160"/>
                </a:solidFill>
                <a:latin typeface="Montserrat" panose="00000500000000000000" pitchFamily="2" charset="0"/>
                <a:cs typeface="Arial"/>
              </a:rPr>
              <a:t>Homes Amplification</a:t>
            </a:r>
            <a:r>
              <a:rPr lang="en-US" sz="1700" spc="-25">
                <a:solidFill>
                  <a:srgbClr val="004160"/>
                </a:solidFill>
                <a:latin typeface="Montserrat" panose="00000500000000000000" pitchFamily="2" charset="0"/>
                <a:cs typeface="Arial"/>
              </a:rPr>
              <a:t> </a:t>
            </a:r>
            <a:r>
              <a:rPr lang="en-US" sz="1700">
                <a:solidFill>
                  <a:srgbClr val="004160"/>
                </a:solidFill>
                <a:latin typeface="Montserrat" panose="00000500000000000000" pitchFamily="2" charset="0"/>
                <a:cs typeface="Arial"/>
              </a:rPr>
              <a:t>of</a:t>
            </a:r>
            <a:r>
              <a:rPr lang="en-US" sz="1700" spc="-75">
                <a:solidFill>
                  <a:srgbClr val="004160"/>
                </a:solidFill>
                <a:latin typeface="Montserrat" panose="00000500000000000000" pitchFamily="2" charset="0"/>
                <a:cs typeface="Arial"/>
              </a:rPr>
              <a:t> </a:t>
            </a:r>
            <a:r>
              <a:rPr lang="en-US" sz="1700" spc="-10">
                <a:solidFill>
                  <a:srgbClr val="004160"/>
                </a:solidFill>
                <a:latin typeface="Montserrat" panose="00000500000000000000" pitchFamily="2" charset="0"/>
                <a:cs typeface="Arial"/>
              </a:rPr>
              <a:t>Signals</a:t>
            </a:r>
            <a:endParaRPr lang="en-US" sz="1700">
              <a:latin typeface="Montserrat" panose="00000500000000000000" pitchFamily="2" charset="0"/>
              <a:cs typeface="Arial"/>
            </a:endParaRPr>
          </a:p>
          <a:p>
            <a:pPr marL="12700">
              <a:lnSpc>
                <a:spcPct val="100000"/>
              </a:lnSpc>
              <a:spcBef>
                <a:spcPts val="300"/>
              </a:spcBef>
            </a:pPr>
            <a:r>
              <a:rPr lang="en-US" sz="1700" spc="-10">
                <a:solidFill>
                  <a:srgbClr val="004160"/>
                </a:solidFill>
                <a:latin typeface="Montserrat" panose="00000500000000000000" pitchFamily="2" charset="0"/>
                <a:cs typeface="Arial"/>
              </a:rPr>
              <a:t>Limited</a:t>
            </a:r>
            <a:r>
              <a:rPr lang="en-US" sz="1700" spc="-90">
                <a:solidFill>
                  <a:srgbClr val="004160"/>
                </a:solidFill>
                <a:latin typeface="Montserrat" panose="00000500000000000000" pitchFamily="2" charset="0"/>
                <a:cs typeface="Arial"/>
              </a:rPr>
              <a:t> </a:t>
            </a:r>
            <a:r>
              <a:rPr lang="en-US" sz="1700" spc="-10">
                <a:solidFill>
                  <a:srgbClr val="004160"/>
                </a:solidFill>
                <a:latin typeface="Montserrat" panose="00000500000000000000" pitchFamily="2" charset="0"/>
                <a:cs typeface="Arial"/>
              </a:rPr>
              <a:t>Capacity</a:t>
            </a:r>
            <a:endParaRPr lang="en-US" sz="1700">
              <a:latin typeface="Montserrat" panose="00000500000000000000" pitchFamily="2" charset="0"/>
              <a:cs typeface="Arial"/>
            </a:endParaRPr>
          </a:p>
          <a:p>
            <a:pPr marL="12700">
              <a:lnSpc>
                <a:spcPct val="100000"/>
              </a:lnSpc>
              <a:spcBef>
                <a:spcPts val="300"/>
              </a:spcBef>
            </a:pPr>
            <a:r>
              <a:rPr lang="en-US" sz="1700" spc="-10">
                <a:solidFill>
                  <a:srgbClr val="004160"/>
                </a:solidFill>
                <a:latin typeface="Montserrat" panose="00000500000000000000" pitchFamily="2" charset="0"/>
                <a:cs typeface="Arial"/>
              </a:rPr>
              <a:t>Vulnerable</a:t>
            </a:r>
            <a:r>
              <a:rPr lang="en-US" sz="1700" spc="-15">
                <a:solidFill>
                  <a:srgbClr val="004160"/>
                </a:solidFill>
                <a:latin typeface="Montserrat" panose="00000500000000000000" pitchFamily="2" charset="0"/>
                <a:cs typeface="Arial"/>
              </a:rPr>
              <a:t> </a:t>
            </a:r>
            <a:r>
              <a:rPr lang="en-US" sz="1700">
                <a:solidFill>
                  <a:srgbClr val="004160"/>
                </a:solidFill>
                <a:latin typeface="Montserrat" panose="00000500000000000000" pitchFamily="2" charset="0"/>
                <a:cs typeface="Arial"/>
              </a:rPr>
              <a:t>to</a:t>
            </a:r>
            <a:r>
              <a:rPr lang="en-US" sz="1700" spc="-65">
                <a:solidFill>
                  <a:srgbClr val="004160"/>
                </a:solidFill>
                <a:latin typeface="Montserrat" panose="00000500000000000000" pitchFamily="2" charset="0"/>
                <a:cs typeface="Arial"/>
              </a:rPr>
              <a:t> </a:t>
            </a:r>
            <a:r>
              <a:rPr lang="en-US" sz="1700" spc="-20">
                <a:solidFill>
                  <a:srgbClr val="004160"/>
                </a:solidFill>
                <a:latin typeface="Montserrat" panose="00000500000000000000" pitchFamily="2" charset="0"/>
                <a:cs typeface="Arial"/>
              </a:rPr>
              <a:t>Environmental</a:t>
            </a:r>
            <a:r>
              <a:rPr lang="en-US" sz="1700" spc="-65">
                <a:solidFill>
                  <a:srgbClr val="004160"/>
                </a:solidFill>
                <a:latin typeface="Montserrat" panose="00000500000000000000" pitchFamily="2" charset="0"/>
                <a:cs typeface="Arial"/>
              </a:rPr>
              <a:t> </a:t>
            </a:r>
            <a:r>
              <a:rPr lang="en-US" sz="1700" spc="-10">
                <a:solidFill>
                  <a:srgbClr val="004160"/>
                </a:solidFill>
                <a:latin typeface="Montserrat" panose="00000500000000000000" pitchFamily="2" charset="0"/>
                <a:cs typeface="Arial"/>
              </a:rPr>
              <a:t>Factors</a:t>
            </a:r>
            <a:endParaRPr lang="en-US" sz="1700">
              <a:latin typeface="Montserrat" panose="00000500000000000000" pitchFamily="2" charset="0"/>
              <a:cs typeface="Arial"/>
            </a:endParaRPr>
          </a:p>
          <a:p>
            <a:endParaRPr lang="en-US"/>
          </a:p>
        </p:txBody>
      </p:sp>
      <p:grpSp>
        <p:nvGrpSpPr>
          <p:cNvPr id="37" name="object 28">
            <a:extLst>
              <a:ext uri="{FF2B5EF4-FFF2-40B4-BE49-F238E27FC236}">
                <a16:creationId xmlns:a16="http://schemas.microsoft.com/office/drawing/2014/main" id="{FC707312-1DF7-447E-BD26-0DF544C285A2}"/>
              </a:ext>
            </a:extLst>
          </p:cNvPr>
          <p:cNvGrpSpPr/>
          <p:nvPr/>
        </p:nvGrpSpPr>
        <p:grpSpPr>
          <a:xfrm>
            <a:off x="6805254" y="4791941"/>
            <a:ext cx="416238" cy="1571198"/>
            <a:chOff x="6829508" y="4493528"/>
            <a:chExt cx="250825" cy="1263015"/>
          </a:xfrm>
        </p:grpSpPr>
        <p:sp>
          <p:nvSpPr>
            <p:cNvPr id="38" name="object 29">
              <a:extLst>
                <a:ext uri="{FF2B5EF4-FFF2-40B4-BE49-F238E27FC236}">
                  <a16:creationId xmlns:a16="http://schemas.microsoft.com/office/drawing/2014/main" id="{10927A6C-D9E4-44D3-B9F4-E89627A5F927}"/>
                </a:ext>
              </a:extLst>
            </p:cNvPr>
            <p:cNvSpPr/>
            <p:nvPr/>
          </p:nvSpPr>
          <p:spPr>
            <a:xfrm>
              <a:off x="6844796" y="4576348"/>
              <a:ext cx="219710" cy="220345"/>
            </a:xfrm>
            <a:custGeom>
              <a:avLst/>
              <a:gdLst/>
              <a:ahLst/>
              <a:cxnLst/>
              <a:rect l="l" t="t" r="r" b="b"/>
              <a:pathLst>
                <a:path w="219709" h="220345">
                  <a:moveTo>
                    <a:pt x="219647" y="219952"/>
                  </a:moveTo>
                  <a:lnTo>
                    <a:pt x="0" y="219952"/>
                  </a:lnTo>
                  <a:lnTo>
                    <a:pt x="0" y="0"/>
                  </a:lnTo>
                  <a:lnTo>
                    <a:pt x="219647" y="0"/>
                  </a:lnTo>
                  <a:lnTo>
                    <a:pt x="219647" y="219952"/>
                  </a:lnTo>
                  <a:close/>
                </a:path>
              </a:pathLst>
            </a:custGeom>
            <a:ln w="30575">
              <a:solidFill>
                <a:srgbClr val="4B7B95"/>
              </a:solidFill>
            </a:ln>
          </p:spPr>
          <p:txBody>
            <a:bodyPr wrap="square" lIns="0" tIns="0" rIns="0" bIns="0" rtlCol="0"/>
            <a:lstStyle/>
            <a:p>
              <a:pPr>
                <a:lnSpc>
                  <a:spcPct val="150000"/>
                </a:lnSpc>
              </a:pPr>
              <a:endParaRPr/>
            </a:p>
          </p:txBody>
        </p:sp>
        <p:sp>
          <p:nvSpPr>
            <p:cNvPr id="39" name="object 30">
              <a:extLst>
                <a:ext uri="{FF2B5EF4-FFF2-40B4-BE49-F238E27FC236}">
                  <a16:creationId xmlns:a16="http://schemas.microsoft.com/office/drawing/2014/main" id="{1DC2ACFC-67BB-4354-8FCF-D7B11DC06D4E}"/>
                </a:ext>
              </a:extLst>
            </p:cNvPr>
            <p:cNvSpPr/>
            <p:nvPr/>
          </p:nvSpPr>
          <p:spPr>
            <a:xfrm>
              <a:off x="6878233" y="4508812"/>
              <a:ext cx="153035" cy="222885"/>
            </a:xfrm>
            <a:custGeom>
              <a:avLst/>
              <a:gdLst/>
              <a:ahLst/>
              <a:cxnLst/>
              <a:rect l="l" t="t" r="r" b="b"/>
              <a:pathLst>
                <a:path w="153034" h="222885">
                  <a:moveTo>
                    <a:pt x="0" y="133357"/>
                  </a:moveTo>
                  <a:lnTo>
                    <a:pt x="66874" y="222839"/>
                  </a:lnTo>
                  <a:lnTo>
                    <a:pt x="152773" y="0"/>
                  </a:lnTo>
                </a:path>
              </a:pathLst>
            </a:custGeom>
            <a:ln w="30568">
              <a:solidFill>
                <a:srgbClr val="000000"/>
              </a:solidFill>
            </a:ln>
          </p:spPr>
          <p:txBody>
            <a:bodyPr wrap="square" lIns="0" tIns="0" rIns="0" bIns="0" rtlCol="0"/>
            <a:lstStyle/>
            <a:p>
              <a:pPr>
                <a:lnSpc>
                  <a:spcPct val="150000"/>
                </a:lnSpc>
              </a:pPr>
              <a:endParaRPr/>
            </a:p>
          </p:txBody>
        </p:sp>
        <p:sp>
          <p:nvSpPr>
            <p:cNvPr id="40" name="object 31">
              <a:extLst>
                <a:ext uri="{FF2B5EF4-FFF2-40B4-BE49-F238E27FC236}">
                  <a16:creationId xmlns:a16="http://schemas.microsoft.com/office/drawing/2014/main" id="{79981519-3CC3-42FE-9D56-567CD37EE8C2}"/>
                </a:ext>
              </a:extLst>
            </p:cNvPr>
            <p:cNvSpPr/>
            <p:nvPr/>
          </p:nvSpPr>
          <p:spPr>
            <a:xfrm>
              <a:off x="6844796" y="4890981"/>
              <a:ext cx="219710" cy="220345"/>
            </a:xfrm>
            <a:custGeom>
              <a:avLst/>
              <a:gdLst/>
              <a:ahLst/>
              <a:cxnLst/>
              <a:rect l="l" t="t" r="r" b="b"/>
              <a:pathLst>
                <a:path w="219709" h="220345">
                  <a:moveTo>
                    <a:pt x="219647" y="219952"/>
                  </a:moveTo>
                  <a:lnTo>
                    <a:pt x="0" y="219952"/>
                  </a:lnTo>
                  <a:lnTo>
                    <a:pt x="0" y="0"/>
                  </a:lnTo>
                  <a:lnTo>
                    <a:pt x="219647" y="0"/>
                  </a:lnTo>
                  <a:lnTo>
                    <a:pt x="219647" y="219952"/>
                  </a:lnTo>
                  <a:close/>
                </a:path>
              </a:pathLst>
            </a:custGeom>
            <a:ln w="30575">
              <a:solidFill>
                <a:srgbClr val="4B7B95"/>
              </a:solidFill>
            </a:ln>
          </p:spPr>
          <p:txBody>
            <a:bodyPr wrap="square" lIns="0" tIns="0" rIns="0" bIns="0" rtlCol="0"/>
            <a:lstStyle/>
            <a:p>
              <a:pPr>
                <a:lnSpc>
                  <a:spcPct val="150000"/>
                </a:lnSpc>
              </a:pPr>
              <a:endParaRPr/>
            </a:p>
          </p:txBody>
        </p:sp>
        <p:sp>
          <p:nvSpPr>
            <p:cNvPr id="41" name="object 32">
              <a:extLst>
                <a:ext uri="{FF2B5EF4-FFF2-40B4-BE49-F238E27FC236}">
                  <a16:creationId xmlns:a16="http://schemas.microsoft.com/office/drawing/2014/main" id="{7B16620B-763F-4EF5-BB01-328967DFF0D6}"/>
                </a:ext>
              </a:extLst>
            </p:cNvPr>
            <p:cNvSpPr/>
            <p:nvPr/>
          </p:nvSpPr>
          <p:spPr>
            <a:xfrm>
              <a:off x="6878233" y="4839030"/>
              <a:ext cx="153035" cy="222885"/>
            </a:xfrm>
            <a:custGeom>
              <a:avLst/>
              <a:gdLst/>
              <a:ahLst/>
              <a:cxnLst/>
              <a:rect l="l" t="t" r="r" b="b"/>
              <a:pathLst>
                <a:path w="153034" h="222885">
                  <a:moveTo>
                    <a:pt x="0" y="133934"/>
                  </a:moveTo>
                  <a:lnTo>
                    <a:pt x="66874" y="222839"/>
                  </a:lnTo>
                  <a:lnTo>
                    <a:pt x="152773" y="0"/>
                  </a:lnTo>
                </a:path>
              </a:pathLst>
            </a:custGeom>
            <a:ln w="30568">
              <a:solidFill>
                <a:srgbClr val="000000"/>
              </a:solidFill>
            </a:ln>
          </p:spPr>
          <p:txBody>
            <a:bodyPr wrap="square" lIns="0" tIns="0" rIns="0" bIns="0" rtlCol="0"/>
            <a:lstStyle/>
            <a:p>
              <a:pPr>
                <a:lnSpc>
                  <a:spcPct val="150000"/>
                </a:lnSpc>
              </a:pPr>
              <a:endParaRPr/>
            </a:p>
          </p:txBody>
        </p:sp>
        <p:sp>
          <p:nvSpPr>
            <p:cNvPr id="42" name="object 33">
              <a:extLst>
                <a:ext uri="{FF2B5EF4-FFF2-40B4-BE49-F238E27FC236}">
                  <a16:creationId xmlns:a16="http://schemas.microsoft.com/office/drawing/2014/main" id="{A6DE0665-083F-4D55-A244-7AF429E793B6}"/>
                </a:ext>
              </a:extLst>
            </p:cNvPr>
            <p:cNvSpPr/>
            <p:nvPr/>
          </p:nvSpPr>
          <p:spPr>
            <a:xfrm>
              <a:off x="6844796" y="5206192"/>
              <a:ext cx="219710" cy="219710"/>
            </a:xfrm>
            <a:custGeom>
              <a:avLst/>
              <a:gdLst/>
              <a:ahLst/>
              <a:cxnLst/>
              <a:rect l="l" t="t" r="r" b="b"/>
              <a:pathLst>
                <a:path w="219709" h="219710">
                  <a:moveTo>
                    <a:pt x="219647" y="219375"/>
                  </a:moveTo>
                  <a:lnTo>
                    <a:pt x="0" y="219375"/>
                  </a:lnTo>
                  <a:lnTo>
                    <a:pt x="0" y="0"/>
                  </a:lnTo>
                  <a:lnTo>
                    <a:pt x="219647" y="0"/>
                  </a:lnTo>
                  <a:lnTo>
                    <a:pt x="219647" y="219375"/>
                  </a:lnTo>
                  <a:close/>
                </a:path>
              </a:pathLst>
            </a:custGeom>
            <a:ln w="30575">
              <a:solidFill>
                <a:srgbClr val="4B7B95"/>
              </a:solidFill>
            </a:ln>
          </p:spPr>
          <p:txBody>
            <a:bodyPr wrap="square" lIns="0" tIns="0" rIns="0" bIns="0" rtlCol="0"/>
            <a:lstStyle/>
            <a:p>
              <a:pPr>
                <a:lnSpc>
                  <a:spcPct val="150000"/>
                </a:lnSpc>
              </a:pPr>
              <a:endParaRPr/>
            </a:p>
          </p:txBody>
        </p:sp>
        <p:sp>
          <p:nvSpPr>
            <p:cNvPr id="43" name="object 34">
              <a:extLst>
                <a:ext uri="{FF2B5EF4-FFF2-40B4-BE49-F238E27FC236}">
                  <a16:creationId xmlns:a16="http://schemas.microsoft.com/office/drawing/2014/main" id="{8FD3AB3A-198A-4D52-9AA9-4BDBD8D365B6}"/>
                </a:ext>
              </a:extLst>
            </p:cNvPr>
            <p:cNvSpPr/>
            <p:nvPr/>
          </p:nvSpPr>
          <p:spPr>
            <a:xfrm>
              <a:off x="6878233" y="5154238"/>
              <a:ext cx="153035" cy="222885"/>
            </a:xfrm>
            <a:custGeom>
              <a:avLst/>
              <a:gdLst/>
              <a:ahLst/>
              <a:cxnLst/>
              <a:rect l="l" t="t" r="r" b="b"/>
              <a:pathLst>
                <a:path w="153034" h="222885">
                  <a:moveTo>
                    <a:pt x="0" y="133357"/>
                  </a:moveTo>
                  <a:lnTo>
                    <a:pt x="66874" y="222262"/>
                  </a:lnTo>
                  <a:lnTo>
                    <a:pt x="152773" y="0"/>
                  </a:lnTo>
                </a:path>
              </a:pathLst>
            </a:custGeom>
            <a:ln w="30568">
              <a:solidFill>
                <a:srgbClr val="000000"/>
              </a:solidFill>
            </a:ln>
          </p:spPr>
          <p:txBody>
            <a:bodyPr wrap="square" lIns="0" tIns="0" rIns="0" bIns="0" rtlCol="0"/>
            <a:lstStyle/>
            <a:p>
              <a:pPr>
                <a:lnSpc>
                  <a:spcPct val="150000"/>
                </a:lnSpc>
              </a:pPr>
              <a:endParaRPr/>
            </a:p>
          </p:txBody>
        </p:sp>
        <p:sp>
          <p:nvSpPr>
            <p:cNvPr id="44" name="object 35">
              <a:extLst>
                <a:ext uri="{FF2B5EF4-FFF2-40B4-BE49-F238E27FC236}">
                  <a16:creationId xmlns:a16="http://schemas.microsoft.com/office/drawing/2014/main" id="{4805E7C1-7184-46C9-99A4-0B7D20F794CC}"/>
                </a:ext>
              </a:extLst>
            </p:cNvPr>
            <p:cNvSpPr/>
            <p:nvPr/>
          </p:nvSpPr>
          <p:spPr>
            <a:xfrm>
              <a:off x="6844796" y="5520826"/>
              <a:ext cx="219710" cy="220345"/>
            </a:xfrm>
            <a:custGeom>
              <a:avLst/>
              <a:gdLst/>
              <a:ahLst/>
              <a:cxnLst/>
              <a:rect l="l" t="t" r="r" b="b"/>
              <a:pathLst>
                <a:path w="219709" h="220345">
                  <a:moveTo>
                    <a:pt x="219647" y="219952"/>
                  </a:moveTo>
                  <a:lnTo>
                    <a:pt x="0" y="219952"/>
                  </a:lnTo>
                  <a:lnTo>
                    <a:pt x="0" y="0"/>
                  </a:lnTo>
                  <a:lnTo>
                    <a:pt x="219647" y="0"/>
                  </a:lnTo>
                  <a:lnTo>
                    <a:pt x="219647" y="219952"/>
                  </a:lnTo>
                  <a:close/>
                </a:path>
              </a:pathLst>
            </a:custGeom>
            <a:ln w="30575">
              <a:solidFill>
                <a:srgbClr val="4B7B95"/>
              </a:solidFill>
            </a:ln>
          </p:spPr>
          <p:txBody>
            <a:bodyPr wrap="square" lIns="0" tIns="0" rIns="0" bIns="0" rtlCol="0"/>
            <a:lstStyle/>
            <a:p>
              <a:pPr>
                <a:lnSpc>
                  <a:spcPct val="150000"/>
                </a:lnSpc>
              </a:pPr>
              <a:endParaRPr/>
            </a:p>
          </p:txBody>
        </p:sp>
        <p:sp>
          <p:nvSpPr>
            <p:cNvPr id="45" name="object 36">
              <a:extLst>
                <a:ext uri="{FF2B5EF4-FFF2-40B4-BE49-F238E27FC236}">
                  <a16:creationId xmlns:a16="http://schemas.microsoft.com/office/drawing/2014/main" id="{B030C952-4DED-46D3-8745-85A95126305E}"/>
                </a:ext>
              </a:extLst>
            </p:cNvPr>
            <p:cNvSpPr/>
            <p:nvPr/>
          </p:nvSpPr>
          <p:spPr>
            <a:xfrm>
              <a:off x="6878233" y="5476951"/>
              <a:ext cx="153035" cy="222885"/>
            </a:xfrm>
            <a:custGeom>
              <a:avLst/>
              <a:gdLst/>
              <a:ahLst/>
              <a:cxnLst/>
              <a:rect l="l" t="t" r="r" b="b"/>
              <a:pathLst>
                <a:path w="153034" h="222885">
                  <a:moveTo>
                    <a:pt x="0" y="133357"/>
                  </a:moveTo>
                  <a:lnTo>
                    <a:pt x="66874" y="222262"/>
                  </a:lnTo>
                  <a:lnTo>
                    <a:pt x="152773" y="0"/>
                  </a:lnTo>
                </a:path>
              </a:pathLst>
            </a:custGeom>
            <a:ln w="30568">
              <a:solidFill>
                <a:srgbClr val="000000"/>
              </a:solidFill>
            </a:ln>
          </p:spPr>
          <p:txBody>
            <a:bodyPr wrap="square" lIns="0" tIns="0" rIns="0" bIns="0" rtlCol="0"/>
            <a:lstStyle/>
            <a:p>
              <a:pPr>
                <a:lnSpc>
                  <a:spcPct val="150000"/>
                </a:lnSpc>
              </a:pPr>
              <a:endParaRPr/>
            </a:p>
          </p:txBody>
        </p:sp>
      </p:grpSp>
      <p:sp>
        <p:nvSpPr>
          <p:cNvPr id="46" name="TextBox 45">
            <a:extLst>
              <a:ext uri="{FF2B5EF4-FFF2-40B4-BE49-F238E27FC236}">
                <a16:creationId xmlns:a16="http://schemas.microsoft.com/office/drawing/2014/main" id="{0EEBC6F8-C417-4170-B6AF-A28901FC0ADA}"/>
              </a:ext>
            </a:extLst>
          </p:cNvPr>
          <p:cNvSpPr txBox="1"/>
          <p:nvPr/>
        </p:nvSpPr>
        <p:spPr>
          <a:xfrm>
            <a:off x="7250715" y="4706725"/>
            <a:ext cx="4023749" cy="1707519"/>
          </a:xfrm>
          <a:prstGeom prst="rect">
            <a:avLst/>
          </a:prstGeom>
          <a:noFill/>
        </p:spPr>
        <p:txBody>
          <a:bodyPr wrap="square" rtlCol="0">
            <a:spAutoFit/>
          </a:bodyPr>
          <a:lstStyle/>
          <a:p>
            <a:pPr>
              <a:lnSpc>
                <a:spcPct val="150000"/>
              </a:lnSpc>
            </a:pPr>
            <a:r>
              <a:rPr lang="en-US">
                <a:latin typeface="Montserrat" panose="00000500000000000000" pitchFamily="2" charset="0"/>
              </a:rPr>
              <a:t>Improved Reliability &amp; Uptime</a:t>
            </a:r>
          </a:p>
          <a:p>
            <a:pPr>
              <a:lnSpc>
                <a:spcPct val="150000"/>
              </a:lnSpc>
            </a:pPr>
            <a:r>
              <a:rPr lang="en-US">
                <a:latin typeface="Montserrat" panose="00000500000000000000" pitchFamily="2" charset="0"/>
              </a:rPr>
              <a:t>Faster Speeds</a:t>
            </a:r>
          </a:p>
          <a:p>
            <a:pPr>
              <a:lnSpc>
                <a:spcPct val="150000"/>
              </a:lnSpc>
            </a:pPr>
            <a:r>
              <a:rPr lang="en-US">
                <a:latin typeface="Montserrat" panose="00000500000000000000" pitchFamily="2" charset="0"/>
              </a:rPr>
              <a:t>Future Proof</a:t>
            </a:r>
          </a:p>
          <a:p>
            <a:pPr>
              <a:lnSpc>
                <a:spcPct val="150000"/>
              </a:lnSpc>
            </a:pPr>
            <a:r>
              <a:rPr lang="en-US">
                <a:latin typeface="Montserrat" panose="00000500000000000000" pitchFamily="2" charset="0"/>
              </a:rPr>
              <a:t>Increased Home Value</a:t>
            </a:r>
          </a:p>
        </p:txBody>
      </p:sp>
      <p:sp>
        <p:nvSpPr>
          <p:cNvPr id="47" name="TextBox 46">
            <a:extLst>
              <a:ext uri="{FF2B5EF4-FFF2-40B4-BE49-F238E27FC236}">
                <a16:creationId xmlns:a16="http://schemas.microsoft.com/office/drawing/2014/main" id="{8ECB50B4-B83A-41A9-97D4-5C281EAD1AC1}"/>
              </a:ext>
            </a:extLst>
          </p:cNvPr>
          <p:cNvSpPr txBox="1"/>
          <p:nvPr/>
        </p:nvSpPr>
        <p:spPr>
          <a:xfrm>
            <a:off x="1005939" y="1179698"/>
            <a:ext cx="4187922" cy="1015663"/>
          </a:xfrm>
          <a:prstGeom prst="rect">
            <a:avLst/>
          </a:prstGeom>
          <a:noFill/>
        </p:spPr>
        <p:txBody>
          <a:bodyPr wrap="square" rtlCol="0">
            <a:spAutoFit/>
          </a:bodyPr>
          <a:lstStyle/>
          <a:p>
            <a:pPr marL="12700" marR="5080" indent="354965" algn="ctr">
              <a:lnSpc>
                <a:spcPct val="100000"/>
              </a:lnSpc>
              <a:spcBef>
                <a:spcPts val="100"/>
              </a:spcBef>
            </a:pPr>
            <a:r>
              <a:rPr lang="en-US" sz="3000" b="1" spc="-10">
                <a:solidFill>
                  <a:srgbClr val="0071A0"/>
                </a:solidFill>
                <a:latin typeface="Montserrat" panose="00000500000000000000" pitchFamily="2" charset="0"/>
                <a:cs typeface="Arial"/>
              </a:rPr>
              <a:t>Traditional </a:t>
            </a:r>
            <a:r>
              <a:rPr lang="en-US" sz="3000" b="1" spc="-100">
                <a:solidFill>
                  <a:srgbClr val="0071A0"/>
                </a:solidFill>
                <a:latin typeface="Montserrat" panose="00000500000000000000" pitchFamily="2" charset="0"/>
                <a:cs typeface="Arial"/>
              </a:rPr>
              <a:t>Coax</a:t>
            </a:r>
            <a:r>
              <a:rPr lang="en-US" sz="3000" b="1" spc="-185">
                <a:solidFill>
                  <a:srgbClr val="0071A0"/>
                </a:solidFill>
                <a:latin typeface="Montserrat" panose="00000500000000000000" pitchFamily="2" charset="0"/>
                <a:cs typeface="Arial"/>
              </a:rPr>
              <a:t> </a:t>
            </a:r>
            <a:r>
              <a:rPr lang="en-US" sz="3000" b="1" spc="-45">
                <a:solidFill>
                  <a:srgbClr val="0071A0"/>
                </a:solidFill>
                <a:latin typeface="Montserrat" panose="00000500000000000000" pitchFamily="2" charset="0"/>
                <a:cs typeface="Arial"/>
              </a:rPr>
              <a:t>Network</a:t>
            </a:r>
            <a:endParaRPr lang="en-US" sz="3000">
              <a:latin typeface="Montserrat" panose="00000500000000000000" pitchFamily="2" charset="0"/>
              <a:cs typeface="Arial"/>
            </a:endParaRPr>
          </a:p>
        </p:txBody>
      </p:sp>
      <p:sp>
        <p:nvSpPr>
          <p:cNvPr id="48" name="TextBox 47">
            <a:extLst>
              <a:ext uri="{FF2B5EF4-FFF2-40B4-BE49-F238E27FC236}">
                <a16:creationId xmlns:a16="http://schemas.microsoft.com/office/drawing/2014/main" id="{1B824A7B-B834-4399-B3AD-FFFB44ECC072}"/>
              </a:ext>
            </a:extLst>
          </p:cNvPr>
          <p:cNvSpPr txBox="1"/>
          <p:nvPr/>
        </p:nvSpPr>
        <p:spPr>
          <a:xfrm>
            <a:off x="6836825" y="1239393"/>
            <a:ext cx="4268764" cy="1292662"/>
          </a:xfrm>
          <a:prstGeom prst="rect">
            <a:avLst/>
          </a:prstGeom>
          <a:noFill/>
        </p:spPr>
        <p:txBody>
          <a:bodyPr wrap="square" rtlCol="0">
            <a:spAutoFit/>
          </a:bodyPr>
          <a:lstStyle/>
          <a:p>
            <a:pPr algn="ctr"/>
            <a:r>
              <a:rPr lang="en-US" sz="3000" b="1">
                <a:solidFill>
                  <a:srgbClr val="0071A0"/>
                </a:solidFill>
                <a:latin typeface="Montserrat" panose="00000500000000000000" pitchFamily="2" charset="0"/>
                <a:cs typeface="Arial"/>
              </a:rPr>
              <a:t>New</a:t>
            </a:r>
            <a:r>
              <a:rPr lang="en-US" sz="3000" b="1" spc="-155">
                <a:solidFill>
                  <a:srgbClr val="0071A0"/>
                </a:solidFill>
                <a:latin typeface="Montserrat" panose="00000500000000000000" pitchFamily="2" charset="0"/>
                <a:cs typeface="Arial"/>
              </a:rPr>
              <a:t> </a:t>
            </a:r>
            <a:r>
              <a:rPr lang="en-US" sz="3000" b="1" spc="-90">
                <a:solidFill>
                  <a:srgbClr val="0071A0"/>
                </a:solidFill>
                <a:latin typeface="Montserrat" panose="00000500000000000000" pitchFamily="2" charset="0"/>
                <a:cs typeface="Arial"/>
              </a:rPr>
              <a:t>Blue</a:t>
            </a:r>
            <a:r>
              <a:rPr lang="en-US" sz="3000" b="1" spc="-165">
                <a:solidFill>
                  <a:srgbClr val="0071A0"/>
                </a:solidFill>
                <a:latin typeface="Montserrat" panose="00000500000000000000" pitchFamily="2" charset="0"/>
                <a:cs typeface="Arial"/>
              </a:rPr>
              <a:t> </a:t>
            </a:r>
            <a:r>
              <a:rPr lang="en-US" sz="3000" b="1" spc="-70">
                <a:solidFill>
                  <a:srgbClr val="0071A0"/>
                </a:solidFill>
                <a:latin typeface="Montserrat" panose="00000500000000000000" pitchFamily="2" charset="0"/>
                <a:cs typeface="Arial"/>
              </a:rPr>
              <a:t>Stream </a:t>
            </a:r>
            <a:r>
              <a:rPr lang="en-US" sz="3000" b="1" spc="-75">
                <a:solidFill>
                  <a:srgbClr val="0071A0"/>
                </a:solidFill>
                <a:latin typeface="Montserrat" panose="00000500000000000000" pitchFamily="2" charset="0"/>
                <a:cs typeface="Arial"/>
              </a:rPr>
              <a:t>Fiber</a:t>
            </a:r>
            <a:r>
              <a:rPr lang="en-US" sz="3000" b="1" spc="-150">
                <a:solidFill>
                  <a:srgbClr val="0071A0"/>
                </a:solidFill>
                <a:latin typeface="Montserrat" panose="00000500000000000000" pitchFamily="2" charset="0"/>
                <a:cs typeface="Arial"/>
              </a:rPr>
              <a:t> </a:t>
            </a:r>
            <a:r>
              <a:rPr lang="en-US" sz="3000" b="1" spc="-10">
                <a:solidFill>
                  <a:srgbClr val="0071A0"/>
                </a:solidFill>
                <a:latin typeface="Montserrat" panose="00000500000000000000" pitchFamily="2" charset="0"/>
                <a:cs typeface="Arial"/>
              </a:rPr>
              <a:t>Network</a:t>
            </a:r>
            <a:endParaRPr lang="en-US" sz="3000">
              <a:latin typeface="Montserrat" panose="00000500000000000000" pitchFamily="2" charset="0"/>
              <a:cs typeface="Arial"/>
            </a:endParaRPr>
          </a:p>
          <a:p>
            <a:endParaRPr lang="en-US"/>
          </a:p>
        </p:txBody>
      </p:sp>
      <p:pic>
        <p:nvPicPr>
          <p:cNvPr id="4" name="Picture 3">
            <a:extLst>
              <a:ext uri="{FF2B5EF4-FFF2-40B4-BE49-F238E27FC236}">
                <a16:creationId xmlns:a16="http://schemas.microsoft.com/office/drawing/2014/main" id="{B1401545-B2BF-0B48-AC3A-32C6009CBD68}"/>
              </a:ext>
            </a:extLst>
          </p:cNvPr>
          <p:cNvPicPr>
            <a:picLocks noChangeAspect="1"/>
          </p:cNvPicPr>
          <p:nvPr/>
        </p:nvPicPr>
        <p:blipFill>
          <a:blip r:embed="rId5"/>
          <a:stretch>
            <a:fillRect/>
          </a:stretch>
        </p:blipFill>
        <p:spPr>
          <a:xfrm>
            <a:off x="1010444" y="4996150"/>
            <a:ext cx="400050" cy="1019175"/>
          </a:xfrm>
          <a:prstGeom prst="rect">
            <a:avLst/>
          </a:prstGeom>
        </p:spPr>
      </p:pic>
      <p:pic>
        <p:nvPicPr>
          <p:cNvPr id="6" name="Picture 5">
            <a:extLst>
              <a:ext uri="{FF2B5EF4-FFF2-40B4-BE49-F238E27FC236}">
                <a16:creationId xmlns:a16="http://schemas.microsoft.com/office/drawing/2014/main" id="{2026A6D2-50A7-9F92-BF33-FA701C7339C6}"/>
              </a:ext>
            </a:extLst>
          </p:cNvPr>
          <p:cNvPicPr>
            <a:picLocks noChangeAspect="1"/>
          </p:cNvPicPr>
          <p:nvPr/>
        </p:nvPicPr>
        <p:blipFill rotWithShape="1">
          <a:blip r:embed="rId6"/>
          <a:srcRect l="4765" t="11888" r="4755" b="12747"/>
          <a:stretch/>
        </p:blipFill>
        <p:spPr>
          <a:xfrm>
            <a:off x="1005939" y="5951819"/>
            <a:ext cx="370578" cy="301497"/>
          </a:xfrm>
          <a:prstGeom prst="rect">
            <a:avLst/>
          </a:prstGeom>
        </p:spPr>
      </p:pic>
    </p:spTree>
    <p:extLst>
      <p:ext uri="{BB962C8B-B14F-4D97-AF65-F5344CB8AC3E}">
        <p14:creationId xmlns:p14="http://schemas.microsoft.com/office/powerpoint/2010/main" val="6305314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6B926-39B6-8334-F2DC-B5CA6CB7B079}"/>
              </a:ext>
            </a:extLst>
          </p:cNvPr>
          <p:cNvSpPr>
            <a:spLocks noGrp="1"/>
          </p:cNvSpPr>
          <p:nvPr>
            <p:ph type="title"/>
          </p:nvPr>
        </p:nvSpPr>
        <p:spPr>
          <a:xfrm>
            <a:off x="876692" y="295773"/>
            <a:ext cx="11038553" cy="666652"/>
          </a:xfrm>
        </p:spPr>
        <p:txBody>
          <a:bodyPr>
            <a:noAutofit/>
          </a:bodyPr>
          <a:lstStyle/>
          <a:p>
            <a:r>
              <a:rPr lang="en-US" sz="4400">
                <a:latin typeface="Montserrat"/>
              </a:rPr>
              <a:t>Customer Service Guarantee</a:t>
            </a:r>
            <a:endParaRPr lang="en-US">
              <a:latin typeface="Montserrat"/>
            </a:endParaRPr>
          </a:p>
        </p:txBody>
      </p:sp>
      <p:sp>
        <p:nvSpPr>
          <p:cNvPr id="16" name="TextBox 15">
            <a:extLst>
              <a:ext uri="{FF2B5EF4-FFF2-40B4-BE49-F238E27FC236}">
                <a16:creationId xmlns:a16="http://schemas.microsoft.com/office/drawing/2014/main" id="{D562B2CE-5E2B-4EA6-B5BA-8ACF4C91EC65}"/>
              </a:ext>
            </a:extLst>
          </p:cNvPr>
          <p:cNvSpPr txBox="1"/>
          <p:nvPr/>
        </p:nvSpPr>
        <p:spPr>
          <a:xfrm>
            <a:off x="876692" y="1583702"/>
            <a:ext cx="8144758" cy="2784288"/>
          </a:xfrm>
          <a:prstGeom prst="rect">
            <a:avLst/>
          </a:prstGeom>
          <a:noFill/>
        </p:spPr>
        <p:txBody>
          <a:bodyPr wrap="square" lIns="91440" tIns="45720" rIns="91440" bIns="45720" rtlCol="0" anchor="t">
            <a:spAutoFit/>
          </a:bodyPr>
          <a:lstStyle/>
          <a:p>
            <a:pPr marL="285750" indent="-285750">
              <a:lnSpc>
                <a:spcPct val="150000"/>
              </a:lnSpc>
              <a:buClr>
                <a:srgbClr val="3EB1C8"/>
              </a:buClr>
              <a:buFont typeface="Arial" panose="020B0604020202020204" pitchFamily="34" charset="0"/>
              <a:buChar char="•"/>
            </a:pPr>
            <a:r>
              <a:rPr lang="en-US" sz="3000">
                <a:solidFill>
                  <a:srgbClr val="03617B"/>
                </a:solidFill>
                <a:latin typeface="Montserrat" panose="00000500000000000000" pitchFamily="2" charset="0"/>
              </a:rPr>
              <a:t>Dedicated customer support line</a:t>
            </a:r>
          </a:p>
          <a:p>
            <a:pPr marL="285750" indent="-285750">
              <a:lnSpc>
                <a:spcPct val="150000"/>
              </a:lnSpc>
              <a:buClr>
                <a:srgbClr val="3EB1C8"/>
              </a:buClr>
              <a:buFont typeface="Arial" panose="020B0604020202020204" pitchFamily="34" charset="0"/>
              <a:buChar char="•"/>
            </a:pPr>
            <a:r>
              <a:rPr lang="en-US" sz="3000">
                <a:solidFill>
                  <a:srgbClr val="03617B"/>
                </a:solidFill>
                <a:latin typeface="Montserrat" panose="00000500000000000000" pitchFamily="2" charset="0"/>
              </a:rPr>
              <a:t>100% US-based customer service</a:t>
            </a:r>
          </a:p>
          <a:p>
            <a:pPr marL="285750" indent="-285750">
              <a:lnSpc>
                <a:spcPct val="150000"/>
              </a:lnSpc>
              <a:buClr>
                <a:srgbClr val="3EB1C8"/>
              </a:buClr>
              <a:buFont typeface="Arial" panose="020B0604020202020204" pitchFamily="34" charset="0"/>
              <a:buChar char="•"/>
            </a:pPr>
            <a:r>
              <a:rPr lang="en-US" sz="3000">
                <a:solidFill>
                  <a:srgbClr val="03617B"/>
                </a:solidFill>
                <a:latin typeface="Montserrat" panose="00000500000000000000" pitchFamily="2" charset="0"/>
              </a:rPr>
              <a:t>Guarantee speeds and 99% uptime</a:t>
            </a:r>
          </a:p>
          <a:p>
            <a:pPr marL="285750" indent="-285750">
              <a:lnSpc>
                <a:spcPct val="150000"/>
              </a:lnSpc>
              <a:buClr>
                <a:srgbClr val="3EB1C8"/>
              </a:buClr>
              <a:buFont typeface="Arial" panose="020B0604020202020204" pitchFamily="34" charset="0"/>
              <a:buChar char="•"/>
            </a:pPr>
            <a:r>
              <a:rPr lang="en-US" sz="3000">
                <a:solidFill>
                  <a:srgbClr val="03617B"/>
                </a:solidFill>
                <a:latin typeface="Montserrat" panose="00000500000000000000" pitchFamily="2" charset="0"/>
              </a:rPr>
              <a:t>Performance reports available</a:t>
            </a:r>
          </a:p>
        </p:txBody>
      </p:sp>
      <p:pic>
        <p:nvPicPr>
          <p:cNvPr id="17" name="object 8">
            <a:extLst>
              <a:ext uri="{FF2B5EF4-FFF2-40B4-BE49-F238E27FC236}">
                <a16:creationId xmlns:a16="http://schemas.microsoft.com/office/drawing/2014/main" id="{DB52821E-90AA-4B31-AF41-BD1E9D9971E2}"/>
              </a:ext>
            </a:extLst>
          </p:cNvPr>
          <p:cNvPicPr/>
          <p:nvPr/>
        </p:nvPicPr>
        <p:blipFill>
          <a:blip r:embed="rId3" cstate="print"/>
          <a:stretch>
            <a:fillRect/>
          </a:stretch>
        </p:blipFill>
        <p:spPr>
          <a:xfrm rot="600000">
            <a:off x="7646815" y="1139310"/>
            <a:ext cx="3692548" cy="2999211"/>
          </a:xfrm>
          <a:prstGeom prst="rect">
            <a:avLst/>
          </a:prstGeom>
        </p:spPr>
      </p:pic>
      <p:pic>
        <p:nvPicPr>
          <p:cNvPr id="4" name="Picture 3">
            <a:extLst>
              <a:ext uri="{FF2B5EF4-FFF2-40B4-BE49-F238E27FC236}">
                <a16:creationId xmlns:a16="http://schemas.microsoft.com/office/drawing/2014/main" id="{3B39B203-42BD-B261-BB01-8D3C6CA69C8B}"/>
              </a:ext>
            </a:extLst>
          </p:cNvPr>
          <p:cNvPicPr>
            <a:picLocks noChangeAspect="1"/>
          </p:cNvPicPr>
          <p:nvPr/>
        </p:nvPicPr>
        <p:blipFill>
          <a:blip r:embed="rId4"/>
          <a:stretch>
            <a:fillRect/>
          </a:stretch>
        </p:blipFill>
        <p:spPr>
          <a:xfrm rot="2040000">
            <a:off x="9316506" y="4188209"/>
            <a:ext cx="2254510" cy="1744559"/>
          </a:xfrm>
          <a:prstGeom prst="rect">
            <a:avLst/>
          </a:prstGeom>
        </p:spPr>
      </p:pic>
    </p:spTree>
    <p:extLst>
      <p:ext uri="{BB962C8B-B14F-4D97-AF65-F5344CB8AC3E}">
        <p14:creationId xmlns:p14="http://schemas.microsoft.com/office/powerpoint/2010/main" val="20832865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D0AC0-93C0-DC8B-2710-41048EC8AF19}"/>
              </a:ext>
            </a:extLst>
          </p:cNvPr>
          <p:cNvSpPr>
            <a:spLocks noGrp="1"/>
          </p:cNvSpPr>
          <p:nvPr>
            <p:ph type="title"/>
          </p:nvPr>
        </p:nvSpPr>
        <p:spPr>
          <a:xfrm>
            <a:off x="628689" y="-21966"/>
            <a:ext cx="10515600" cy="1325563"/>
          </a:xfrm>
        </p:spPr>
        <p:txBody>
          <a:bodyPr/>
          <a:lstStyle/>
          <a:p>
            <a:pPr algn="ctr"/>
            <a:r>
              <a:rPr lang="en-US">
                <a:latin typeface="Montserrat" panose="00000500000000000000" pitchFamily="2" charset="0"/>
              </a:rPr>
              <a:t>Customers Love Blue Stream Fiber</a:t>
            </a:r>
          </a:p>
        </p:txBody>
      </p:sp>
      <p:pic>
        <p:nvPicPr>
          <p:cNvPr id="12" name="object 8">
            <a:extLst>
              <a:ext uri="{FF2B5EF4-FFF2-40B4-BE49-F238E27FC236}">
                <a16:creationId xmlns:a16="http://schemas.microsoft.com/office/drawing/2014/main" id="{08E52F6A-0FAE-44CA-A921-A6B318B056A6}"/>
              </a:ext>
            </a:extLst>
          </p:cNvPr>
          <p:cNvPicPr/>
          <p:nvPr/>
        </p:nvPicPr>
        <p:blipFill>
          <a:blip r:embed="rId3" cstate="print"/>
          <a:stretch>
            <a:fillRect/>
          </a:stretch>
        </p:blipFill>
        <p:spPr>
          <a:xfrm>
            <a:off x="624848" y="1501447"/>
            <a:ext cx="3284495" cy="1095891"/>
          </a:xfrm>
          <a:prstGeom prst="rect">
            <a:avLst/>
          </a:prstGeom>
        </p:spPr>
      </p:pic>
      <p:sp>
        <p:nvSpPr>
          <p:cNvPr id="14" name="object 11">
            <a:extLst>
              <a:ext uri="{FF2B5EF4-FFF2-40B4-BE49-F238E27FC236}">
                <a16:creationId xmlns:a16="http://schemas.microsoft.com/office/drawing/2014/main" id="{3A6045E4-4009-4D18-AC15-51F036BE0CB9}"/>
              </a:ext>
            </a:extLst>
          </p:cNvPr>
          <p:cNvSpPr/>
          <p:nvPr/>
        </p:nvSpPr>
        <p:spPr>
          <a:xfrm>
            <a:off x="1240145" y="2723959"/>
            <a:ext cx="380365" cy="330835"/>
          </a:xfrm>
          <a:custGeom>
            <a:avLst/>
            <a:gdLst/>
            <a:ahLst/>
            <a:cxnLst/>
            <a:rect l="l" t="t" r="r" b="b"/>
            <a:pathLst>
              <a:path w="380365" h="330835">
                <a:moveTo>
                  <a:pt x="190119" y="0"/>
                </a:moveTo>
                <a:lnTo>
                  <a:pt x="136956" y="115887"/>
                </a:lnTo>
                <a:lnTo>
                  <a:pt x="0" y="126314"/>
                </a:lnTo>
                <a:lnTo>
                  <a:pt x="104101" y="208368"/>
                </a:lnTo>
                <a:lnTo>
                  <a:pt x="72618" y="330708"/>
                </a:lnTo>
                <a:lnTo>
                  <a:pt x="190119" y="265518"/>
                </a:lnTo>
                <a:lnTo>
                  <a:pt x="307619" y="330708"/>
                </a:lnTo>
                <a:lnTo>
                  <a:pt x="276136" y="208368"/>
                </a:lnTo>
                <a:lnTo>
                  <a:pt x="380238" y="126314"/>
                </a:lnTo>
                <a:lnTo>
                  <a:pt x="243281" y="115887"/>
                </a:lnTo>
                <a:lnTo>
                  <a:pt x="190119" y="0"/>
                </a:lnTo>
                <a:close/>
              </a:path>
            </a:pathLst>
          </a:custGeom>
          <a:solidFill>
            <a:srgbClr val="FFC000"/>
          </a:solidFill>
          <a:ln w="22225">
            <a:solidFill>
              <a:schemeClr val="accent1"/>
            </a:solidFill>
          </a:ln>
        </p:spPr>
        <p:txBody>
          <a:bodyPr wrap="square" lIns="0" tIns="0" rIns="0" bIns="0" rtlCol="0"/>
          <a:lstStyle/>
          <a:p>
            <a:endParaRPr/>
          </a:p>
        </p:txBody>
      </p:sp>
      <p:sp>
        <p:nvSpPr>
          <p:cNvPr id="15" name="object 11">
            <a:extLst>
              <a:ext uri="{FF2B5EF4-FFF2-40B4-BE49-F238E27FC236}">
                <a16:creationId xmlns:a16="http://schemas.microsoft.com/office/drawing/2014/main" id="{FCA99DB4-EC48-4398-A8F4-97B96C0A503B}"/>
              </a:ext>
            </a:extLst>
          </p:cNvPr>
          <p:cNvSpPr/>
          <p:nvPr/>
        </p:nvSpPr>
        <p:spPr>
          <a:xfrm>
            <a:off x="1670024" y="2707471"/>
            <a:ext cx="380365" cy="330835"/>
          </a:xfrm>
          <a:custGeom>
            <a:avLst/>
            <a:gdLst/>
            <a:ahLst/>
            <a:cxnLst/>
            <a:rect l="l" t="t" r="r" b="b"/>
            <a:pathLst>
              <a:path w="380365" h="330835">
                <a:moveTo>
                  <a:pt x="190119" y="0"/>
                </a:moveTo>
                <a:lnTo>
                  <a:pt x="136956" y="115887"/>
                </a:lnTo>
                <a:lnTo>
                  <a:pt x="0" y="126314"/>
                </a:lnTo>
                <a:lnTo>
                  <a:pt x="104101" y="208368"/>
                </a:lnTo>
                <a:lnTo>
                  <a:pt x="72618" y="330708"/>
                </a:lnTo>
                <a:lnTo>
                  <a:pt x="190119" y="265518"/>
                </a:lnTo>
                <a:lnTo>
                  <a:pt x="307619" y="330708"/>
                </a:lnTo>
                <a:lnTo>
                  <a:pt x="276136" y="208368"/>
                </a:lnTo>
                <a:lnTo>
                  <a:pt x="380238" y="126314"/>
                </a:lnTo>
                <a:lnTo>
                  <a:pt x="243281" y="115887"/>
                </a:lnTo>
                <a:lnTo>
                  <a:pt x="190119" y="0"/>
                </a:lnTo>
                <a:close/>
              </a:path>
            </a:pathLst>
          </a:custGeom>
          <a:solidFill>
            <a:srgbClr val="FFC000"/>
          </a:solidFill>
          <a:ln w="22225">
            <a:solidFill>
              <a:schemeClr val="accent1"/>
            </a:solidFill>
          </a:ln>
        </p:spPr>
        <p:txBody>
          <a:bodyPr wrap="square" lIns="0" tIns="0" rIns="0" bIns="0" rtlCol="0"/>
          <a:lstStyle/>
          <a:p>
            <a:endParaRPr/>
          </a:p>
        </p:txBody>
      </p:sp>
      <p:sp>
        <p:nvSpPr>
          <p:cNvPr id="16" name="object 11">
            <a:extLst>
              <a:ext uri="{FF2B5EF4-FFF2-40B4-BE49-F238E27FC236}">
                <a16:creationId xmlns:a16="http://schemas.microsoft.com/office/drawing/2014/main" id="{F57CDC19-8B9F-4C32-9EF0-7CDF2B889050}"/>
              </a:ext>
            </a:extLst>
          </p:cNvPr>
          <p:cNvSpPr/>
          <p:nvPr/>
        </p:nvSpPr>
        <p:spPr>
          <a:xfrm>
            <a:off x="804608" y="2723959"/>
            <a:ext cx="380365" cy="330835"/>
          </a:xfrm>
          <a:custGeom>
            <a:avLst/>
            <a:gdLst/>
            <a:ahLst/>
            <a:cxnLst/>
            <a:rect l="l" t="t" r="r" b="b"/>
            <a:pathLst>
              <a:path w="380365" h="330835">
                <a:moveTo>
                  <a:pt x="190119" y="0"/>
                </a:moveTo>
                <a:lnTo>
                  <a:pt x="136956" y="115887"/>
                </a:lnTo>
                <a:lnTo>
                  <a:pt x="0" y="126314"/>
                </a:lnTo>
                <a:lnTo>
                  <a:pt x="104101" y="208368"/>
                </a:lnTo>
                <a:lnTo>
                  <a:pt x="72618" y="330708"/>
                </a:lnTo>
                <a:lnTo>
                  <a:pt x="190119" y="265518"/>
                </a:lnTo>
                <a:lnTo>
                  <a:pt x="307619" y="330708"/>
                </a:lnTo>
                <a:lnTo>
                  <a:pt x="276136" y="208368"/>
                </a:lnTo>
                <a:lnTo>
                  <a:pt x="380238" y="126314"/>
                </a:lnTo>
                <a:lnTo>
                  <a:pt x="243281" y="115887"/>
                </a:lnTo>
                <a:lnTo>
                  <a:pt x="190119" y="0"/>
                </a:lnTo>
                <a:close/>
              </a:path>
            </a:pathLst>
          </a:custGeom>
          <a:solidFill>
            <a:srgbClr val="FFC000"/>
          </a:solidFill>
          <a:ln w="22225">
            <a:solidFill>
              <a:schemeClr val="accent1"/>
            </a:solidFill>
          </a:ln>
        </p:spPr>
        <p:txBody>
          <a:bodyPr wrap="square" lIns="0" tIns="0" rIns="0" bIns="0" rtlCol="0"/>
          <a:lstStyle/>
          <a:p>
            <a:endParaRPr/>
          </a:p>
        </p:txBody>
      </p:sp>
      <p:sp>
        <p:nvSpPr>
          <p:cNvPr id="17" name="object 11">
            <a:extLst>
              <a:ext uri="{FF2B5EF4-FFF2-40B4-BE49-F238E27FC236}">
                <a16:creationId xmlns:a16="http://schemas.microsoft.com/office/drawing/2014/main" id="{9D29087F-9DAC-4ED7-AA31-FABA88539DA7}"/>
              </a:ext>
            </a:extLst>
          </p:cNvPr>
          <p:cNvSpPr/>
          <p:nvPr/>
        </p:nvSpPr>
        <p:spPr>
          <a:xfrm>
            <a:off x="2107322" y="2713905"/>
            <a:ext cx="380365" cy="330835"/>
          </a:xfrm>
          <a:custGeom>
            <a:avLst/>
            <a:gdLst/>
            <a:ahLst/>
            <a:cxnLst/>
            <a:rect l="l" t="t" r="r" b="b"/>
            <a:pathLst>
              <a:path w="380365" h="330835">
                <a:moveTo>
                  <a:pt x="190119" y="0"/>
                </a:moveTo>
                <a:lnTo>
                  <a:pt x="136956" y="115887"/>
                </a:lnTo>
                <a:lnTo>
                  <a:pt x="0" y="126314"/>
                </a:lnTo>
                <a:lnTo>
                  <a:pt x="104101" y="208368"/>
                </a:lnTo>
                <a:lnTo>
                  <a:pt x="72618" y="330708"/>
                </a:lnTo>
                <a:lnTo>
                  <a:pt x="190119" y="265518"/>
                </a:lnTo>
                <a:lnTo>
                  <a:pt x="307619" y="330708"/>
                </a:lnTo>
                <a:lnTo>
                  <a:pt x="276136" y="208368"/>
                </a:lnTo>
                <a:lnTo>
                  <a:pt x="380238" y="126314"/>
                </a:lnTo>
                <a:lnTo>
                  <a:pt x="243281" y="115887"/>
                </a:lnTo>
                <a:lnTo>
                  <a:pt x="190119" y="0"/>
                </a:lnTo>
                <a:close/>
              </a:path>
            </a:pathLst>
          </a:custGeom>
          <a:solidFill>
            <a:srgbClr val="FFC000"/>
          </a:solidFill>
          <a:ln w="22225">
            <a:solidFill>
              <a:schemeClr val="accent1"/>
            </a:solidFill>
          </a:ln>
        </p:spPr>
        <p:txBody>
          <a:bodyPr wrap="square" lIns="0" tIns="0" rIns="0" bIns="0" rtlCol="0"/>
          <a:lstStyle/>
          <a:p>
            <a:endParaRPr/>
          </a:p>
        </p:txBody>
      </p:sp>
      <p:grpSp>
        <p:nvGrpSpPr>
          <p:cNvPr id="19" name="object 22">
            <a:extLst>
              <a:ext uri="{FF2B5EF4-FFF2-40B4-BE49-F238E27FC236}">
                <a16:creationId xmlns:a16="http://schemas.microsoft.com/office/drawing/2014/main" id="{D4754586-B19A-4127-8C5A-EEA796286BE1}"/>
              </a:ext>
            </a:extLst>
          </p:cNvPr>
          <p:cNvGrpSpPr/>
          <p:nvPr/>
        </p:nvGrpSpPr>
        <p:grpSpPr>
          <a:xfrm>
            <a:off x="2535660" y="2714815"/>
            <a:ext cx="400050" cy="356870"/>
            <a:chOff x="3070098" y="2455169"/>
            <a:chExt cx="400050" cy="356870"/>
          </a:xfrm>
        </p:grpSpPr>
        <p:sp>
          <p:nvSpPr>
            <p:cNvPr id="20" name="object 23">
              <a:extLst>
                <a:ext uri="{FF2B5EF4-FFF2-40B4-BE49-F238E27FC236}">
                  <a16:creationId xmlns:a16="http://schemas.microsoft.com/office/drawing/2014/main" id="{7F047E7F-7CA2-4B63-B007-C91BB82E5220}"/>
                </a:ext>
              </a:extLst>
            </p:cNvPr>
            <p:cNvSpPr/>
            <p:nvPr/>
          </p:nvSpPr>
          <p:spPr>
            <a:xfrm>
              <a:off x="3079242" y="2464313"/>
              <a:ext cx="381000" cy="330835"/>
            </a:xfrm>
            <a:custGeom>
              <a:avLst/>
              <a:gdLst/>
              <a:ahLst/>
              <a:cxnLst/>
              <a:rect l="l" t="t" r="r" b="b"/>
              <a:pathLst>
                <a:path w="381000" h="330835">
                  <a:moveTo>
                    <a:pt x="190500" y="0"/>
                  </a:moveTo>
                  <a:lnTo>
                    <a:pt x="137236" y="115887"/>
                  </a:lnTo>
                  <a:lnTo>
                    <a:pt x="0" y="126314"/>
                  </a:lnTo>
                  <a:lnTo>
                    <a:pt x="104305" y="208368"/>
                  </a:lnTo>
                  <a:lnTo>
                    <a:pt x="72758" y="330708"/>
                  </a:lnTo>
                  <a:lnTo>
                    <a:pt x="190500" y="265518"/>
                  </a:lnTo>
                  <a:lnTo>
                    <a:pt x="308229" y="330708"/>
                  </a:lnTo>
                  <a:lnTo>
                    <a:pt x="276694" y="208368"/>
                  </a:lnTo>
                  <a:lnTo>
                    <a:pt x="381000" y="126314"/>
                  </a:lnTo>
                  <a:lnTo>
                    <a:pt x="243763" y="115887"/>
                  </a:lnTo>
                  <a:lnTo>
                    <a:pt x="190500" y="0"/>
                  </a:lnTo>
                  <a:close/>
                </a:path>
              </a:pathLst>
            </a:custGeom>
            <a:solidFill>
              <a:srgbClr val="FFC000"/>
            </a:solidFill>
          </p:spPr>
          <p:txBody>
            <a:bodyPr wrap="square" lIns="0" tIns="0" rIns="0" bIns="0" rtlCol="0"/>
            <a:lstStyle/>
            <a:p>
              <a:endParaRPr/>
            </a:p>
          </p:txBody>
        </p:sp>
        <p:sp>
          <p:nvSpPr>
            <p:cNvPr id="21" name="object 24">
              <a:extLst>
                <a:ext uri="{FF2B5EF4-FFF2-40B4-BE49-F238E27FC236}">
                  <a16:creationId xmlns:a16="http://schemas.microsoft.com/office/drawing/2014/main" id="{3DA27657-959F-41E2-8E12-F0535F4F0B6F}"/>
                </a:ext>
              </a:extLst>
            </p:cNvPr>
            <p:cNvSpPr/>
            <p:nvPr/>
          </p:nvSpPr>
          <p:spPr>
            <a:xfrm>
              <a:off x="3228594" y="2464308"/>
              <a:ext cx="231775" cy="347980"/>
            </a:xfrm>
            <a:custGeom>
              <a:avLst/>
              <a:gdLst/>
              <a:ahLst/>
              <a:cxnLst/>
              <a:rect l="l" t="t" r="r" b="b"/>
              <a:pathLst>
                <a:path w="231775" h="347980">
                  <a:moveTo>
                    <a:pt x="231647" y="0"/>
                  </a:moveTo>
                  <a:lnTo>
                    <a:pt x="0" y="0"/>
                  </a:lnTo>
                  <a:lnTo>
                    <a:pt x="0" y="347472"/>
                  </a:lnTo>
                  <a:lnTo>
                    <a:pt x="231647" y="347472"/>
                  </a:lnTo>
                  <a:lnTo>
                    <a:pt x="231647" y="0"/>
                  </a:lnTo>
                  <a:close/>
                </a:path>
              </a:pathLst>
            </a:custGeom>
            <a:solidFill>
              <a:srgbClr val="FFFFFF"/>
            </a:solidFill>
          </p:spPr>
          <p:txBody>
            <a:bodyPr wrap="square" lIns="0" tIns="0" rIns="0" bIns="0" rtlCol="0"/>
            <a:lstStyle/>
            <a:p>
              <a:endParaRPr/>
            </a:p>
          </p:txBody>
        </p:sp>
        <p:sp>
          <p:nvSpPr>
            <p:cNvPr id="22" name="object 25">
              <a:extLst>
                <a:ext uri="{FF2B5EF4-FFF2-40B4-BE49-F238E27FC236}">
                  <a16:creationId xmlns:a16="http://schemas.microsoft.com/office/drawing/2014/main" id="{40FDADA4-C3B3-49AD-9A56-0D3A9878BC23}"/>
                </a:ext>
              </a:extLst>
            </p:cNvPr>
            <p:cNvSpPr/>
            <p:nvPr/>
          </p:nvSpPr>
          <p:spPr>
            <a:xfrm>
              <a:off x="3079623" y="2464694"/>
              <a:ext cx="381000" cy="330835"/>
            </a:xfrm>
            <a:custGeom>
              <a:avLst/>
              <a:gdLst/>
              <a:ahLst/>
              <a:cxnLst/>
              <a:rect l="l" t="t" r="r" b="b"/>
              <a:pathLst>
                <a:path w="381000" h="330835">
                  <a:moveTo>
                    <a:pt x="0" y="126314"/>
                  </a:moveTo>
                  <a:lnTo>
                    <a:pt x="137236" y="115887"/>
                  </a:lnTo>
                  <a:lnTo>
                    <a:pt x="190500" y="0"/>
                  </a:lnTo>
                  <a:lnTo>
                    <a:pt x="243763" y="115887"/>
                  </a:lnTo>
                  <a:lnTo>
                    <a:pt x="381000" y="126314"/>
                  </a:lnTo>
                  <a:lnTo>
                    <a:pt x="276694" y="208368"/>
                  </a:lnTo>
                  <a:lnTo>
                    <a:pt x="308229" y="330708"/>
                  </a:lnTo>
                  <a:lnTo>
                    <a:pt x="190500" y="265518"/>
                  </a:lnTo>
                  <a:lnTo>
                    <a:pt x="72758" y="330708"/>
                  </a:lnTo>
                  <a:lnTo>
                    <a:pt x="104305" y="208368"/>
                  </a:lnTo>
                  <a:lnTo>
                    <a:pt x="0" y="126314"/>
                  </a:lnTo>
                  <a:close/>
                </a:path>
              </a:pathLst>
            </a:custGeom>
            <a:ln w="19050">
              <a:solidFill>
                <a:srgbClr val="04607A"/>
              </a:solidFill>
            </a:ln>
          </p:spPr>
          <p:txBody>
            <a:bodyPr wrap="square" lIns="0" tIns="0" rIns="0" bIns="0" rtlCol="0"/>
            <a:lstStyle/>
            <a:p>
              <a:endParaRPr/>
            </a:p>
          </p:txBody>
        </p:sp>
      </p:grpSp>
      <p:pic>
        <p:nvPicPr>
          <p:cNvPr id="24" name="object 7">
            <a:extLst>
              <a:ext uri="{FF2B5EF4-FFF2-40B4-BE49-F238E27FC236}">
                <a16:creationId xmlns:a16="http://schemas.microsoft.com/office/drawing/2014/main" id="{ECAE2AB4-3361-4CA6-99D8-2CF24C168FE4}"/>
              </a:ext>
            </a:extLst>
          </p:cNvPr>
          <p:cNvPicPr/>
          <p:nvPr/>
        </p:nvPicPr>
        <p:blipFill>
          <a:blip r:embed="rId4" cstate="print"/>
          <a:stretch>
            <a:fillRect/>
          </a:stretch>
        </p:blipFill>
        <p:spPr>
          <a:xfrm>
            <a:off x="4933181" y="1487100"/>
            <a:ext cx="2743508" cy="1545350"/>
          </a:xfrm>
          <a:prstGeom prst="rect">
            <a:avLst/>
          </a:prstGeom>
        </p:spPr>
      </p:pic>
      <p:pic>
        <p:nvPicPr>
          <p:cNvPr id="25" name="object 34">
            <a:extLst>
              <a:ext uri="{FF2B5EF4-FFF2-40B4-BE49-F238E27FC236}">
                <a16:creationId xmlns:a16="http://schemas.microsoft.com/office/drawing/2014/main" id="{A2DBE450-6D5C-4E8F-AA51-309B9626D180}"/>
              </a:ext>
            </a:extLst>
          </p:cNvPr>
          <p:cNvPicPr/>
          <p:nvPr/>
        </p:nvPicPr>
        <p:blipFill>
          <a:blip r:embed="rId5" cstate="print"/>
          <a:stretch>
            <a:fillRect/>
          </a:stretch>
        </p:blipFill>
        <p:spPr>
          <a:xfrm>
            <a:off x="8333449" y="1422298"/>
            <a:ext cx="3585818" cy="1308611"/>
          </a:xfrm>
          <a:prstGeom prst="rect">
            <a:avLst/>
          </a:prstGeom>
        </p:spPr>
      </p:pic>
      <p:pic>
        <p:nvPicPr>
          <p:cNvPr id="26" name="object 35">
            <a:extLst>
              <a:ext uri="{FF2B5EF4-FFF2-40B4-BE49-F238E27FC236}">
                <a16:creationId xmlns:a16="http://schemas.microsoft.com/office/drawing/2014/main" id="{EEBF9C16-4833-44AD-98AA-988BEE6EE839}"/>
              </a:ext>
            </a:extLst>
          </p:cNvPr>
          <p:cNvPicPr/>
          <p:nvPr/>
        </p:nvPicPr>
        <p:blipFill>
          <a:blip r:embed="rId6" cstate="print"/>
          <a:stretch>
            <a:fillRect/>
          </a:stretch>
        </p:blipFill>
        <p:spPr>
          <a:xfrm>
            <a:off x="8141511" y="3270810"/>
            <a:ext cx="3823766" cy="2242258"/>
          </a:xfrm>
          <a:prstGeom prst="rect">
            <a:avLst/>
          </a:prstGeom>
        </p:spPr>
      </p:pic>
      <p:sp>
        <p:nvSpPr>
          <p:cNvPr id="3" name="object 9">
            <a:extLst>
              <a:ext uri="{FF2B5EF4-FFF2-40B4-BE49-F238E27FC236}">
                <a16:creationId xmlns:a16="http://schemas.microsoft.com/office/drawing/2014/main" id="{BDFFBCF4-619E-5FFB-A1EE-CC3628A9F86D}"/>
              </a:ext>
            </a:extLst>
          </p:cNvPr>
          <p:cNvSpPr txBox="1"/>
          <p:nvPr/>
        </p:nvSpPr>
        <p:spPr>
          <a:xfrm>
            <a:off x="888280" y="2646143"/>
            <a:ext cx="3713842" cy="768985"/>
          </a:xfrm>
          <a:prstGeom prst="rect">
            <a:avLst/>
          </a:prstGeom>
        </p:spPr>
        <p:txBody>
          <a:bodyPr vert="horz" wrap="square" lIns="0" tIns="71755"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421255">
              <a:lnSpc>
                <a:spcPct val="100000"/>
              </a:lnSpc>
              <a:spcBef>
                <a:spcPts val="565"/>
              </a:spcBef>
            </a:pPr>
            <a:r>
              <a:rPr lang="en-US" sz="2400" b="1" dirty="0">
                <a:solidFill>
                  <a:srgbClr val="C00000"/>
                </a:solidFill>
                <a:latin typeface="Arial"/>
                <a:cs typeface="Arial"/>
              </a:rPr>
              <a:t>4.2</a:t>
            </a:r>
            <a:r>
              <a:rPr sz="2400" b="1" spc="-10" dirty="0">
                <a:solidFill>
                  <a:srgbClr val="C00000"/>
                </a:solidFill>
                <a:latin typeface="Arial"/>
                <a:cs typeface="Arial"/>
              </a:rPr>
              <a:t> stars</a:t>
            </a:r>
            <a:endParaRPr sz="2400" dirty="0">
              <a:latin typeface="Arial"/>
              <a:cs typeface="Arial"/>
            </a:endParaRPr>
          </a:p>
          <a:p>
            <a:pPr marL="12700">
              <a:lnSpc>
                <a:spcPct val="100000"/>
              </a:lnSpc>
              <a:spcBef>
                <a:spcPts val="345"/>
              </a:spcBef>
            </a:pPr>
            <a:r>
              <a:rPr lang="en-US" sz="1800" b="1" spc="-25" dirty="0">
                <a:solidFill>
                  <a:srgbClr val="04607A"/>
                </a:solidFill>
                <a:latin typeface="Proxima Nova"/>
                <a:cs typeface="Arial"/>
              </a:rPr>
              <a:t>5,342</a:t>
            </a:r>
            <a:r>
              <a:rPr sz="1800" b="1" spc="-25" dirty="0">
                <a:solidFill>
                  <a:srgbClr val="04607A"/>
                </a:solidFill>
                <a:latin typeface="Proxima Nova"/>
                <a:cs typeface="Arial"/>
              </a:rPr>
              <a:t> </a:t>
            </a:r>
            <a:r>
              <a:rPr sz="1800" b="1" dirty="0">
                <a:solidFill>
                  <a:srgbClr val="04607A"/>
                </a:solidFill>
                <a:latin typeface="Proxima Nova"/>
                <a:cs typeface="Arial"/>
              </a:rPr>
              <a:t>Google</a:t>
            </a:r>
            <a:r>
              <a:rPr sz="1800" b="1" spc="-5" dirty="0">
                <a:solidFill>
                  <a:srgbClr val="04607A"/>
                </a:solidFill>
                <a:latin typeface="Proxima Nova"/>
                <a:cs typeface="Arial"/>
              </a:rPr>
              <a:t> </a:t>
            </a:r>
            <a:r>
              <a:rPr sz="1800" b="1" spc="-10" dirty="0">
                <a:solidFill>
                  <a:srgbClr val="04607A"/>
                </a:solidFill>
                <a:latin typeface="Proxima Nova"/>
                <a:cs typeface="Arial"/>
              </a:rPr>
              <a:t>Reviews</a:t>
            </a:r>
            <a:endParaRPr sz="1800" dirty="0">
              <a:latin typeface="Proxima Nova"/>
              <a:cs typeface="Arial"/>
            </a:endParaRPr>
          </a:p>
        </p:txBody>
      </p:sp>
      <p:pic>
        <p:nvPicPr>
          <p:cNvPr id="27" name="Picture 7" descr="A picture containing diagram&#10;&#10;Description automatically generated">
            <a:extLst>
              <a:ext uri="{FF2B5EF4-FFF2-40B4-BE49-F238E27FC236}">
                <a16:creationId xmlns:a16="http://schemas.microsoft.com/office/drawing/2014/main" id="{3C4A24E7-420B-B603-D252-A18D81869C45}"/>
              </a:ext>
            </a:extLst>
          </p:cNvPr>
          <p:cNvPicPr>
            <a:picLocks noChangeAspect="1"/>
          </p:cNvPicPr>
          <p:nvPr/>
        </p:nvPicPr>
        <p:blipFill>
          <a:blip r:embed="rId7"/>
          <a:stretch>
            <a:fillRect/>
          </a:stretch>
        </p:blipFill>
        <p:spPr>
          <a:xfrm>
            <a:off x="4403464" y="3479744"/>
            <a:ext cx="3276600" cy="2836140"/>
          </a:xfrm>
          <a:prstGeom prst="rect">
            <a:avLst/>
          </a:prstGeom>
        </p:spPr>
      </p:pic>
      <p:pic>
        <p:nvPicPr>
          <p:cNvPr id="4" name="Picture 4" descr="A close-up of a logo&#10;&#10;Description automatically generated">
            <a:extLst>
              <a:ext uri="{FF2B5EF4-FFF2-40B4-BE49-F238E27FC236}">
                <a16:creationId xmlns:a16="http://schemas.microsoft.com/office/drawing/2014/main" id="{4DF8D414-9FBD-D994-F917-7C61A34B5B0E}"/>
              </a:ext>
            </a:extLst>
          </p:cNvPr>
          <p:cNvPicPr>
            <a:picLocks noChangeAspect="1"/>
          </p:cNvPicPr>
          <p:nvPr/>
        </p:nvPicPr>
        <p:blipFill rotWithShape="1">
          <a:blip r:embed="rId8"/>
          <a:srcRect l="344" t="24540" r="57187" b="20996"/>
          <a:stretch/>
        </p:blipFill>
        <p:spPr>
          <a:xfrm>
            <a:off x="631724" y="3591917"/>
            <a:ext cx="3461833" cy="2483168"/>
          </a:xfrm>
          <a:prstGeom prst="rect">
            <a:avLst/>
          </a:prstGeom>
        </p:spPr>
      </p:pic>
    </p:spTree>
    <p:extLst>
      <p:ext uri="{BB962C8B-B14F-4D97-AF65-F5344CB8AC3E}">
        <p14:creationId xmlns:p14="http://schemas.microsoft.com/office/powerpoint/2010/main" val="7597064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53C9799-E105-47D6-A5D1-8241748D4290}"/>
              </a:ext>
            </a:extLst>
          </p:cNvPr>
          <p:cNvSpPr txBox="1"/>
          <p:nvPr/>
        </p:nvSpPr>
        <p:spPr>
          <a:xfrm>
            <a:off x="367645" y="169682"/>
            <a:ext cx="6287679" cy="1446550"/>
          </a:xfrm>
          <a:prstGeom prst="rect">
            <a:avLst/>
          </a:prstGeom>
          <a:noFill/>
        </p:spPr>
        <p:txBody>
          <a:bodyPr wrap="square" lIns="91440" tIns="45720" rIns="91440" bIns="45720" rtlCol="0" anchor="t">
            <a:spAutoFit/>
          </a:bodyPr>
          <a:lstStyle/>
          <a:p>
            <a:r>
              <a:rPr lang="en-US" sz="4400" b="1" spc="-225">
                <a:solidFill>
                  <a:srgbClr val="00ACD2"/>
                </a:solidFill>
                <a:latin typeface="Montserrat" panose="00000500000000000000" pitchFamily="2" charset="0"/>
              </a:rPr>
              <a:t>Easy</a:t>
            </a:r>
            <a:r>
              <a:rPr lang="en-US" sz="4400" b="1" spc="-260">
                <a:solidFill>
                  <a:srgbClr val="00ACD2"/>
                </a:solidFill>
                <a:latin typeface="Montserrat" panose="00000500000000000000" pitchFamily="2" charset="0"/>
              </a:rPr>
              <a:t> </a:t>
            </a:r>
            <a:r>
              <a:rPr lang="en-US" sz="4400" b="1" spc="-135">
                <a:solidFill>
                  <a:srgbClr val="00ACD2"/>
                </a:solidFill>
                <a:latin typeface="Montserrat" panose="00000500000000000000" pitchFamily="2" charset="0"/>
              </a:rPr>
              <a:t>Install:</a:t>
            </a:r>
            <a:r>
              <a:rPr lang="en-US" sz="4400" b="1" spc="-305">
                <a:solidFill>
                  <a:srgbClr val="00ACD2"/>
                </a:solidFill>
                <a:latin typeface="Montserrat" panose="00000500000000000000" pitchFamily="2" charset="0"/>
              </a:rPr>
              <a:t> </a:t>
            </a:r>
            <a:r>
              <a:rPr lang="en-US" sz="4400" b="1" spc="-10">
                <a:solidFill>
                  <a:srgbClr val="00ACD2"/>
                </a:solidFill>
                <a:latin typeface="Montserrat" panose="00000500000000000000" pitchFamily="2" charset="0"/>
              </a:rPr>
              <a:t>Highly </a:t>
            </a:r>
            <a:r>
              <a:rPr lang="en-US" sz="4400" b="1" spc="-135">
                <a:solidFill>
                  <a:srgbClr val="00ACD2"/>
                </a:solidFill>
                <a:latin typeface="Montserrat" panose="00000500000000000000" pitchFamily="2" charset="0"/>
              </a:rPr>
              <a:t>Satisfied</a:t>
            </a:r>
            <a:r>
              <a:rPr lang="en-US" sz="4400" b="1" spc="-240">
                <a:solidFill>
                  <a:srgbClr val="00ACD2"/>
                </a:solidFill>
                <a:latin typeface="Montserrat" panose="00000500000000000000" pitchFamily="2" charset="0"/>
              </a:rPr>
              <a:t> </a:t>
            </a:r>
            <a:r>
              <a:rPr lang="en-US" sz="4400" b="1" spc="-114">
                <a:solidFill>
                  <a:srgbClr val="00ACD2"/>
                </a:solidFill>
                <a:latin typeface="Montserrat" panose="00000500000000000000" pitchFamily="2" charset="0"/>
              </a:rPr>
              <a:t>Residents</a:t>
            </a:r>
            <a:endParaRPr lang="en-US" sz="4400" b="1">
              <a:latin typeface="Montserrat" panose="00000500000000000000" pitchFamily="2" charset="0"/>
            </a:endParaRPr>
          </a:p>
        </p:txBody>
      </p:sp>
      <p:pic>
        <p:nvPicPr>
          <p:cNvPr id="3" name="object 7">
            <a:extLst>
              <a:ext uri="{FF2B5EF4-FFF2-40B4-BE49-F238E27FC236}">
                <a16:creationId xmlns:a16="http://schemas.microsoft.com/office/drawing/2014/main" id="{A4EF9F00-BBDD-45FD-AB20-412D391670C5}"/>
              </a:ext>
            </a:extLst>
          </p:cNvPr>
          <p:cNvPicPr/>
          <p:nvPr/>
        </p:nvPicPr>
        <p:blipFill>
          <a:blip r:embed="rId3" cstate="print"/>
          <a:stretch>
            <a:fillRect/>
          </a:stretch>
        </p:blipFill>
        <p:spPr>
          <a:xfrm>
            <a:off x="6655324" y="286863"/>
            <a:ext cx="5343905" cy="6320489"/>
          </a:xfrm>
          <a:prstGeom prst="rect">
            <a:avLst/>
          </a:prstGeom>
        </p:spPr>
      </p:pic>
      <p:sp>
        <p:nvSpPr>
          <p:cNvPr id="4" name="TextBox 3">
            <a:extLst>
              <a:ext uri="{FF2B5EF4-FFF2-40B4-BE49-F238E27FC236}">
                <a16:creationId xmlns:a16="http://schemas.microsoft.com/office/drawing/2014/main" id="{92AEF163-050C-4E2E-98D7-5A0969250BF5}"/>
              </a:ext>
            </a:extLst>
          </p:cNvPr>
          <p:cNvSpPr txBox="1"/>
          <p:nvPr/>
        </p:nvSpPr>
        <p:spPr>
          <a:xfrm>
            <a:off x="518474" y="1715679"/>
            <a:ext cx="6035018" cy="5093702"/>
          </a:xfrm>
          <a:prstGeom prst="rect">
            <a:avLst/>
          </a:prstGeom>
          <a:noFill/>
        </p:spPr>
        <p:txBody>
          <a:bodyPr wrap="square" lIns="91440" tIns="45720" rIns="91440" bIns="45720" rtlCol="0" anchor="t">
            <a:spAutoFit/>
          </a:bodyPr>
          <a:lstStyle/>
          <a:p>
            <a:pPr marL="12700" marR="226060" indent="-635">
              <a:lnSpc>
                <a:spcPts val="2150"/>
              </a:lnSpc>
              <a:spcBef>
                <a:spcPts val="275"/>
              </a:spcBef>
            </a:pPr>
            <a:r>
              <a:rPr lang="en-US" i="1" spc="-10">
                <a:solidFill>
                  <a:srgbClr val="004160"/>
                </a:solidFill>
                <a:latin typeface="Montserrat" panose="00000500000000000000" pitchFamily="2" charset="0"/>
                <a:cs typeface="Tahoma"/>
              </a:rPr>
              <a:t>“</a:t>
            </a:r>
            <a:r>
              <a:rPr lang="en-US" i="1" spc="-10">
                <a:solidFill>
                  <a:srgbClr val="004160"/>
                </a:solidFill>
                <a:latin typeface="Montserrat" panose="00000500000000000000" pitchFamily="2" charset="0"/>
                <a:cs typeface="Arial"/>
              </a:rPr>
              <a:t>Chad</a:t>
            </a:r>
            <a:r>
              <a:rPr lang="en-US" i="1" spc="2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was</a:t>
            </a:r>
            <a:r>
              <a:rPr lang="en-US" i="1" spc="-3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extremely</a:t>
            </a:r>
            <a:r>
              <a:rPr lang="en-US" i="1" spc="-4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knowledgeable,</a:t>
            </a:r>
            <a:r>
              <a:rPr lang="en-US" i="1" spc="-55">
                <a:solidFill>
                  <a:srgbClr val="004160"/>
                </a:solidFill>
                <a:latin typeface="Montserrat" panose="00000500000000000000" pitchFamily="2" charset="0"/>
                <a:cs typeface="Arial"/>
              </a:rPr>
              <a:t> </a:t>
            </a:r>
            <a:r>
              <a:rPr lang="en-US" b="1" i="1" spc="-55">
                <a:solidFill>
                  <a:srgbClr val="067AAB"/>
                </a:solidFill>
                <a:latin typeface="Montserrat" panose="00000500000000000000" pitchFamily="2" charset="0"/>
                <a:cs typeface="Arial"/>
              </a:rPr>
              <a:t>professional </a:t>
            </a:r>
            <a:r>
              <a:rPr lang="en-US" b="1" i="1">
                <a:solidFill>
                  <a:srgbClr val="067AAB"/>
                </a:solidFill>
                <a:latin typeface="Montserrat" panose="00000500000000000000" pitchFamily="2" charset="0"/>
                <a:cs typeface="Arial"/>
              </a:rPr>
              <a:t>and</a:t>
            </a:r>
            <a:r>
              <a:rPr lang="en-US" b="1" i="1" spc="-90">
                <a:solidFill>
                  <a:srgbClr val="067AAB"/>
                </a:solidFill>
                <a:latin typeface="Montserrat" panose="00000500000000000000" pitchFamily="2" charset="0"/>
                <a:cs typeface="Arial"/>
              </a:rPr>
              <a:t> </a:t>
            </a:r>
            <a:r>
              <a:rPr lang="en-US" b="1" i="1" spc="-40">
                <a:solidFill>
                  <a:srgbClr val="067AAB"/>
                </a:solidFill>
                <a:latin typeface="Montserrat" panose="00000500000000000000" pitchFamily="2" charset="0"/>
                <a:cs typeface="Arial"/>
              </a:rPr>
              <a:t>prompt</a:t>
            </a:r>
            <a:r>
              <a:rPr lang="en-US" b="1" i="1" spc="-40">
                <a:solidFill>
                  <a:srgbClr val="04607A"/>
                </a:solidFill>
                <a:latin typeface="Montserrat" panose="00000500000000000000" pitchFamily="2" charset="0"/>
                <a:cs typeface="Arial"/>
              </a:rPr>
              <a:t>.</a:t>
            </a:r>
            <a:r>
              <a:rPr lang="en-US" b="1" i="1" spc="-70">
                <a:solidFill>
                  <a:srgbClr val="04607A"/>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A</a:t>
            </a:r>
            <a:r>
              <a:rPr lang="en-US" i="1" spc="-6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credit</a:t>
            </a:r>
            <a:r>
              <a:rPr lang="en-US" i="1" spc="1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to</a:t>
            </a:r>
            <a:r>
              <a:rPr lang="en-US" i="1" spc="-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your</a:t>
            </a:r>
            <a:r>
              <a:rPr lang="en-US" i="1" spc="-45">
                <a:solidFill>
                  <a:srgbClr val="004160"/>
                </a:solidFill>
                <a:latin typeface="Montserrat" panose="00000500000000000000" pitchFamily="2" charset="0"/>
                <a:cs typeface="Arial"/>
              </a:rPr>
              <a:t> </a:t>
            </a:r>
            <a:r>
              <a:rPr lang="en-US" i="1" spc="-10">
                <a:solidFill>
                  <a:srgbClr val="004160"/>
                </a:solidFill>
                <a:latin typeface="Montserrat" panose="00000500000000000000" pitchFamily="2" charset="0"/>
                <a:cs typeface="Arial"/>
              </a:rPr>
              <a:t>company.”</a:t>
            </a:r>
            <a:endParaRPr lang="en-US">
              <a:latin typeface="Montserrat" panose="00000500000000000000" pitchFamily="2" charset="0"/>
              <a:cs typeface="Arial"/>
            </a:endParaRPr>
          </a:p>
          <a:p>
            <a:pPr>
              <a:lnSpc>
                <a:spcPct val="100000"/>
              </a:lnSpc>
              <a:spcBef>
                <a:spcPts val="25"/>
              </a:spcBef>
            </a:pPr>
            <a:endParaRPr lang="en-US">
              <a:latin typeface="Montserrat" panose="00000500000000000000" pitchFamily="2" charset="0"/>
              <a:cs typeface="Arial"/>
            </a:endParaRPr>
          </a:p>
          <a:p>
            <a:pPr marL="12700">
              <a:lnSpc>
                <a:spcPct val="100000"/>
              </a:lnSpc>
            </a:pPr>
            <a:r>
              <a:rPr lang="en-US" i="1" spc="-35">
                <a:solidFill>
                  <a:srgbClr val="004160"/>
                </a:solidFill>
                <a:latin typeface="Montserrat" panose="00000500000000000000" pitchFamily="2" charset="0"/>
                <a:cs typeface="Arial"/>
              </a:rPr>
              <a:t>“</a:t>
            </a:r>
            <a:r>
              <a:rPr lang="en-US" b="1" i="1" spc="-35">
                <a:solidFill>
                  <a:srgbClr val="067AAB"/>
                </a:solidFill>
                <a:latin typeface="Montserrat" panose="00000500000000000000" pitchFamily="2" charset="0"/>
                <a:cs typeface="Arial"/>
              </a:rPr>
              <a:t>Courteous</a:t>
            </a:r>
            <a:r>
              <a:rPr lang="en-US" b="1" i="1" spc="-195">
                <a:solidFill>
                  <a:srgbClr val="067AAB"/>
                </a:solidFill>
                <a:latin typeface="Montserrat" panose="00000500000000000000" pitchFamily="2" charset="0"/>
                <a:cs typeface="Arial"/>
              </a:rPr>
              <a:t> </a:t>
            </a:r>
            <a:r>
              <a:rPr lang="en-US" b="1" i="1" spc="-45">
                <a:solidFill>
                  <a:srgbClr val="067AAB"/>
                </a:solidFill>
                <a:latin typeface="Montserrat" panose="00000500000000000000" pitchFamily="2" charset="0"/>
                <a:cs typeface="Arial"/>
              </a:rPr>
              <a:t>Efficient</a:t>
            </a:r>
            <a:r>
              <a:rPr lang="en-US" b="1" i="1" spc="-30">
                <a:solidFill>
                  <a:srgbClr val="067AAB"/>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and</a:t>
            </a:r>
            <a:r>
              <a:rPr lang="en-US" i="1" spc="2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took</a:t>
            </a:r>
            <a:r>
              <a:rPr lang="en-US" i="1" spc="2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care</a:t>
            </a:r>
            <a:r>
              <a:rPr lang="en-US" i="1" spc="1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of the </a:t>
            </a:r>
            <a:r>
              <a:rPr lang="en-US" i="1" spc="-10">
                <a:solidFill>
                  <a:srgbClr val="004160"/>
                </a:solidFill>
                <a:latin typeface="Montserrat" panose="00000500000000000000" pitchFamily="2" charset="0"/>
                <a:cs typeface="Arial"/>
              </a:rPr>
              <a:t>problem</a:t>
            </a:r>
            <a:r>
              <a:rPr lang="en-US">
                <a:latin typeface="Montserrat" panose="00000500000000000000" pitchFamily="2" charset="0"/>
                <a:cs typeface="Arial"/>
              </a:rPr>
              <a:t> </a:t>
            </a:r>
            <a:r>
              <a:rPr lang="en-US" i="1" spc="-20">
                <a:solidFill>
                  <a:srgbClr val="004160"/>
                </a:solidFill>
                <a:latin typeface="Montserrat" panose="00000500000000000000" pitchFamily="2" charset="0"/>
                <a:cs typeface="Arial"/>
              </a:rPr>
              <a:t>+++.”</a:t>
            </a:r>
            <a:endParaRPr lang="en-US">
              <a:latin typeface="Montserrat" panose="00000500000000000000" pitchFamily="2" charset="0"/>
              <a:cs typeface="Arial"/>
            </a:endParaRPr>
          </a:p>
          <a:p>
            <a:pPr>
              <a:lnSpc>
                <a:spcPct val="100000"/>
              </a:lnSpc>
              <a:spcBef>
                <a:spcPts val="30"/>
              </a:spcBef>
            </a:pPr>
            <a:endParaRPr lang="en-US">
              <a:latin typeface="Montserrat" panose="00000500000000000000" pitchFamily="2" charset="0"/>
              <a:cs typeface="Arial"/>
            </a:endParaRPr>
          </a:p>
          <a:p>
            <a:pPr marL="12700" marR="5080">
              <a:lnSpc>
                <a:spcPct val="100000"/>
              </a:lnSpc>
              <a:spcBef>
                <a:spcPts val="5"/>
              </a:spcBef>
            </a:pPr>
            <a:r>
              <a:rPr lang="en-US" i="1">
                <a:solidFill>
                  <a:srgbClr val="004160"/>
                </a:solidFill>
                <a:latin typeface="Montserrat" panose="00000500000000000000" pitchFamily="2" charset="0"/>
                <a:cs typeface="Arial"/>
              </a:rPr>
              <a:t>“The</a:t>
            </a:r>
            <a:r>
              <a:rPr lang="en-US" i="1" spc="-3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technician</a:t>
            </a:r>
            <a:r>
              <a:rPr lang="en-US" i="1" spc="-2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was</a:t>
            </a:r>
            <a:r>
              <a:rPr lang="en-US" i="1" spc="-40">
                <a:solidFill>
                  <a:srgbClr val="004160"/>
                </a:solidFill>
                <a:latin typeface="Montserrat" panose="00000500000000000000" pitchFamily="2" charset="0"/>
                <a:cs typeface="Arial"/>
              </a:rPr>
              <a:t> </a:t>
            </a:r>
            <a:r>
              <a:rPr lang="en-US" b="1" i="1" spc="-40">
                <a:solidFill>
                  <a:srgbClr val="067AAB"/>
                </a:solidFill>
                <a:latin typeface="Montserrat" panose="00000500000000000000" pitchFamily="2" charset="0"/>
                <a:cs typeface="Arial"/>
              </a:rPr>
              <a:t>very</a:t>
            </a:r>
            <a:r>
              <a:rPr lang="en-US" b="1" i="1" spc="-95">
                <a:solidFill>
                  <a:srgbClr val="067AAB"/>
                </a:solidFill>
                <a:latin typeface="Montserrat" panose="00000500000000000000" pitchFamily="2" charset="0"/>
                <a:cs typeface="Arial"/>
              </a:rPr>
              <a:t> </a:t>
            </a:r>
            <a:r>
              <a:rPr lang="en-US" b="1" i="1" spc="-35">
                <a:solidFill>
                  <a:srgbClr val="067AAB"/>
                </a:solidFill>
                <a:latin typeface="Montserrat" panose="00000500000000000000" pitchFamily="2" charset="0"/>
                <a:cs typeface="Arial"/>
              </a:rPr>
              <a:t>knowledgeable</a:t>
            </a:r>
            <a:r>
              <a:rPr lang="en-US" b="1" i="1" spc="-40">
                <a:solidFill>
                  <a:srgbClr val="067AAB"/>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and</a:t>
            </a:r>
            <a:r>
              <a:rPr lang="en-US" i="1" spc="4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able</a:t>
            </a:r>
            <a:r>
              <a:rPr lang="en-US" i="1" spc="15">
                <a:solidFill>
                  <a:srgbClr val="004160"/>
                </a:solidFill>
                <a:latin typeface="Montserrat" panose="00000500000000000000" pitchFamily="2" charset="0"/>
                <a:cs typeface="Arial"/>
              </a:rPr>
              <a:t> </a:t>
            </a:r>
            <a:r>
              <a:rPr lang="en-US" i="1" spc="-25">
                <a:solidFill>
                  <a:srgbClr val="004160"/>
                </a:solidFill>
                <a:latin typeface="Montserrat" panose="00000500000000000000" pitchFamily="2" charset="0"/>
                <a:cs typeface="Arial"/>
              </a:rPr>
              <a:t>to </a:t>
            </a:r>
            <a:r>
              <a:rPr lang="en-US" i="1">
                <a:solidFill>
                  <a:srgbClr val="004160"/>
                </a:solidFill>
                <a:latin typeface="Montserrat" panose="00000500000000000000" pitchFamily="2" charset="0"/>
                <a:cs typeface="Arial"/>
              </a:rPr>
              <a:t>set</a:t>
            </a:r>
            <a:r>
              <a:rPr lang="en-US" i="1" spc="-5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up</a:t>
            </a:r>
            <a:r>
              <a:rPr lang="en-US" i="1" spc="-4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the</a:t>
            </a:r>
            <a:r>
              <a:rPr lang="en-US" i="1" spc="-4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TV</a:t>
            </a:r>
            <a:r>
              <a:rPr lang="en-US" i="1" spc="-7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and</a:t>
            </a:r>
            <a:r>
              <a:rPr lang="en-US" i="1" spc="-20">
                <a:solidFill>
                  <a:srgbClr val="004160"/>
                </a:solidFill>
                <a:latin typeface="Montserrat" panose="00000500000000000000" pitchFamily="2" charset="0"/>
                <a:cs typeface="Arial"/>
              </a:rPr>
              <a:t> </a:t>
            </a:r>
            <a:r>
              <a:rPr lang="en-US" b="1" i="1">
                <a:solidFill>
                  <a:srgbClr val="067AAB"/>
                </a:solidFill>
                <a:latin typeface="Montserrat" panose="00000500000000000000" pitchFamily="2" charset="0"/>
                <a:cs typeface="Arial"/>
              </a:rPr>
              <a:t>made</a:t>
            </a:r>
            <a:r>
              <a:rPr lang="en-US" b="1" i="1" spc="-60">
                <a:solidFill>
                  <a:srgbClr val="067AAB"/>
                </a:solidFill>
                <a:latin typeface="Montserrat" panose="00000500000000000000" pitchFamily="2" charset="0"/>
                <a:cs typeface="Arial"/>
              </a:rPr>
              <a:t> </a:t>
            </a:r>
            <a:r>
              <a:rPr lang="en-US" b="1" i="1">
                <a:solidFill>
                  <a:srgbClr val="067AAB"/>
                </a:solidFill>
                <a:latin typeface="Montserrat" panose="00000500000000000000" pitchFamily="2" charset="0"/>
                <a:cs typeface="Arial"/>
              </a:rPr>
              <a:t>it</a:t>
            </a:r>
            <a:r>
              <a:rPr lang="en-US" b="1" i="1" spc="-50">
                <a:solidFill>
                  <a:srgbClr val="067AAB"/>
                </a:solidFill>
                <a:latin typeface="Montserrat" panose="00000500000000000000" pitchFamily="2" charset="0"/>
                <a:cs typeface="Arial"/>
              </a:rPr>
              <a:t> </a:t>
            </a:r>
            <a:r>
              <a:rPr lang="en-US" b="1" i="1" spc="-45">
                <a:solidFill>
                  <a:srgbClr val="067AAB"/>
                </a:solidFill>
                <a:latin typeface="Montserrat" panose="00000500000000000000" pitchFamily="2" charset="0"/>
                <a:cs typeface="Arial"/>
              </a:rPr>
              <a:t>look</a:t>
            </a:r>
            <a:r>
              <a:rPr lang="en-US" b="1" i="1" spc="-100">
                <a:solidFill>
                  <a:srgbClr val="067AAB"/>
                </a:solidFill>
                <a:latin typeface="Montserrat" panose="00000500000000000000" pitchFamily="2" charset="0"/>
                <a:cs typeface="Arial"/>
              </a:rPr>
              <a:t> </a:t>
            </a:r>
            <a:r>
              <a:rPr lang="en-US" b="1" i="1" spc="-45">
                <a:solidFill>
                  <a:srgbClr val="067AAB"/>
                </a:solidFill>
                <a:latin typeface="Montserrat" panose="00000500000000000000" pitchFamily="2" charset="0"/>
                <a:cs typeface="Arial"/>
              </a:rPr>
              <a:t>outstanding</a:t>
            </a:r>
            <a:r>
              <a:rPr lang="en-US" b="1" i="1" spc="-110">
                <a:solidFill>
                  <a:srgbClr val="067AAB"/>
                </a:solidFill>
                <a:latin typeface="Montserrat" panose="00000500000000000000" pitchFamily="2" charset="0"/>
                <a:cs typeface="Arial"/>
              </a:rPr>
              <a:t> </a:t>
            </a:r>
            <a:r>
              <a:rPr lang="en-US" b="1" i="1" spc="-20">
                <a:solidFill>
                  <a:srgbClr val="067AAB"/>
                </a:solidFill>
                <a:latin typeface="Montserrat" panose="00000500000000000000" pitchFamily="2" charset="0"/>
                <a:cs typeface="Arial"/>
              </a:rPr>
              <a:t>with </a:t>
            </a:r>
            <a:r>
              <a:rPr lang="en-US" b="1" i="1" spc="-60">
                <a:solidFill>
                  <a:srgbClr val="067AAB"/>
                </a:solidFill>
                <a:latin typeface="Montserrat" panose="00000500000000000000" pitchFamily="2" charset="0"/>
                <a:cs typeface="Arial"/>
              </a:rPr>
              <a:t>color</a:t>
            </a:r>
            <a:r>
              <a:rPr lang="en-US" b="1" i="1" spc="-114">
                <a:solidFill>
                  <a:srgbClr val="067AAB"/>
                </a:solidFill>
                <a:latin typeface="Montserrat" panose="00000500000000000000" pitchFamily="2" charset="0"/>
                <a:cs typeface="Arial"/>
              </a:rPr>
              <a:t> </a:t>
            </a:r>
            <a:r>
              <a:rPr lang="en-US" b="1" i="1">
                <a:solidFill>
                  <a:srgbClr val="067AAB"/>
                </a:solidFill>
                <a:latin typeface="Montserrat" panose="00000500000000000000" pitchFamily="2" charset="0"/>
                <a:cs typeface="Arial"/>
              </a:rPr>
              <a:t>and</a:t>
            </a:r>
            <a:r>
              <a:rPr lang="en-US" b="1" i="1" spc="-90">
                <a:solidFill>
                  <a:srgbClr val="067AAB"/>
                </a:solidFill>
                <a:latin typeface="Montserrat" panose="00000500000000000000" pitchFamily="2" charset="0"/>
                <a:cs typeface="Arial"/>
              </a:rPr>
              <a:t> </a:t>
            </a:r>
            <a:r>
              <a:rPr lang="en-US" b="1" i="1" spc="-25">
                <a:solidFill>
                  <a:srgbClr val="067AAB"/>
                </a:solidFill>
                <a:latin typeface="Montserrat" panose="00000500000000000000" pitchFamily="2" charset="0"/>
                <a:cs typeface="Arial"/>
              </a:rPr>
              <a:t>explained</a:t>
            </a:r>
            <a:r>
              <a:rPr lang="en-US" b="1" i="1" spc="-95">
                <a:solidFill>
                  <a:srgbClr val="067AAB"/>
                </a:solidFill>
                <a:latin typeface="Montserrat" panose="00000500000000000000" pitchFamily="2" charset="0"/>
                <a:cs typeface="Arial"/>
              </a:rPr>
              <a:t> </a:t>
            </a:r>
            <a:r>
              <a:rPr lang="en-US" b="1" i="1">
                <a:solidFill>
                  <a:srgbClr val="067AAB"/>
                </a:solidFill>
                <a:latin typeface="Montserrat" panose="00000500000000000000" pitchFamily="2" charset="0"/>
                <a:cs typeface="Arial"/>
              </a:rPr>
              <a:t>the</a:t>
            </a:r>
            <a:r>
              <a:rPr lang="en-US" b="1" i="1" spc="-55">
                <a:solidFill>
                  <a:srgbClr val="067AAB"/>
                </a:solidFill>
                <a:latin typeface="Montserrat" panose="00000500000000000000" pitchFamily="2" charset="0"/>
                <a:cs typeface="Arial"/>
              </a:rPr>
              <a:t> </a:t>
            </a:r>
            <a:r>
              <a:rPr lang="en-US" b="1" i="1" spc="-20">
                <a:solidFill>
                  <a:srgbClr val="067AAB"/>
                </a:solidFill>
                <a:latin typeface="Montserrat" panose="00000500000000000000" pitchFamily="2" charset="0"/>
                <a:cs typeface="Arial"/>
              </a:rPr>
              <a:t>remote</a:t>
            </a:r>
            <a:r>
              <a:rPr lang="en-US" b="1" i="1" spc="-45">
                <a:solidFill>
                  <a:srgbClr val="067AAB"/>
                </a:solidFill>
                <a:latin typeface="Montserrat" panose="00000500000000000000" pitchFamily="2" charset="0"/>
                <a:cs typeface="Arial"/>
              </a:rPr>
              <a:t> </a:t>
            </a:r>
            <a:r>
              <a:rPr lang="en-US" b="1" i="1" spc="-35">
                <a:solidFill>
                  <a:srgbClr val="067AAB"/>
                </a:solidFill>
                <a:latin typeface="Montserrat" panose="00000500000000000000" pitchFamily="2" charset="0"/>
                <a:cs typeface="Arial"/>
              </a:rPr>
              <a:t>usage</a:t>
            </a:r>
            <a:r>
              <a:rPr lang="en-US" b="1" i="1" spc="-60">
                <a:solidFill>
                  <a:srgbClr val="067AAB"/>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as</a:t>
            </a:r>
            <a:r>
              <a:rPr lang="en-US" i="1" spc="-65">
                <a:solidFill>
                  <a:srgbClr val="004160"/>
                </a:solidFill>
                <a:latin typeface="Montserrat" panose="00000500000000000000" pitchFamily="2" charset="0"/>
                <a:cs typeface="Arial"/>
              </a:rPr>
              <a:t> </a:t>
            </a:r>
            <a:r>
              <a:rPr lang="en-US" i="1" spc="-10">
                <a:solidFill>
                  <a:srgbClr val="004160"/>
                </a:solidFill>
                <a:latin typeface="Montserrat" panose="00000500000000000000" pitchFamily="2" charset="0"/>
                <a:cs typeface="Arial"/>
              </a:rPr>
              <a:t>well.</a:t>
            </a:r>
            <a:r>
              <a:rPr lang="en-US" i="1" spc="-114">
                <a:solidFill>
                  <a:srgbClr val="004160"/>
                </a:solidFill>
                <a:latin typeface="Montserrat" panose="00000500000000000000" pitchFamily="2" charset="0"/>
                <a:cs typeface="Arial"/>
              </a:rPr>
              <a:t> </a:t>
            </a:r>
            <a:r>
              <a:rPr lang="en-US" i="1" spc="-35">
                <a:solidFill>
                  <a:srgbClr val="004160"/>
                </a:solidFill>
                <a:latin typeface="Montserrat" panose="00000500000000000000" pitchFamily="2" charset="0"/>
                <a:cs typeface="Arial"/>
              </a:rPr>
              <a:t>Plus,</a:t>
            </a:r>
            <a:r>
              <a:rPr lang="en-US" i="1" spc="-95">
                <a:solidFill>
                  <a:srgbClr val="004160"/>
                </a:solidFill>
                <a:latin typeface="Montserrat" panose="00000500000000000000" pitchFamily="2" charset="0"/>
                <a:cs typeface="Arial"/>
              </a:rPr>
              <a:t> </a:t>
            </a:r>
            <a:r>
              <a:rPr lang="en-US" i="1" spc="-50">
                <a:solidFill>
                  <a:srgbClr val="004160"/>
                </a:solidFill>
                <a:latin typeface="Montserrat" panose="00000500000000000000" pitchFamily="2" charset="0"/>
                <a:cs typeface="Arial"/>
              </a:rPr>
              <a:t>I </a:t>
            </a:r>
            <a:r>
              <a:rPr lang="en-US" i="1">
                <a:solidFill>
                  <a:srgbClr val="004160"/>
                </a:solidFill>
                <a:latin typeface="Montserrat" panose="00000500000000000000" pitchFamily="2" charset="0"/>
                <a:cs typeface="Arial"/>
              </a:rPr>
              <a:t>was</a:t>
            </a:r>
            <a:r>
              <a:rPr lang="en-US" i="1" spc="-6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able to</a:t>
            </a:r>
            <a:r>
              <a:rPr lang="en-US" i="1" spc="2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get</a:t>
            </a:r>
            <a:r>
              <a:rPr lang="en-US" i="1" spc="-1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service</a:t>
            </a:r>
            <a:r>
              <a:rPr lang="en-US" i="1" spc="-3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in</a:t>
            </a:r>
            <a:r>
              <a:rPr lang="en-US" i="1" spc="-4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24</a:t>
            </a:r>
            <a:r>
              <a:rPr lang="en-US" i="1" spc="-5">
                <a:solidFill>
                  <a:srgbClr val="004160"/>
                </a:solidFill>
                <a:latin typeface="Montserrat" panose="00000500000000000000" pitchFamily="2" charset="0"/>
                <a:cs typeface="Arial"/>
              </a:rPr>
              <a:t> </a:t>
            </a:r>
            <a:r>
              <a:rPr lang="en-US" i="1" spc="-10">
                <a:solidFill>
                  <a:srgbClr val="004160"/>
                </a:solidFill>
                <a:latin typeface="Montserrat" panose="00000500000000000000" pitchFamily="2" charset="0"/>
                <a:cs typeface="Arial"/>
              </a:rPr>
              <a:t>hours.”</a:t>
            </a:r>
            <a:endParaRPr lang="en-US">
              <a:latin typeface="Montserrat" panose="00000500000000000000" pitchFamily="2" charset="0"/>
              <a:cs typeface="Arial"/>
            </a:endParaRPr>
          </a:p>
          <a:p>
            <a:pPr>
              <a:lnSpc>
                <a:spcPct val="100000"/>
              </a:lnSpc>
              <a:spcBef>
                <a:spcPts val="30"/>
              </a:spcBef>
            </a:pPr>
            <a:endParaRPr lang="en-US">
              <a:latin typeface="Montserrat" panose="00000500000000000000" pitchFamily="2" charset="0"/>
              <a:cs typeface="Arial"/>
            </a:endParaRPr>
          </a:p>
          <a:p>
            <a:pPr marL="12700" marR="102870">
              <a:lnSpc>
                <a:spcPct val="100000"/>
              </a:lnSpc>
            </a:pPr>
            <a:r>
              <a:rPr lang="en-US" i="1">
                <a:solidFill>
                  <a:srgbClr val="004160"/>
                </a:solidFill>
                <a:latin typeface="Montserrat" panose="00000500000000000000" pitchFamily="2" charset="0"/>
                <a:cs typeface="Arial"/>
              </a:rPr>
              <a:t>“</a:t>
            </a:r>
            <a:r>
              <a:rPr lang="en-US" b="1" i="1">
                <a:solidFill>
                  <a:srgbClr val="067AAB"/>
                </a:solidFill>
                <a:latin typeface="Montserrat" panose="00000500000000000000" pitchFamily="2" charset="0"/>
                <a:cs typeface="Arial"/>
              </a:rPr>
              <a:t>Very</a:t>
            </a:r>
            <a:r>
              <a:rPr lang="en-US" b="1" i="1" spc="-110">
                <a:solidFill>
                  <a:srgbClr val="067AAB"/>
                </a:solidFill>
                <a:latin typeface="Montserrat" panose="00000500000000000000" pitchFamily="2" charset="0"/>
                <a:cs typeface="Arial"/>
              </a:rPr>
              <a:t> </a:t>
            </a:r>
            <a:r>
              <a:rPr lang="en-US" b="1" i="1" spc="-30">
                <a:solidFill>
                  <a:srgbClr val="067AAB"/>
                </a:solidFill>
                <a:latin typeface="Montserrat" panose="00000500000000000000" pitchFamily="2" charset="0"/>
                <a:cs typeface="Arial"/>
              </a:rPr>
              <a:t>knowledgeable</a:t>
            </a:r>
            <a:r>
              <a:rPr lang="en-US" b="1" i="1" spc="-40">
                <a:solidFill>
                  <a:srgbClr val="067AAB"/>
                </a:solidFill>
                <a:latin typeface="Montserrat" panose="00000500000000000000" pitchFamily="2" charset="0"/>
                <a:cs typeface="Arial"/>
              </a:rPr>
              <a:t> </a:t>
            </a:r>
            <a:r>
              <a:rPr lang="en-US" b="1" i="1">
                <a:solidFill>
                  <a:srgbClr val="067AAB"/>
                </a:solidFill>
                <a:latin typeface="Montserrat" panose="00000500000000000000" pitchFamily="2" charset="0"/>
                <a:cs typeface="Arial"/>
              </a:rPr>
              <a:t>and</a:t>
            </a:r>
            <a:r>
              <a:rPr lang="en-US" b="1" i="1" spc="-80">
                <a:solidFill>
                  <a:srgbClr val="067AAB"/>
                </a:solidFill>
                <a:latin typeface="Montserrat" panose="00000500000000000000" pitchFamily="2" charset="0"/>
                <a:cs typeface="Arial"/>
              </a:rPr>
              <a:t> </a:t>
            </a:r>
            <a:r>
              <a:rPr lang="en-US" b="1" i="1">
                <a:solidFill>
                  <a:srgbClr val="067AAB"/>
                </a:solidFill>
                <a:latin typeface="Montserrat" panose="00000500000000000000" pitchFamily="2" charset="0"/>
                <a:cs typeface="Arial"/>
              </a:rPr>
              <a:t>he</a:t>
            </a:r>
            <a:r>
              <a:rPr lang="en-US" b="1" i="1" spc="-60">
                <a:solidFill>
                  <a:srgbClr val="067AAB"/>
                </a:solidFill>
                <a:latin typeface="Montserrat" panose="00000500000000000000" pitchFamily="2" charset="0"/>
                <a:cs typeface="Arial"/>
              </a:rPr>
              <a:t> </a:t>
            </a:r>
            <a:r>
              <a:rPr lang="en-US" b="1" i="1" spc="-20">
                <a:solidFill>
                  <a:srgbClr val="067AAB"/>
                </a:solidFill>
                <a:latin typeface="Montserrat" panose="00000500000000000000" pitchFamily="2" charset="0"/>
                <a:cs typeface="Arial"/>
              </a:rPr>
              <a:t>was</a:t>
            </a:r>
            <a:r>
              <a:rPr lang="en-US" b="1" i="1" spc="-100">
                <a:solidFill>
                  <a:srgbClr val="067AAB"/>
                </a:solidFill>
                <a:latin typeface="Montserrat" panose="00000500000000000000" pitchFamily="2" charset="0"/>
                <a:cs typeface="Arial"/>
              </a:rPr>
              <a:t> </a:t>
            </a:r>
            <a:r>
              <a:rPr lang="en-US" b="1" i="1" spc="-40">
                <a:solidFill>
                  <a:srgbClr val="067AAB"/>
                </a:solidFill>
                <a:latin typeface="Montserrat" panose="00000500000000000000" pitchFamily="2" charset="0"/>
                <a:cs typeface="Arial"/>
              </a:rPr>
              <a:t>very</a:t>
            </a:r>
            <a:r>
              <a:rPr lang="en-US" b="1" i="1" spc="-105">
                <a:solidFill>
                  <a:srgbClr val="067AAB"/>
                </a:solidFill>
                <a:latin typeface="Montserrat" panose="00000500000000000000" pitchFamily="2" charset="0"/>
                <a:cs typeface="Arial"/>
              </a:rPr>
              <a:t> </a:t>
            </a:r>
            <a:r>
              <a:rPr lang="en-US" b="1" i="1" spc="-10">
                <a:solidFill>
                  <a:srgbClr val="067AAB"/>
                </a:solidFill>
                <a:latin typeface="Montserrat" panose="00000500000000000000" pitchFamily="2" charset="0"/>
                <a:cs typeface="Arial"/>
              </a:rPr>
              <a:t>informative, </a:t>
            </a:r>
            <a:r>
              <a:rPr lang="en-US" i="1">
                <a:solidFill>
                  <a:srgbClr val="004160"/>
                </a:solidFill>
                <a:latin typeface="Montserrat" panose="00000500000000000000" pitchFamily="2" charset="0"/>
                <a:cs typeface="Arial"/>
              </a:rPr>
              <a:t>and</a:t>
            </a:r>
            <a:r>
              <a:rPr lang="en-US" i="1" spc="1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everything</a:t>
            </a:r>
            <a:r>
              <a:rPr lang="en-US" i="1" spc="-1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is</a:t>
            </a:r>
            <a:r>
              <a:rPr lang="en-US" i="1" spc="-7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working much</a:t>
            </a:r>
            <a:r>
              <a:rPr lang="en-US" i="1" spc="-6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better.</a:t>
            </a:r>
            <a:r>
              <a:rPr lang="en-US" i="1" spc="-7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Very</a:t>
            </a:r>
            <a:r>
              <a:rPr lang="en-US" i="1" spc="-5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glad</a:t>
            </a:r>
            <a:r>
              <a:rPr lang="en-US" i="1" spc="25">
                <a:solidFill>
                  <a:srgbClr val="004160"/>
                </a:solidFill>
                <a:latin typeface="Montserrat" panose="00000500000000000000" pitchFamily="2" charset="0"/>
                <a:cs typeface="Arial"/>
              </a:rPr>
              <a:t> </a:t>
            </a:r>
            <a:r>
              <a:rPr lang="en-US" i="1" spc="-25">
                <a:solidFill>
                  <a:srgbClr val="004160"/>
                </a:solidFill>
                <a:latin typeface="Montserrat" panose="00000500000000000000" pitchFamily="2" charset="0"/>
                <a:cs typeface="Arial"/>
              </a:rPr>
              <a:t>we </a:t>
            </a:r>
            <a:r>
              <a:rPr lang="en-US" i="1">
                <a:solidFill>
                  <a:srgbClr val="004160"/>
                </a:solidFill>
                <a:latin typeface="Montserrat" panose="00000500000000000000" pitchFamily="2" charset="0"/>
                <a:cs typeface="Arial"/>
              </a:rPr>
              <a:t>got</a:t>
            </a:r>
            <a:r>
              <a:rPr lang="en-US" i="1" spc="1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this</a:t>
            </a:r>
            <a:r>
              <a:rPr lang="en-US" i="1" spc="-60">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individual</a:t>
            </a:r>
            <a:r>
              <a:rPr lang="en-US" i="1" spc="-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to</a:t>
            </a:r>
            <a:r>
              <a:rPr lang="en-US" i="1" spc="2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take</a:t>
            </a:r>
            <a:r>
              <a:rPr lang="en-US" i="1" spc="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care</a:t>
            </a:r>
            <a:r>
              <a:rPr lang="en-US" i="1" spc="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of the</a:t>
            </a:r>
            <a:r>
              <a:rPr lang="en-US" i="1" spc="-5">
                <a:solidFill>
                  <a:srgbClr val="004160"/>
                </a:solidFill>
                <a:latin typeface="Montserrat" panose="00000500000000000000" pitchFamily="2" charset="0"/>
                <a:cs typeface="Arial"/>
              </a:rPr>
              <a:t> </a:t>
            </a:r>
            <a:r>
              <a:rPr lang="en-US" i="1">
                <a:solidFill>
                  <a:srgbClr val="004160"/>
                </a:solidFill>
                <a:latin typeface="Montserrat" panose="00000500000000000000" pitchFamily="2" charset="0"/>
                <a:cs typeface="Arial"/>
              </a:rPr>
              <a:t>problems</a:t>
            </a:r>
            <a:r>
              <a:rPr lang="en-US" i="1" spc="-80">
                <a:solidFill>
                  <a:srgbClr val="004160"/>
                </a:solidFill>
                <a:latin typeface="Montserrat" panose="00000500000000000000" pitchFamily="2" charset="0"/>
                <a:cs typeface="Arial"/>
              </a:rPr>
              <a:t> </a:t>
            </a:r>
            <a:r>
              <a:rPr lang="en-US" i="1" spc="-25">
                <a:solidFill>
                  <a:srgbClr val="004160"/>
                </a:solidFill>
                <a:latin typeface="Montserrat" panose="00000500000000000000" pitchFamily="2" charset="0"/>
                <a:cs typeface="Arial"/>
              </a:rPr>
              <a:t>we </a:t>
            </a:r>
            <a:r>
              <a:rPr lang="en-US" i="1">
                <a:solidFill>
                  <a:srgbClr val="004160"/>
                </a:solidFill>
                <a:latin typeface="Montserrat" panose="00000500000000000000" pitchFamily="2" charset="0"/>
                <a:cs typeface="Arial"/>
              </a:rPr>
              <a:t>were </a:t>
            </a:r>
            <a:r>
              <a:rPr lang="en-US" i="1" spc="-10">
                <a:solidFill>
                  <a:srgbClr val="004160"/>
                </a:solidFill>
                <a:latin typeface="Montserrat" panose="00000500000000000000" pitchFamily="2" charset="0"/>
                <a:cs typeface="Arial"/>
              </a:rPr>
              <a:t>having.”</a:t>
            </a:r>
            <a:endParaRPr lang="en-US">
              <a:latin typeface="Montserrat" panose="00000500000000000000" pitchFamily="2" charset="0"/>
              <a:cs typeface="Arial"/>
            </a:endParaRPr>
          </a:p>
          <a:p>
            <a:endParaRPr lang="en-US">
              <a:latin typeface="Proxima Nova"/>
            </a:endParaRPr>
          </a:p>
        </p:txBody>
      </p:sp>
    </p:spTree>
    <p:extLst>
      <p:ext uri="{BB962C8B-B14F-4D97-AF65-F5344CB8AC3E}">
        <p14:creationId xmlns:p14="http://schemas.microsoft.com/office/powerpoint/2010/main" val="37003817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E730F-BDFB-362A-2CA1-731E70F21E79}"/>
              </a:ext>
            </a:extLst>
          </p:cNvPr>
          <p:cNvSpPr>
            <a:spLocks noGrp="1"/>
          </p:cNvSpPr>
          <p:nvPr>
            <p:ph type="title"/>
          </p:nvPr>
        </p:nvSpPr>
        <p:spPr>
          <a:xfrm>
            <a:off x="4543720" y="3436070"/>
            <a:ext cx="7313050" cy="2651289"/>
          </a:xfrm>
        </p:spPr>
        <p:txBody>
          <a:bodyPr/>
          <a:lstStyle/>
          <a:p>
            <a:pPr algn="ctr"/>
            <a:r>
              <a:rPr lang="en-US">
                <a:latin typeface="Montserrat" panose="00000500000000000000" pitchFamily="2" charset="0"/>
              </a:rPr>
              <a:t>Network Construction,    In-Home Installations,    and Sign-Ups</a:t>
            </a:r>
          </a:p>
        </p:txBody>
      </p:sp>
    </p:spTree>
    <p:extLst>
      <p:ext uri="{BB962C8B-B14F-4D97-AF65-F5344CB8AC3E}">
        <p14:creationId xmlns:p14="http://schemas.microsoft.com/office/powerpoint/2010/main" val="38345070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lue Stream Fiber">
      <a:dk1>
        <a:srgbClr val="1F2634"/>
      </a:dk1>
      <a:lt1>
        <a:srgbClr val="FFFFFF"/>
      </a:lt1>
      <a:dk2>
        <a:srgbClr val="004161"/>
      </a:dk2>
      <a:lt2>
        <a:srgbClr val="EAEAEA"/>
      </a:lt2>
      <a:accent1>
        <a:srgbClr val="007DAB"/>
      </a:accent1>
      <a:accent2>
        <a:srgbClr val="3EB1C8"/>
      </a:accent2>
      <a:accent3>
        <a:srgbClr val="23B890"/>
      </a:accent3>
      <a:accent4>
        <a:srgbClr val="FFC36F"/>
      </a:accent4>
      <a:accent5>
        <a:srgbClr val="F2D92A"/>
      </a:accent5>
      <a:accent6>
        <a:srgbClr val="DDDBD3"/>
      </a:accent6>
      <a:hlink>
        <a:srgbClr val="007DAB"/>
      </a:hlink>
      <a:folHlink>
        <a:srgbClr val="00416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F7A5AEE28966A4BB3C06A2E266CEE9E" ma:contentTypeVersion="21" ma:contentTypeDescription="Create a new document." ma:contentTypeScope="" ma:versionID="62f25f861af2c3d071c0a13f287fecc1">
  <xsd:schema xmlns:xsd="http://www.w3.org/2001/XMLSchema" xmlns:xs="http://www.w3.org/2001/XMLSchema" xmlns:p="http://schemas.microsoft.com/office/2006/metadata/properties" xmlns:ns1="http://schemas.microsoft.com/sharepoint/v3" xmlns:ns2="b0916cb4-d8be-49f1-8482-5394dce2313f" xmlns:ns3="80864f07-7d98-4775-8754-6a77c3c73b0f" targetNamespace="http://schemas.microsoft.com/office/2006/metadata/properties" ma:root="true" ma:fieldsID="e35d6ca51e6b75dec12894e6d0dcc678" ns1:_="" ns2:_="" ns3:_="">
    <xsd:import namespace="http://schemas.microsoft.com/sharepoint/v3"/>
    <xsd:import namespace="b0916cb4-d8be-49f1-8482-5394dce2313f"/>
    <xsd:import namespace="80864f07-7d98-4775-8754-6a77c3c73b0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916cb4-d8be-49f1-8482-5394dce231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fcde0d60-5cb1-4479-8ff0-67a978d658f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0864f07-7d98-4775-8754-6a77c3c73b0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3e3c96ab-2f3b-4b50-ab1c-fd3d72c55e5c}" ma:internalName="TaxCatchAll" ma:showField="CatchAllData" ma:web="80864f07-7d98-4775-8754-6a77c3c73b0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80864f07-7d98-4775-8754-6a77c3c73b0f" xsi:nil="true"/>
    <lcf76f155ced4ddcb4097134ff3c332f xmlns="b0916cb4-d8be-49f1-8482-5394dce2313f">
      <Terms xmlns="http://schemas.microsoft.com/office/infopath/2007/PartnerControls"/>
    </lcf76f155ced4ddcb4097134ff3c332f>
    <_ip_UnifiedCompliancePolicyProperties xmlns="http://schemas.microsoft.com/sharepoint/v3" xsi:nil="true"/>
    <SharedWithUsers xmlns="80864f07-7d98-4775-8754-6a77c3c73b0f">
      <UserInfo>
        <DisplayName>Linda Richardson</DisplayName>
        <AccountId>10</AccountId>
        <AccountType/>
      </UserInfo>
      <UserInfo>
        <DisplayName>Stephanie Davis</DisplayName>
        <AccountId>12</AccountId>
        <AccountType/>
      </UserInfo>
      <UserInfo>
        <DisplayName>Bruna Barreto</DisplayName>
        <AccountId>677</AccountId>
        <AccountType/>
      </UserInfo>
      <UserInfo>
        <DisplayName>Martin Clemmons</DisplayName>
        <AccountId>284</AccountId>
        <AccountType/>
      </UserInfo>
      <UserInfo>
        <DisplayName>Amy Bessey</DisplayName>
        <AccountId>985</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0F168FE-4183-4338-B1E5-2077E93286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0916cb4-d8be-49f1-8482-5394dce2313f"/>
    <ds:schemaRef ds:uri="80864f07-7d98-4775-8754-6a77c3c73b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D8F9654-05BF-47F9-B093-CD10E1D72900}">
  <ds:schemaRefs>
    <ds:schemaRef ds:uri="b0916cb4-d8be-49f1-8482-5394dce2313f"/>
    <ds:schemaRef ds:uri="http://schemas.microsoft.com/office/2006/documentManagement/types"/>
    <ds:schemaRef ds:uri="http://purl.org/dc/elements/1.1/"/>
    <ds:schemaRef ds:uri="http://purl.org/dc/terms/"/>
    <ds:schemaRef ds:uri="http://schemas.microsoft.com/office/2006/metadata/properties"/>
    <ds:schemaRef ds:uri="http://www.w3.org/XML/1998/namespace"/>
    <ds:schemaRef ds:uri="http://purl.org/dc/dcmitype/"/>
    <ds:schemaRef ds:uri="http://schemas.microsoft.com/office/infopath/2007/PartnerControls"/>
    <ds:schemaRef ds:uri="http://schemas.microsoft.com/sharepoint/v3"/>
    <ds:schemaRef ds:uri="http://schemas.openxmlformats.org/package/2006/metadata/core-properties"/>
    <ds:schemaRef ds:uri="80864f07-7d98-4775-8754-6a77c3c73b0f"/>
  </ds:schemaRefs>
</ds:datastoreItem>
</file>

<file path=customXml/itemProps3.xml><?xml version="1.0" encoding="utf-8"?>
<ds:datastoreItem xmlns:ds="http://schemas.openxmlformats.org/officeDocument/2006/customXml" ds:itemID="{89233714-54B8-41F3-BEA7-D5D3C81009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23</TotalTime>
  <Words>3924</Words>
  <Application>Microsoft Office PowerPoint</Application>
  <PresentationFormat>Widescreen</PresentationFormat>
  <Paragraphs>445</Paragraphs>
  <Slides>45</Slides>
  <Notes>32</Notes>
  <HiddenSlides>4</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61" baseType="lpstr">
      <vt:lpstr>Times New Roman</vt:lpstr>
      <vt:lpstr>Ambit</vt:lpstr>
      <vt:lpstr>Poppins</vt:lpstr>
      <vt:lpstr>Proxima Nova</vt:lpstr>
      <vt:lpstr>Calibri</vt:lpstr>
      <vt:lpstr>Montserrat</vt:lpstr>
      <vt:lpstr>League Spartan</vt:lpstr>
      <vt:lpstr>Montserrat Medium</vt:lpstr>
      <vt:lpstr>Courier New</vt:lpstr>
      <vt:lpstr>Lato Light</vt:lpstr>
      <vt:lpstr>Century Gothic</vt:lpstr>
      <vt:lpstr>Proxima Nova Rg</vt:lpstr>
      <vt:lpstr>Arial</vt:lpstr>
      <vt:lpstr>Wingdings</vt:lpstr>
      <vt:lpstr>Office Theme</vt:lpstr>
      <vt:lpstr>think-cell Slide</vt:lpstr>
      <vt:lpstr>Boca Highland</vt:lpstr>
      <vt:lpstr>Agenda</vt:lpstr>
      <vt:lpstr>PowerPoint Presentation</vt:lpstr>
      <vt:lpstr>What Makes Blue Stream Fiber Different? </vt:lpstr>
      <vt:lpstr>What Makes Fiber Different?</vt:lpstr>
      <vt:lpstr>Customer Service Guarantee</vt:lpstr>
      <vt:lpstr>Customers Love Blue Stream Fiber</vt:lpstr>
      <vt:lpstr>PowerPoint Presentation</vt:lpstr>
      <vt:lpstr>Network Construction,    In-Home Installations,    and Sign-Ups</vt:lpstr>
      <vt:lpstr>A No-Stress Transition to Blue Stream Fiber</vt:lpstr>
      <vt:lpstr>Blue Stream Fiber Guarantee: Redundancy </vt:lpstr>
      <vt:lpstr>Service Updates</vt:lpstr>
      <vt:lpstr>Products &amp; Services</vt:lpstr>
      <vt:lpstr>Bulk Internet Services (included with HOA Dues)</vt:lpstr>
      <vt:lpstr>TV Services (Included with HOA Dues) </vt:lpstr>
      <vt:lpstr>Sign Up for Your Consultation</vt:lpstr>
      <vt:lpstr>Service and Price Guide</vt:lpstr>
      <vt:lpstr>Smart, Total Home WiFi</vt:lpstr>
      <vt:lpstr>What Makes Total Home WiFi Better?</vt:lpstr>
      <vt:lpstr>Total Home WiFi</vt:lpstr>
      <vt:lpstr>Television Services</vt:lpstr>
      <vt:lpstr>Easy-to-use Voice Remote &amp; Ultra Slim Set-Top</vt:lpstr>
      <vt:lpstr>The Power of Android TV &amp; TiVo</vt:lpstr>
      <vt:lpstr>Record All Your Shows</vt:lpstr>
      <vt:lpstr>Easy Access to Your Favorite Apps  &amp; Google Assistant </vt:lpstr>
      <vt:lpstr>Start Over &amp; Catch Up</vt:lpstr>
      <vt:lpstr>Google Assistant</vt:lpstr>
      <vt:lpstr>Our TV Service Works With Your Devices</vt:lpstr>
      <vt:lpstr>Blue Stream Fiber TV App</vt:lpstr>
      <vt:lpstr>Blue Stream Fiber TV Experience</vt:lpstr>
      <vt:lpstr>Seasonal Resident Information</vt:lpstr>
      <vt:lpstr>Upgrade Options</vt:lpstr>
      <vt:lpstr>A-LA-CARTE OPTIONS</vt:lpstr>
      <vt:lpstr>Understanding Your WiFi Speeds</vt:lpstr>
      <vt:lpstr>Understanding Your WiFi Usage</vt:lpstr>
      <vt:lpstr>PowerPoint Presentation</vt:lpstr>
      <vt:lpstr>PowerPoint Presentation</vt:lpstr>
      <vt:lpstr>OUR MOST POPULAR ADD-ON PACKAGES!</vt:lpstr>
      <vt:lpstr>Phone Services</vt:lpstr>
      <vt:lpstr>E-bill, Proration, Taxes and Fees</vt:lpstr>
      <vt:lpstr>PowerPoint Presentation</vt:lpstr>
      <vt:lpstr>Customer Education Resources</vt:lpstr>
      <vt:lpstr>Customer Education Resources</vt:lpstr>
      <vt:lpstr>QUESTION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ue Stream Fiber General Presentation</dc:title>
  <dc:subject/>
  <dc:creator>Brandon Waybright</dc:creator>
  <cp:keywords/>
  <dc:description/>
  <cp:lastModifiedBy>Bruna Barreto</cp:lastModifiedBy>
  <cp:revision>9</cp:revision>
  <dcterms:created xsi:type="dcterms:W3CDTF">2022-09-02T22:14:26Z</dcterms:created>
  <dcterms:modified xsi:type="dcterms:W3CDTF">2024-04-17T20:53:3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7A5AEE28966A4BB3C06A2E266CEE9E</vt:lpwstr>
  </property>
  <property fmtid="{D5CDD505-2E9C-101B-9397-08002B2CF9AE}" pid="3" name="MediaServiceImageTags">
    <vt:lpwstr/>
  </property>
</Properties>
</file>